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61.xml" ContentType="application/vnd.openxmlformats-officedocument.presentationml.tags+xml"/>
  <Override PartName="/ppt/notesSlides/notesSlide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6.xml" ContentType="application/vnd.openxmlformats-officedocument.presentationml.notesSlide+xml"/>
  <Override PartName="/ppt/tags/tag152.xml" ContentType="application/vnd.openxmlformats-officedocument.presentationml.tags+xml"/>
  <Override PartName="/ppt/notesSlides/notesSlide7.xml" ContentType="application/vnd.openxmlformats-officedocument.presentationml.notesSlide+xml"/>
  <Override PartName="/ppt/tags/tag153.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1" r:id="rId1"/>
  </p:sldMasterIdLst>
  <p:notesMasterIdLst>
    <p:notesMasterId r:id="rId11"/>
  </p:notesMasterIdLst>
  <p:sldIdLst>
    <p:sldId id="468" r:id="rId2"/>
    <p:sldId id="469" r:id="rId3"/>
    <p:sldId id="470" r:id="rId4"/>
    <p:sldId id="473" r:id="rId5"/>
    <p:sldId id="471" r:id="rId6"/>
    <p:sldId id="472" r:id="rId7"/>
    <p:sldId id="303" r:id="rId8"/>
    <p:sldId id="475" r:id="rId9"/>
    <p:sldId id="44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34" userDrawn="1">
          <p15:clr>
            <a:srgbClr val="A4A3A4"/>
          </p15:clr>
        </p15:guide>
        <p15:guide id="4" pos="3908" userDrawn="1">
          <p15:clr>
            <a:srgbClr val="A4A3A4"/>
          </p15:clr>
        </p15:guide>
        <p15:guide id="5" orient="horz" pos="2999" userDrawn="1">
          <p15:clr>
            <a:srgbClr val="A4A3A4"/>
          </p15:clr>
        </p15:guide>
        <p15:guide id="6" orient="horz" pos="338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 " initials="" lastIdx="2" clrIdx="0">
    <p:extLst>
      <p:ext uri="{19B8F6BF-5375-455C-9EA6-DF929625EA0E}">
        <p15:presenceInfo xmlns:p15="http://schemas.microsoft.com/office/powerpoint/2012/main" userId=" " providerId="None"/>
      </p:ext>
    </p:extLst>
  </p:cmAuthor>
  <p:cmAuthor id="2" name="LIM Jia Wei" initials="LJW" lastIdx="1" clrIdx="1">
    <p:extLst>
      <p:ext uri="{19B8F6BF-5375-455C-9EA6-DF929625EA0E}">
        <p15:presenceInfo xmlns:p15="http://schemas.microsoft.com/office/powerpoint/2012/main" userId="LIM Jia Wei" providerId="None"/>
      </p:ext>
    </p:extLst>
  </p:cmAuthor>
  <p:cmAuthor id="3" name="ONG Kang Wei" initials="OKW" lastIdx="2" clrIdx="2">
    <p:extLst>
      <p:ext uri="{19B8F6BF-5375-455C-9EA6-DF929625EA0E}">
        <p15:presenceInfo xmlns:p15="http://schemas.microsoft.com/office/powerpoint/2012/main" userId="ONG Kang We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23D67"/>
    <a:srgbClr val="03749C"/>
    <a:srgbClr val="15B1D7"/>
    <a:srgbClr val="F97304"/>
    <a:srgbClr val="132E57"/>
    <a:srgbClr val="A5A5A5"/>
    <a:srgbClr val="2496ED"/>
    <a:srgbClr val="7399C6"/>
    <a:srgbClr val="5DD3EF"/>
    <a:srgbClr val="5CD4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59535C-2972-4468-BB5B-BC89DCAD5082}" v="3289" dt="2020-09-06T16:22:58.242"/>
    <p1510:client id="{6A6B1891-194B-4C04-96DB-037997392F5E}" v="2926" dt="2020-09-06T16:23:45.580"/>
    <p1510:client id="{AAF51BE4-E0EA-445C-9C47-359D555E6D5B}" v="13959" dt="2020-09-06T15:42:13.452"/>
    <p1510:client id="{F732D4DF-4135-4B82-BD71-00EBF3D894FC}" v="10650" dt="2020-09-06T17:04:26.2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848" autoAdjust="0"/>
  </p:normalViewPr>
  <p:slideViewPr>
    <p:cSldViewPr snapToGrid="0">
      <p:cViewPr varScale="1">
        <p:scale>
          <a:sx n="43" d="100"/>
          <a:sy n="43" d="100"/>
        </p:scale>
        <p:origin x="1257" y="37"/>
      </p:cViewPr>
      <p:guideLst>
        <p:guide pos="234"/>
        <p:guide pos="3908"/>
        <p:guide orient="horz" pos="2999"/>
        <p:guide orient="horz" pos="33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https://smu-my.sharepoint.com/personal/kangwei_ong_2019_business_smu_edu_sg/Documents/Desktop/Other%20Competitions%20and%20Events/Hackathon%202020/SPY.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ongka\OneDrive%20-%20Singapore%20Management%20University\Desktop\Other%20Competitions%20and%20Events\Hackathon%202020\TSLA.csv"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eries 1</c:v>
                </c:pt>
              </c:strCache>
            </c:strRef>
          </c:tx>
          <c:spPr>
            <a:ln>
              <a:solidFill>
                <a:schemeClr val="bg1"/>
              </a:solidFill>
            </a:ln>
          </c:spPr>
          <c:dPt>
            <c:idx val="0"/>
            <c:bubble3D val="0"/>
            <c:spPr>
              <a:solidFill>
                <a:srgbClr val="7399C6"/>
              </a:solidFill>
              <a:ln>
                <a:solidFill>
                  <a:schemeClr val="bg1"/>
                </a:solidFill>
              </a:ln>
            </c:spPr>
            <c:extLst>
              <c:ext xmlns:c16="http://schemas.microsoft.com/office/drawing/2014/chart" uri="{C3380CC4-5D6E-409C-BE32-E72D297353CC}">
                <c16:uniqueId val="{00000001-A87E-46EC-B137-A790E593F34D}"/>
              </c:ext>
            </c:extLst>
          </c:dPt>
          <c:dPt>
            <c:idx val="1"/>
            <c:bubble3D val="0"/>
            <c:spPr>
              <a:solidFill>
                <a:srgbClr val="FF9900"/>
              </a:solidFill>
              <a:ln>
                <a:solidFill>
                  <a:schemeClr val="bg1"/>
                </a:solidFill>
              </a:ln>
            </c:spPr>
            <c:extLst>
              <c:ext xmlns:c16="http://schemas.microsoft.com/office/drawing/2014/chart" uri="{C3380CC4-5D6E-409C-BE32-E72D297353CC}">
                <c16:uniqueId val="{00000003-A87E-46EC-B137-A790E593F34D}"/>
              </c:ext>
            </c:extLst>
          </c:dPt>
          <c:dLbls>
            <c:dLbl>
              <c:idx val="0"/>
              <c:tx>
                <c:rich>
                  <a:bodyPr wrap="none" lIns="0" tIns="0" rIns="0" bIns="0" anchor="ctr">
                    <a:spAutoFit/>
                  </a:bodyPr>
                  <a:lstStyle/>
                  <a:p>
                    <a:pPr>
                      <a:defRPr sz="1400" b="1">
                        <a:solidFill>
                          <a:schemeClr val="bg1"/>
                        </a:solidFill>
                        <a:latin typeface="+mj-lt"/>
                      </a:defRPr>
                    </a:pPr>
                    <a:fld id="{A6531FBB-5650-4C93-A61D-4B4FDEBC5E71}" type="CATEGORYNAME">
                      <a:rPr lang="en-US" sz="1400" b="1" smtClean="0">
                        <a:latin typeface="+mj-lt"/>
                      </a:rPr>
                      <a:pPr>
                        <a:defRPr sz="1400" b="1">
                          <a:solidFill>
                            <a:schemeClr val="bg1"/>
                          </a:solidFill>
                          <a:latin typeface="+mj-lt"/>
                        </a:defRPr>
                      </a:pPr>
                      <a:t>[CATEGORY NAME]</a:t>
                    </a:fld>
                    <a:endParaRPr lang="en-SG"/>
                  </a:p>
                </c:rich>
              </c:tx>
              <c:spPr>
                <a:solidFill>
                  <a:srgbClr val="7399C6"/>
                </a:solidFill>
                <a:ln>
                  <a:noFill/>
                </a:ln>
                <a:effectLst/>
              </c:sp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A87E-46EC-B137-A790E593F34D}"/>
                </c:ext>
              </c:extLst>
            </c:dLbl>
            <c:dLbl>
              <c:idx val="1"/>
              <c:tx>
                <c:rich>
                  <a:bodyPr/>
                  <a:lstStyle/>
                  <a:p>
                    <a:fld id="{88B67282-06EF-4776-8667-2CD5ED396FAA}" type="CATEGORYNAME">
                      <a:rPr lang="en-US" sz="1400" b="1" smtClean="0">
                        <a:latin typeface="+mj-lt"/>
                      </a:rPr>
                      <a:pPr/>
                      <a:t>[CATEGORY NAME]</a:t>
                    </a:fld>
                    <a:endParaRPr lang="en-SG"/>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87E-46EC-B137-A790E593F34D}"/>
                </c:ext>
              </c:extLst>
            </c:dLbl>
            <c:spPr>
              <a:solidFill>
                <a:srgbClr val="FF9900"/>
              </a:solidFill>
              <a:ln>
                <a:noFill/>
              </a:ln>
              <a:effectLst/>
            </c:spPr>
            <c:txPr>
              <a:bodyPr wrap="none" lIns="0" tIns="0" rIns="0" bIns="0" anchor="ctr">
                <a:spAutoFit/>
              </a:bodyPr>
              <a:lstStyle/>
              <a:p>
                <a:pPr>
                  <a:defRPr sz="1400" b="1">
                    <a:solidFill>
                      <a:schemeClr val="bg1"/>
                    </a:solidFill>
                    <a:latin typeface="+mj-lt"/>
                  </a:defRPr>
                </a:pPr>
                <a:endParaRPr lang="en-US"/>
              </a:p>
            </c:txPr>
            <c:showLegendKey val="0"/>
            <c:showVal val="1"/>
            <c:showCatName val="1"/>
            <c:showSerName val="0"/>
            <c:showPercent val="0"/>
            <c:showBubbleSize val="0"/>
            <c:showLeaderLines val="1"/>
            <c:extLst>
              <c:ext xmlns:c15="http://schemas.microsoft.com/office/drawing/2012/chart" uri="{CE6537A1-D6FC-4f65-9D91-7224C49458BB}">
                <c15:spPr xmlns:c15="http://schemas.microsoft.com/office/drawing/2012/chart">
                  <a:prstGeom prst="rect">
                    <a:avLst/>
                  </a:prstGeom>
                </c15:spPr>
              </c:ext>
            </c:extLst>
          </c:dLbls>
          <c:cat>
            <c:strRef>
              <c:f>Sheet1!$A$2:$A$3</c:f>
              <c:strCache>
                <c:ptCount val="2"/>
                <c:pt idx="0">
                  <c:v>Bonds</c:v>
                </c:pt>
                <c:pt idx="1">
                  <c:v>Stocks</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A-A87E-46EC-B137-A790E593F34D}"/>
            </c:ext>
          </c:extLst>
        </c:ser>
        <c:dLbls>
          <c:showLegendKey val="0"/>
          <c:showVal val="1"/>
          <c:showCatName val="0"/>
          <c:showSerName val="0"/>
          <c:showPercent val="0"/>
          <c:showBubbleSize val="0"/>
          <c:showLeaderLines val="1"/>
        </c:dLbls>
        <c:firstSliceAng val="0"/>
        <c:holeSize val="65"/>
      </c:doughnutChart>
    </c:plotArea>
    <c:plotVisOnly val="1"/>
    <c:dispBlanksAs val="gap"/>
    <c:showDLblsOverMax val="0"/>
  </c:chart>
  <c:txPr>
    <a:bodyPr/>
    <a:lstStyle/>
    <a:p>
      <a:pPr>
        <a:defRPr sz="10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EC82-4ADD-8A4A-90DF469CB222}"/>
              </c:ext>
            </c:extLst>
          </c:dPt>
          <c:dLbls>
            <c:delete val="1"/>
          </c:dLbls>
          <c:cat>
            <c:strRef>
              <c:f>Sheet1!$A$2</c:f>
              <c:strCache>
                <c:ptCount val="1"/>
                <c:pt idx="0">
                  <c:v>Bonds</c:v>
                </c:pt>
              </c:strCache>
            </c:strRef>
          </c:cat>
          <c:val>
            <c:numRef>
              <c:f>Sheet1!$B$2</c:f>
              <c:numCache>
                <c:formatCode>General</c:formatCode>
                <c:ptCount val="1"/>
                <c:pt idx="0">
                  <c:v>1</c:v>
                </c:pt>
              </c:numCache>
            </c:numRef>
          </c:val>
          <c:extLst>
            <c:ext xmlns:c16="http://schemas.microsoft.com/office/drawing/2014/chart" uri="{C3380CC4-5D6E-409C-BE32-E72D297353CC}">
              <c16:uniqueId val="{00000000-EC82-4ADD-8A4A-90DF469CB222}"/>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0CDE-4DC5-BBFF-6DFC7F43A97E}"/>
              </c:ext>
            </c:extLst>
          </c:dPt>
          <c:dPt>
            <c:idx val="1"/>
            <c:bubble3D val="0"/>
            <c:spPr>
              <a:solidFill>
                <a:schemeClr val="accent2"/>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0ED7-4193-A8EA-08BB08231360}"/>
              </c:ext>
            </c:extLst>
          </c:dPt>
          <c:dLbls>
            <c:delete val="1"/>
          </c:dLbls>
          <c:cat>
            <c:strRef>
              <c:f>Sheet1!$A$2:$A$3</c:f>
              <c:strCache>
                <c:ptCount val="2"/>
                <c:pt idx="0">
                  <c:v>Bonds</c:v>
                </c:pt>
                <c:pt idx="1">
                  <c:v>Stocks</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2-0CDE-4DC5-BBFF-6DFC7F43A97E}"/>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2F76-48AA-85D3-E4C5B3F18891}"/>
              </c:ext>
            </c:extLst>
          </c:dPt>
          <c:dPt>
            <c:idx val="1"/>
            <c:bubble3D val="0"/>
            <c:spPr>
              <a:solidFill>
                <a:schemeClr val="accent2"/>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2F76-48AA-85D3-E4C5B3F18891}"/>
              </c:ext>
            </c:extLst>
          </c:dPt>
          <c:dLbls>
            <c:delete val="1"/>
          </c:dLbls>
          <c:cat>
            <c:strRef>
              <c:f>Sheet1!$A$2:$A$3</c:f>
              <c:strCache>
                <c:ptCount val="2"/>
                <c:pt idx="0">
                  <c:v>Bonds</c:v>
                </c:pt>
                <c:pt idx="1">
                  <c:v>Stocks</c:v>
                </c:pt>
              </c:strCache>
            </c:strRef>
          </c:cat>
          <c:val>
            <c:numRef>
              <c:f>Sheet1!$B$2:$B$3</c:f>
              <c:numCache>
                <c:formatCode>General</c:formatCode>
                <c:ptCount val="2"/>
                <c:pt idx="0">
                  <c:v>25</c:v>
                </c:pt>
                <c:pt idx="1">
                  <c:v>25</c:v>
                </c:pt>
              </c:numCache>
            </c:numRef>
          </c:val>
          <c:extLst>
            <c:ext xmlns:c16="http://schemas.microsoft.com/office/drawing/2014/chart" uri="{C3380CC4-5D6E-409C-BE32-E72D297353CC}">
              <c16:uniqueId val="{00000004-2F76-48AA-85D3-E4C5B3F1889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C45D-4388-BA7E-9F8FFACAD9A7}"/>
              </c:ext>
            </c:extLst>
          </c:dPt>
          <c:dPt>
            <c:idx val="1"/>
            <c:bubble3D val="0"/>
            <c:spPr>
              <a:solidFill>
                <a:schemeClr val="accent2"/>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C45D-4388-BA7E-9F8FFACAD9A7}"/>
              </c:ext>
            </c:extLst>
          </c:dPt>
          <c:dLbls>
            <c:delete val="1"/>
          </c:dLbls>
          <c:cat>
            <c:strRef>
              <c:f>Sheet1!$A$2:$A$3</c:f>
              <c:strCache>
                <c:ptCount val="2"/>
                <c:pt idx="0">
                  <c:v>Bonds</c:v>
                </c:pt>
                <c:pt idx="1">
                  <c:v>Stocks</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C45D-4388-BA7E-9F8FFACAD9A7}"/>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a:effectLst>
              <a:outerShdw blurRad="50800" dist="38100" dir="2700000" algn="tl" rotWithShape="0">
                <a:prstClr val="black">
                  <a:alpha val="40000"/>
                </a:prstClr>
              </a:outerShdw>
            </a:effectLst>
          </c:spPr>
          <c:dPt>
            <c:idx val="0"/>
            <c:bubble3D val="0"/>
            <c:spPr>
              <a:solidFill>
                <a:schemeClr val="accent1"/>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10AF-46B2-A9CB-DC5A7A473A5C}"/>
              </c:ext>
            </c:extLst>
          </c:dPt>
          <c:dPt>
            <c:idx val="1"/>
            <c:bubble3D val="0"/>
            <c:spPr>
              <a:solidFill>
                <a:schemeClr val="accent2"/>
              </a:solidFill>
              <a:ln w="19050">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10AF-46B2-A9CB-DC5A7A473A5C}"/>
              </c:ext>
            </c:extLst>
          </c:dPt>
          <c:dLbls>
            <c:delete val="1"/>
          </c:dLbls>
          <c:cat>
            <c:strRef>
              <c:f>Sheet1!$A$2:$A$3</c:f>
              <c:strCache>
                <c:ptCount val="2"/>
                <c:pt idx="0">
                  <c:v>Bonds</c:v>
                </c:pt>
                <c:pt idx="1">
                  <c:v>Stocks</c:v>
                </c:pt>
              </c:strCache>
            </c:strRef>
          </c:cat>
          <c:val>
            <c:numRef>
              <c:f>Sheet1!$B$2:$B$3</c:f>
              <c:numCache>
                <c:formatCode>General</c:formatCode>
                <c:ptCount val="2"/>
                <c:pt idx="0">
                  <c:v>0</c:v>
                </c:pt>
                <c:pt idx="1">
                  <c:v>75</c:v>
                </c:pt>
              </c:numCache>
            </c:numRef>
          </c:val>
          <c:extLst>
            <c:ext xmlns:c16="http://schemas.microsoft.com/office/drawing/2014/chart" uri="{C3380CC4-5D6E-409C-BE32-E72D297353CC}">
              <c16:uniqueId val="{00000004-10AF-46B2-A9CB-DC5A7A473A5C}"/>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01696518037308E-5"/>
          <c:y val="3.9608818633593675E-2"/>
          <c:w val="0.99997719830348197"/>
          <c:h val="0.7902152230971129"/>
        </c:manualLayout>
      </c:layout>
      <c:lineChart>
        <c:grouping val="standard"/>
        <c:varyColors val="0"/>
        <c:ser>
          <c:idx val="0"/>
          <c:order val="0"/>
          <c:tx>
            <c:strRef>
              <c:f>[SPY.xlsx]Volatility!$E$26</c:f>
              <c:strCache>
                <c:ptCount val="1"/>
                <c:pt idx="0">
                  <c:v>1M ann. volatility</c:v>
                </c:pt>
              </c:strCache>
            </c:strRef>
          </c:tx>
          <c:spPr>
            <a:ln w="12700" cap="rnd">
              <a:solidFill>
                <a:schemeClr val="tx1"/>
              </a:solidFill>
              <a:round/>
            </a:ln>
            <a:effectLst/>
          </c:spPr>
          <c:marker>
            <c:symbol val="none"/>
          </c:marker>
          <c:cat>
            <c:numRef>
              <c:f>[SPY.xlsx]Volatility!$B$27:$B$23303</c:f>
              <c:numCache>
                <c:formatCode>[$-14809]d\ mmm\ yyyy;@</c:formatCode>
                <c:ptCount val="23277"/>
                <c:pt idx="0">
                  <c:v>10226</c:v>
                </c:pt>
                <c:pt idx="1">
                  <c:v>10230</c:v>
                </c:pt>
                <c:pt idx="2">
                  <c:v>10231</c:v>
                </c:pt>
                <c:pt idx="3">
                  <c:v>10232</c:v>
                </c:pt>
                <c:pt idx="4">
                  <c:v>10233</c:v>
                </c:pt>
                <c:pt idx="5">
                  <c:v>10236</c:v>
                </c:pt>
                <c:pt idx="6">
                  <c:v>10237</c:v>
                </c:pt>
                <c:pt idx="7">
                  <c:v>10238</c:v>
                </c:pt>
                <c:pt idx="8">
                  <c:v>10239</c:v>
                </c:pt>
                <c:pt idx="9">
                  <c:v>10240</c:v>
                </c:pt>
                <c:pt idx="10">
                  <c:v>10243</c:v>
                </c:pt>
                <c:pt idx="11">
                  <c:v>10244</c:v>
                </c:pt>
                <c:pt idx="12">
                  <c:v>10245</c:v>
                </c:pt>
                <c:pt idx="13">
                  <c:v>10246</c:v>
                </c:pt>
                <c:pt idx="14">
                  <c:v>10247</c:v>
                </c:pt>
                <c:pt idx="15">
                  <c:v>10250</c:v>
                </c:pt>
                <c:pt idx="16">
                  <c:v>10251</c:v>
                </c:pt>
                <c:pt idx="17">
                  <c:v>10252</c:v>
                </c:pt>
                <c:pt idx="18">
                  <c:v>10253</c:v>
                </c:pt>
                <c:pt idx="19">
                  <c:v>10254</c:v>
                </c:pt>
                <c:pt idx="20">
                  <c:v>10257</c:v>
                </c:pt>
                <c:pt idx="21">
                  <c:v>10258</c:v>
                </c:pt>
                <c:pt idx="22">
                  <c:v>10259</c:v>
                </c:pt>
                <c:pt idx="23">
                  <c:v>10260</c:v>
                </c:pt>
                <c:pt idx="24">
                  <c:v>10261</c:v>
                </c:pt>
                <c:pt idx="25">
                  <c:v>10264</c:v>
                </c:pt>
                <c:pt idx="26">
                  <c:v>10265</c:v>
                </c:pt>
                <c:pt idx="27">
                  <c:v>10266</c:v>
                </c:pt>
                <c:pt idx="28">
                  <c:v>10267</c:v>
                </c:pt>
                <c:pt idx="29">
                  <c:v>10268</c:v>
                </c:pt>
                <c:pt idx="30">
                  <c:v>10272</c:v>
                </c:pt>
                <c:pt idx="31">
                  <c:v>10273</c:v>
                </c:pt>
                <c:pt idx="32">
                  <c:v>10274</c:v>
                </c:pt>
                <c:pt idx="33">
                  <c:v>10275</c:v>
                </c:pt>
                <c:pt idx="34">
                  <c:v>10278</c:v>
                </c:pt>
                <c:pt idx="35">
                  <c:v>10279</c:v>
                </c:pt>
                <c:pt idx="36">
                  <c:v>10281</c:v>
                </c:pt>
                <c:pt idx="37">
                  <c:v>10282</c:v>
                </c:pt>
                <c:pt idx="38">
                  <c:v>10285</c:v>
                </c:pt>
                <c:pt idx="39">
                  <c:v>10286</c:v>
                </c:pt>
                <c:pt idx="40">
                  <c:v>10287</c:v>
                </c:pt>
                <c:pt idx="41">
                  <c:v>10288</c:v>
                </c:pt>
                <c:pt idx="42">
                  <c:v>10289</c:v>
                </c:pt>
                <c:pt idx="43">
                  <c:v>10292</c:v>
                </c:pt>
                <c:pt idx="44">
                  <c:v>10293</c:v>
                </c:pt>
                <c:pt idx="45">
                  <c:v>10294</c:v>
                </c:pt>
                <c:pt idx="46">
                  <c:v>10295</c:v>
                </c:pt>
                <c:pt idx="47">
                  <c:v>10296</c:v>
                </c:pt>
                <c:pt idx="48">
                  <c:v>10299</c:v>
                </c:pt>
                <c:pt idx="49">
                  <c:v>10300</c:v>
                </c:pt>
                <c:pt idx="50">
                  <c:v>10301</c:v>
                </c:pt>
                <c:pt idx="51">
                  <c:v>10302</c:v>
                </c:pt>
                <c:pt idx="52">
                  <c:v>10303</c:v>
                </c:pt>
                <c:pt idx="53">
                  <c:v>10306</c:v>
                </c:pt>
                <c:pt idx="54">
                  <c:v>10307</c:v>
                </c:pt>
                <c:pt idx="55">
                  <c:v>10308</c:v>
                </c:pt>
                <c:pt idx="56">
                  <c:v>10309</c:v>
                </c:pt>
                <c:pt idx="57">
                  <c:v>10310</c:v>
                </c:pt>
                <c:pt idx="58">
                  <c:v>10313</c:v>
                </c:pt>
                <c:pt idx="59">
                  <c:v>10314</c:v>
                </c:pt>
                <c:pt idx="60">
                  <c:v>10315</c:v>
                </c:pt>
                <c:pt idx="61">
                  <c:v>10316</c:v>
                </c:pt>
                <c:pt idx="62">
                  <c:v>10317</c:v>
                </c:pt>
                <c:pt idx="63">
                  <c:v>10320</c:v>
                </c:pt>
                <c:pt idx="64">
                  <c:v>10321</c:v>
                </c:pt>
                <c:pt idx="65">
                  <c:v>10322</c:v>
                </c:pt>
                <c:pt idx="66">
                  <c:v>10323</c:v>
                </c:pt>
                <c:pt idx="67">
                  <c:v>10327</c:v>
                </c:pt>
                <c:pt idx="68">
                  <c:v>10328</c:v>
                </c:pt>
                <c:pt idx="69">
                  <c:v>10329</c:v>
                </c:pt>
                <c:pt idx="70">
                  <c:v>10330</c:v>
                </c:pt>
                <c:pt idx="71">
                  <c:v>10331</c:v>
                </c:pt>
                <c:pt idx="72">
                  <c:v>10334</c:v>
                </c:pt>
                <c:pt idx="73">
                  <c:v>10335</c:v>
                </c:pt>
                <c:pt idx="74">
                  <c:v>10336</c:v>
                </c:pt>
                <c:pt idx="75">
                  <c:v>10337</c:v>
                </c:pt>
                <c:pt idx="76">
                  <c:v>10338</c:v>
                </c:pt>
                <c:pt idx="77">
                  <c:v>10341</c:v>
                </c:pt>
                <c:pt idx="78">
                  <c:v>10342</c:v>
                </c:pt>
                <c:pt idx="79">
                  <c:v>10343</c:v>
                </c:pt>
                <c:pt idx="80">
                  <c:v>10344</c:v>
                </c:pt>
                <c:pt idx="81">
                  <c:v>10345</c:v>
                </c:pt>
                <c:pt idx="82">
                  <c:v>10348</c:v>
                </c:pt>
                <c:pt idx="83">
                  <c:v>10349</c:v>
                </c:pt>
                <c:pt idx="84">
                  <c:v>10350</c:v>
                </c:pt>
                <c:pt idx="85">
                  <c:v>10351</c:v>
                </c:pt>
                <c:pt idx="86">
                  <c:v>10352</c:v>
                </c:pt>
                <c:pt idx="87">
                  <c:v>10355</c:v>
                </c:pt>
                <c:pt idx="88">
                  <c:v>10356</c:v>
                </c:pt>
                <c:pt idx="89">
                  <c:v>10357</c:v>
                </c:pt>
                <c:pt idx="90">
                  <c:v>10358</c:v>
                </c:pt>
                <c:pt idx="91">
                  <c:v>10359</c:v>
                </c:pt>
                <c:pt idx="92">
                  <c:v>10362</c:v>
                </c:pt>
                <c:pt idx="93">
                  <c:v>10363</c:v>
                </c:pt>
                <c:pt idx="94">
                  <c:v>10364</c:v>
                </c:pt>
                <c:pt idx="95">
                  <c:v>10365</c:v>
                </c:pt>
                <c:pt idx="96">
                  <c:v>10366</c:v>
                </c:pt>
                <c:pt idx="97">
                  <c:v>10369</c:v>
                </c:pt>
                <c:pt idx="98">
                  <c:v>10370</c:v>
                </c:pt>
                <c:pt idx="99">
                  <c:v>10371</c:v>
                </c:pt>
                <c:pt idx="100">
                  <c:v>10372</c:v>
                </c:pt>
                <c:pt idx="101">
                  <c:v>10373</c:v>
                </c:pt>
                <c:pt idx="102">
                  <c:v>10376</c:v>
                </c:pt>
                <c:pt idx="103">
                  <c:v>10377</c:v>
                </c:pt>
                <c:pt idx="104">
                  <c:v>10379</c:v>
                </c:pt>
                <c:pt idx="105">
                  <c:v>10380</c:v>
                </c:pt>
                <c:pt idx="106">
                  <c:v>10383</c:v>
                </c:pt>
                <c:pt idx="107">
                  <c:v>10384</c:v>
                </c:pt>
                <c:pt idx="108">
                  <c:v>10385</c:v>
                </c:pt>
                <c:pt idx="109">
                  <c:v>10386</c:v>
                </c:pt>
                <c:pt idx="110">
                  <c:v>10387</c:v>
                </c:pt>
                <c:pt idx="111">
                  <c:v>10390</c:v>
                </c:pt>
                <c:pt idx="112">
                  <c:v>10391</c:v>
                </c:pt>
                <c:pt idx="113">
                  <c:v>10392</c:v>
                </c:pt>
                <c:pt idx="114">
                  <c:v>10393</c:v>
                </c:pt>
                <c:pt idx="115">
                  <c:v>10394</c:v>
                </c:pt>
                <c:pt idx="116">
                  <c:v>10397</c:v>
                </c:pt>
                <c:pt idx="117">
                  <c:v>10398</c:v>
                </c:pt>
                <c:pt idx="118">
                  <c:v>10399</c:v>
                </c:pt>
                <c:pt idx="119">
                  <c:v>10400</c:v>
                </c:pt>
                <c:pt idx="120">
                  <c:v>10401</c:v>
                </c:pt>
                <c:pt idx="121">
                  <c:v>10404</c:v>
                </c:pt>
                <c:pt idx="122">
                  <c:v>10405</c:v>
                </c:pt>
                <c:pt idx="123">
                  <c:v>10406</c:v>
                </c:pt>
                <c:pt idx="124">
                  <c:v>10407</c:v>
                </c:pt>
                <c:pt idx="125">
                  <c:v>10408</c:v>
                </c:pt>
                <c:pt idx="126">
                  <c:v>10411</c:v>
                </c:pt>
                <c:pt idx="127">
                  <c:v>10412</c:v>
                </c:pt>
                <c:pt idx="128">
                  <c:v>10414</c:v>
                </c:pt>
                <c:pt idx="129">
                  <c:v>10415</c:v>
                </c:pt>
                <c:pt idx="130">
                  <c:v>10418</c:v>
                </c:pt>
                <c:pt idx="131">
                  <c:v>10419</c:v>
                </c:pt>
                <c:pt idx="132">
                  <c:v>10420</c:v>
                </c:pt>
                <c:pt idx="133">
                  <c:v>10421</c:v>
                </c:pt>
                <c:pt idx="134">
                  <c:v>10422</c:v>
                </c:pt>
                <c:pt idx="135">
                  <c:v>10425</c:v>
                </c:pt>
                <c:pt idx="136">
                  <c:v>10426</c:v>
                </c:pt>
                <c:pt idx="137">
                  <c:v>10427</c:v>
                </c:pt>
                <c:pt idx="138">
                  <c:v>10428</c:v>
                </c:pt>
                <c:pt idx="139">
                  <c:v>10429</c:v>
                </c:pt>
                <c:pt idx="140">
                  <c:v>10432</c:v>
                </c:pt>
                <c:pt idx="141">
                  <c:v>10433</c:v>
                </c:pt>
                <c:pt idx="142">
                  <c:v>10434</c:v>
                </c:pt>
                <c:pt idx="143">
                  <c:v>10435</c:v>
                </c:pt>
                <c:pt idx="144">
                  <c:v>10436</c:v>
                </c:pt>
                <c:pt idx="145">
                  <c:v>10439</c:v>
                </c:pt>
                <c:pt idx="146">
                  <c:v>10440</c:v>
                </c:pt>
                <c:pt idx="147">
                  <c:v>10441</c:v>
                </c:pt>
                <c:pt idx="148">
                  <c:v>10442</c:v>
                </c:pt>
                <c:pt idx="149">
                  <c:v>10443</c:v>
                </c:pt>
                <c:pt idx="150">
                  <c:v>10446</c:v>
                </c:pt>
                <c:pt idx="151">
                  <c:v>10447</c:v>
                </c:pt>
                <c:pt idx="152">
                  <c:v>10448</c:v>
                </c:pt>
                <c:pt idx="153">
                  <c:v>10449</c:v>
                </c:pt>
                <c:pt idx="154">
                  <c:v>10450</c:v>
                </c:pt>
                <c:pt idx="155">
                  <c:v>10453</c:v>
                </c:pt>
                <c:pt idx="156">
                  <c:v>10454</c:v>
                </c:pt>
                <c:pt idx="157">
                  <c:v>10455</c:v>
                </c:pt>
                <c:pt idx="158">
                  <c:v>10456</c:v>
                </c:pt>
                <c:pt idx="159">
                  <c:v>10457</c:v>
                </c:pt>
                <c:pt idx="160">
                  <c:v>10460</c:v>
                </c:pt>
                <c:pt idx="161">
                  <c:v>10461</c:v>
                </c:pt>
                <c:pt idx="162">
                  <c:v>10462</c:v>
                </c:pt>
                <c:pt idx="163">
                  <c:v>10463</c:v>
                </c:pt>
                <c:pt idx="164">
                  <c:v>10464</c:v>
                </c:pt>
                <c:pt idx="165">
                  <c:v>10467</c:v>
                </c:pt>
                <c:pt idx="166">
                  <c:v>10468</c:v>
                </c:pt>
                <c:pt idx="167">
                  <c:v>10469</c:v>
                </c:pt>
                <c:pt idx="168">
                  <c:v>10470</c:v>
                </c:pt>
                <c:pt idx="169">
                  <c:v>10471</c:v>
                </c:pt>
                <c:pt idx="170">
                  <c:v>10475</c:v>
                </c:pt>
                <c:pt idx="171">
                  <c:v>10476</c:v>
                </c:pt>
                <c:pt idx="172">
                  <c:v>10477</c:v>
                </c:pt>
                <c:pt idx="173">
                  <c:v>10478</c:v>
                </c:pt>
                <c:pt idx="174">
                  <c:v>10481</c:v>
                </c:pt>
                <c:pt idx="175">
                  <c:v>10482</c:v>
                </c:pt>
                <c:pt idx="176">
                  <c:v>10483</c:v>
                </c:pt>
                <c:pt idx="177">
                  <c:v>10484</c:v>
                </c:pt>
                <c:pt idx="178">
                  <c:v>10485</c:v>
                </c:pt>
                <c:pt idx="179">
                  <c:v>10488</c:v>
                </c:pt>
                <c:pt idx="180">
                  <c:v>10489</c:v>
                </c:pt>
                <c:pt idx="181">
                  <c:v>10490</c:v>
                </c:pt>
                <c:pt idx="182">
                  <c:v>10491</c:v>
                </c:pt>
                <c:pt idx="183">
                  <c:v>10492</c:v>
                </c:pt>
                <c:pt idx="184">
                  <c:v>10495</c:v>
                </c:pt>
                <c:pt idx="185">
                  <c:v>10496</c:v>
                </c:pt>
                <c:pt idx="186">
                  <c:v>10497</c:v>
                </c:pt>
                <c:pt idx="187">
                  <c:v>10498</c:v>
                </c:pt>
                <c:pt idx="188">
                  <c:v>10499</c:v>
                </c:pt>
                <c:pt idx="189">
                  <c:v>10502</c:v>
                </c:pt>
                <c:pt idx="190">
                  <c:v>10503</c:v>
                </c:pt>
                <c:pt idx="191">
                  <c:v>10504</c:v>
                </c:pt>
                <c:pt idx="192">
                  <c:v>10505</c:v>
                </c:pt>
                <c:pt idx="193">
                  <c:v>10506</c:v>
                </c:pt>
                <c:pt idx="194">
                  <c:v>10509</c:v>
                </c:pt>
                <c:pt idx="195">
                  <c:v>10510</c:v>
                </c:pt>
                <c:pt idx="196">
                  <c:v>10511</c:v>
                </c:pt>
                <c:pt idx="197">
                  <c:v>10512</c:v>
                </c:pt>
                <c:pt idx="198">
                  <c:v>10516</c:v>
                </c:pt>
                <c:pt idx="199">
                  <c:v>10517</c:v>
                </c:pt>
                <c:pt idx="200">
                  <c:v>10518</c:v>
                </c:pt>
                <c:pt idx="201">
                  <c:v>10519</c:v>
                </c:pt>
                <c:pt idx="202">
                  <c:v>10520</c:v>
                </c:pt>
                <c:pt idx="203">
                  <c:v>10523</c:v>
                </c:pt>
                <c:pt idx="204">
                  <c:v>10524</c:v>
                </c:pt>
                <c:pt idx="205">
                  <c:v>10525</c:v>
                </c:pt>
                <c:pt idx="206">
                  <c:v>10526</c:v>
                </c:pt>
                <c:pt idx="207">
                  <c:v>10527</c:v>
                </c:pt>
                <c:pt idx="208">
                  <c:v>10530</c:v>
                </c:pt>
                <c:pt idx="209">
                  <c:v>10531</c:v>
                </c:pt>
                <c:pt idx="210">
                  <c:v>10532</c:v>
                </c:pt>
                <c:pt idx="211">
                  <c:v>10533</c:v>
                </c:pt>
                <c:pt idx="212">
                  <c:v>10534</c:v>
                </c:pt>
                <c:pt idx="213">
                  <c:v>10537</c:v>
                </c:pt>
                <c:pt idx="214">
                  <c:v>10538</c:v>
                </c:pt>
                <c:pt idx="215">
                  <c:v>10540</c:v>
                </c:pt>
                <c:pt idx="216">
                  <c:v>10541</c:v>
                </c:pt>
                <c:pt idx="217">
                  <c:v>10544</c:v>
                </c:pt>
                <c:pt idx="218">
                  <c:v>10545</c:v>
                </c:pt>
                <c:pt idx="219">
                  <c:v>10546</c:v>
                </c:pt>
                <c:pt idx="220">
                  <c:v>10547</c:v>
                </c:pt>
                <c:pt idx="221">
                  <c:v>10548</c:v>
                </c:pt>
                <c:pt idx="222">
                  <c:v>10551</c:v>
                </c:pt>
                <c:pt idx="223">
                  <c:v>10552</c:v>
                </c:pt>
                <c:pt idx="224">
                  <c:v>10553</c:v>
                </c:pt>
                <c:pt idx="225">
                  <c:v>10554</c:v>
                </c:pt>
                <c:pt idx="226">
                  <c:v>10555</c:v>
                </c:pt>
                <c:pt idx="227">
                  <c:v>10558</c:v>
                </c:pt>
                <c:pt idx="228">
                  <c:v>10559</c:v>
                </c:pt>
                <c:pt idx="229">
                  <c:v>10560</c:v>
                </c:pt>
                <c:pt idx="230">
                  <c:v>10562</c:v>
                </c:pt>
                <c:pt idx="231">
                  <c:v>10565</c:v>
                </c:pt>
                <c:pt idx="232">
                  <c:v>10566</c:v>
                </c:pt>
                <c:pt idx="233">
                  <c:v>10567</c:v>
                </c:pt>
                <c:pt idx="234">
                  <c:v>10568</c:v>
                </c:pt>
                <c:pt idx="235">
                  <c:v>10569</c:v>
                </c:pt>
                <c:pt idx="236">
                  <c:v>10572</c:v>
                </c:pt>
                <c:pt idx="237">
                  <c:v>10573</c:v>
                </c:pt>
                <c:pt idx="238">
                  <c:v>10574</c:v>
                </c:pt>
                <c:pt idx="239">
                  <c:v>10575</c:v>
                </c:pt>
                <c:pt idx="240">
                  <c:v>10576</c:v>
                </c:pt>
                <c:pt idx="241">
                  <c:v>10579</c:v>
                </c:pt>
                <c:pt idx="242">
                  <c:v>10580</c:v>
                </c:pt>
                <c:pt idx="243">
                  <c:v>10581</c:v>
                </c:pt>
                <c:pt idx="244">
                  <c:v>10582</c:v>
                </c:pt>
                <c:pt idx="245">
                  <c:v>10583</c:v>
                </c:pt>
                <c:pt idx="246">
                  <c:v>10586</c:v>
                </c:pt>
                <c:pt idx="247">
                  <c:v>10588</c:v>
                </c:pt>
                <c:pt idx="248">
                  <c:v>10589</c:v>
                </c:pt>
                <c:pt idx="249">
                  <c:v>10590</c:v>
                </c:pt>
                <c:pt idx="250">
                  <c:v>10593</c:v>
                </c:pt>
                <c:pt idx="251">
                  <c:v>10595</c:v>
                </c:pt>
                <c:pt idx="252">
                  <c:v>10596</c:v>
                </c:pt>
                <c:pt idx="253">
                  <c:v>10597</c:v>
                </c:pt>
                <c:pt idx="254">
                  <c:v>10600</c:v>
                </c:pt>
                <c:pt idx="255">
                  <c:v>10601</c:v>
                </c:pt>
                <c:pt idx="256">
                  <c:v>10602</c:v>
                </c:pt>
                <c:pt idx="257">
                  <c:v>10603</c:v>
                </c:pt>
                <c:pt idx="258">
                  <c:v>10604</c:v>
                </c:pt>
                <c:pt idx="259">
                  <c:v>10607</c:v>
                </c:pt>
                <c:pt idx="260">
                  <c:v>10608</c:v>
                </c:pt>
                <c:pt idx="261">
                  <c:v>10609</c:v>
                </c:pt>
                <c:pt idx="262">
                  <c:v>10610</c:v>
                </c:pt>
                <c:pt idx="263">
                  <c:v>10611</c:v>
                </c:pt>
                <c:pt idx="264">
                  <c:v>10614</c:v>
                </c:pt>
                <c:pt idx="265">
                  <c:v>10615</c:v>
                </c:pt>
                <c:pt idx="266">
                  <c:v>10616</c:v>
                </c:pt>
                <c:pt idx="267">
                  <c:v>10617</c:v>
                </c:pt>
                <c:pt idx="268">
                  <c:v>10618</c:v>
                </c:pt>
                <c:pt idx="269">
                  <c:v>10621</c:v>
                </c:pt>
                <c:pt idx="270">
                  <c:v>10622</c:v>
                </c:pt>
                <c:pt idx="271">
                  <c:v>10623</c:v>
                </c:pt>
                <c:pt idx="272">
                  <c:v>10624</c:v>
                </c:pt>
                <c:pt idx="273">
                  <c:v>10625</c:v>
                </c:pt>
                <c:pt idx="274">
                  <c:v>10628</c:v>
                </c:pt>
                <c:pt idx="275">
                  <c:v>10629</c:v>
                </c:pt>
                <c:pt idx="276">
                  <c:v>10630</c:v>
                </c:pt>
                <c:pt idx="277">
                  <c:v>10631</c:v>
                </c:pt>
                <c:pt idx="278">
                  <c:v>10632</c:v>
                </c:pt>
                <c:pt idx="279">
                  <c:v>10635</c:v>
                </c:pt>
                <c:pt idx="280">
                  <c:v>10637</c:v>
                </c:pt>
                <c:pt idx="281">
                  <c:v>10638</c:v>
                </c:pt>
                <c:pt idx="282">
                  <c:v>10639</c:v>
                </c:pt>
                <c:pt idx="283">
                  <c:v>10642</c:v>
                </c:pt>
                <c:pt idx="284">
                  <c:v>10643</c:v>
                </c:pt>
                <c:pt idx="285">
                  <c:v>10644</c:v>
                </c:pt>
                <c:pt idx="286">
                  <c:v>10645</c:v>
                </c:pt>
                <c:pt idx="287">
                  <c:v>10649</c:v>
                </c:pt>
                <c:pt idx="288">
                  <c:v>10650</c:v>
                </c:pt>
                <c:pt idx="289">
                  <c:v>10651</c:v>
                </c:pt>
                <c:pt idx="290">
                  <c:v>10652</c:v>
                </c:pt>
                <c:pt idx="291">
                  <c:v>10653</c:v>
                </c:pt>
                <c:pt idx="292">
                  <c:v>10656</c:v>
                </c:pt>
                <c:pt idx="293">
                  <c:v>10657</c:v>
                </c:pt>
                <c:pt idx="294">
                  <c:v>10658</c:v>
                </c:pt>
                <c:pt idx="295">
                  <c:v>10659</c:v>
                </c:pt>
                <c:pt idx="296">
                  <c:v>10660</c:v>
                </c:pt>
                <c:pt idx="297">
                  <c:v>10663</c:v>
                </c:pt>
                <c:pt idx="298">
                  <c:v>10664</c:v>
                </c:pt>
                <c:pt idx="299">
                  <c:v>10665</c:v>
                </c:pt>
                <c:pt idx="300">
                  <c:v>10666</c:v>
                </c:pt>
                <c:pt idx="301">
                  <c:v>10667</c:v>
                </c:pt>
                <c:pt idx="302">
                  <c:v>10670</c:v>
                </c:pt>
                <c:pt idx="303">
                  <c:v>10671</c:v>
                </c:pt>
                <c:pt idx="304">
                  <c:v>10672</c:v>
                </c:pt>
                <c:pt idx="305">
                  <c:v>10673</c:v>
                </c:pt>
                <c:pt idx="306">
                  <c:v>10674</c:v>
                </c:pt>
                <c:pt idx="307">
                  <c:v>10677</c:v>
                </c:pt>
                <c:pt idx="308">
                  <c:v>10678</c:v>
                </c:pt>
                <c:pt idx="309">
                  <c:v>10679</c:v>
                </c:pt>
                <c:pt idx="310">
                  <c:v>10680</c:v>
                </c:pt>
                <c:pt idx="311">
                  <c:v>10684</c:v>
                </c:pt>
                <c:pt idx="312">
                  <c:v>10685</c:v>
                </c:pt>
                <c:pt idx="313">
                  <c:v>10686</c:v>
                </c:pt>
                <c:pt idx="314">
                  <c:v>10687</c:v>
                </c:pt>
                <c:pt idx="315">
                  <c:v>10688</c:v>
                </c:pt>
                <c:pt idx="316">
                  <c:v>10691</c:v>
                </c:pt>
                <c:pt idx="317">
                  <c:v>10692</c:v>
                </c:pt>
                <c:pt idx="318">
                  <c:v>10693</c:v>
                </c:pt>
                <c:pt idx="319">
                  <c:v>10694</c:v>
                </c:pt>
                <c:pt idx="320">
                  <c:v>10695</c:v>
                </c:pt>
                <c:pt idx="321">
                  <c:v>10698</c:v>
                </c:pt>
                <c:pt idx="322">
                  <c:v>10699</c:v>
                </c:pt>
                <c:pt idx="323">
                  <c:v>10700</c:v>
                </c:pt>
                <c:pt idx="324">
                  <c:v>10701</c:v>
                </c:pt>
                <c:pt idx="325">
                  <c:v>10702</c:v>
                </c:pt>
                <c:pt idx="326">
                  <c:v>10705</c:v>
                </c:pt>
                <c:pt idx="327">
                  <c:v>10706</c:v>
                </c:pt>
                <c:pt idx="328">
                  <c:v>10707</c:v>
                </c:pt>
                <c:pt idx="329">
                  <c:v>10708</c:v>
                </c:pt>
                <c:pt idx="330">
                  <c:v>10709</c:v>
                </c:pt>
                <c:pt idx="331">
                  <c:v>10712</c:v>
                </c:pt>
                <c:pt idx="332">
                  <c:v>10713</c:v>
                </c:pt>
                <c:pt idx="333">
                  <c:v>10714</c:v>
                </c:pt>
                <c:pt idx="334">
                  <c:v>10715</c:v>
                </c:pt>
                <c:pt idx="335">
                  <c:v>10716</c:v>
                </c:pt>
                <c:pt idx="336">
                  <c:v>10719</c:v>
                </c:pt>
                <c:pt idx="337">
                  <c:v>10720</c:v>
                </c:pt>
                <c:pt idx="338">
                  <c:v>10721</c:v>
                </c:pt>
                <c:pt idx="339">
                  <c:v>10722</c:v>
                </c:pt>
                <c:pt idx="340">
                  <c:v>10723</c:v>
                </c:pt>
                <c:pt idx="341">
                  <c:v>10726</c:v>
                </c:pt>
                <c:pt idx="342">
                  <c:v>10727</c:v>
                </c:pt>
                <c:pt idx="343">
                  <c:v>10728</c:v>
                </c:pt>
                <c:pt idx="344">
                  <c:v>10729</c:v>
                </c:pt>
                <c:pt idx="345">
                  <c:v>10730</c:v>
                </c:pt>
                <c:pt idx="346">
                  <c:v>10733</c:v>
                </c:pt>
                <c:pt idx="347">
                  <c:v>10734</c:v>
                </c:pt>
                <c:pt idx="348">
                  <c:v>10735</c:v>
                </c:pt>
                <c:pt idx="349">
                  <c:v>10736</c:v>
                </c:pt>
                <c:pt idx="350">
                  <c:v>10737</c:v>
                </c:pt>
                <c:pt idx="351">
                  <c:v>10740</c:v>
                </c:pt>
                <c:pt idx="352">
                  <c:v>10741</c:v>
                </c:pt>
                <c:pt idx="353">
                  <c:v>10742</c:v>
                </c:pt>
                <c:pt idx="354">
                  <c:v>10744</c:v>
                </c:pt>
                <c:pt idx="355">
                  <c:v>10747</c:v>
                </c:pt>
                <c:pt idx="356">
                  <c:v>10748</c:v>
                </c:pt>
                <c:pt idx="357">
                  <c:v>10749</c:v>
                </c:pt>
                <c:pt idx="358">
                  <c:v>10750</c:v>
                </c:pt>
                <c:pt idx="359">
                  <c:v>10751</c:v>
                </c:pt>
                <c:pt idx="360">
                  <c:v>10754</c:v>
                </c:pt>
                <c:pt idx="361">
                  <c:v>10755</c:v>
                </c:pt>
                <c:pt idx="362">
                  <c:v>10756</c:v>
                </c:pt>
                <c:pt idx="363">
                  <c:v>10757</c:v>
                </c:pt>
                <c:pt idx="364">
                  <c:v>10758</c:v>
                </c:pt>
                <c:pt idx="365">
                  <c:v>10761</c:v>
                </c:pt>
                <c:pt idx="366">
                  <c:v>10762</c:v>
                </c:pt>
                <c:pt idx="367">
                  <c:v>10763</c:v>
                </c:pt>
                <c:pt idx="368">
                  <c:v>10764</c:v>
                </c:pt>
                <c:pt idx="369">
                  <c:v>10765</c:v>
                </c:pt>
                <c:pt idx="370">
                  <c:v>10768</c:v>
                </c:pt>
                <c:pt idx="371">
                  <c:v>10769</c:v>
                </c:pt>
                <c:pt idx="372">
                  <c:v>10770</c:v>
                </c:pt>
                <c:pt idx="373">
                  <c:v>10771</c:v>
                </c:pt>
                <c:pt idx="374">
                  <c:v>10772</c:v>
                </c:pt>
                <c:pt idx="375">
                  <c:v>10775</c:v>
                </c:pt>
                <c:pt idx="376">
                  <c:v>10776</c:v>
                </c:pt>
                <c:pt idx="377">
                  <c:v>10777</c:v>
                </c:pt>
                <c:pt idx="378">
                  <c:v>10779</c:v>
                </c:pt>
                <c:pt idx="379">
                  <c:v>10782</c:v>
                </c:pt>
                <c:pt idx="380">
                  <c:v>10783</c:v>
                </c:pt>
                <c:pt idx="381">
                  <c:v>10784</c:v>
                </c:pt>
                <c:pt idx="382">
                  <c:v>10785</c:v>
                </c:pt>
                <c:pt idx="383">
                  <c:v>10786</c:v>
                </c:pt>
                <c:pt idx="384">
                  <c:v>10789</c:v>
                </c:pt>
                <c:pt idx="385">
                  <c:v>10790</c:v>
                </c:pt>
                <c:pt idx="386">
                  <c:v>10791</c:v>
                </c:pt>
                <c:pt idx="387">
                  <c:v>10792</c:v>
                </c:pt>
                <c:pt idx="388">
                  <c:v>10793</c:v>
                </c:pt>
                <c:pt idx="389">
                  <c:v>10796</c:v>
                </c:pt>
                <c:pt idx="390">
                  <c:v>10797</c:v>
                </c:pt>
                <c:pt idx="391">
                  <c:v>10798</c:v>
                </c:pt>
                <c:pt idx="392">
                  <c:v>10799</c:v>
                </c:pt>
                <c:pt idx="393">
                  <c:v>10800</c:v>
                </c:pt>
                <c:pt idx="394">
                  <c:v>10803</c:v>
                </c:pt>
                <c:pt idx="395">
                  <c:v>10804</c:v>
                </c:pt>
                <c:pt idx="396">
                  <c:v>10805</c:v>
                </c:pt>
                <c:pt idx="397">
                  <c:v>10806</c:v>
                </c:pt>
                <c:pt idx="398">
                  <c:v>10807</c:v>
                </c:pt>
                <c:pt idx="399">
                  <c:v>10810</c:v>
                </c:pt>
                <c:pt idx="400">
                  <c:v>10811</c:v>
                </c:pt>
                <c:pt idx="401">
                  <c:v>10812</c:v>
                </c:pt>
                <c:pt idx="402">
                  <c:v>10813</c:v>
                </c:pt>
                <c:pt idx="403">
                  <c:v>10814</c:v>
                </c:pt>
                <c:pt idx="404">
                  <c:v>10817</c:v>
                </c:pt>
                <c:pt idx="405">
                  <c:v>10818</c:v>
                </c:pt>
                <c:pt idx="406">
                  <c:v>10819</c:v>
                </c:pt>
                <c:pt idx="407">
                  <c:v>10820</c:v>
                </c:pt>
                <c:pt idx="408">
                  <c:v>10821</c:v>
                </c:pt>
                <c:pt idx="409">
                  <c:v>10824</c:v>
                </c:pt>
                <c:pt idx="410">
                  <c:v>10825</c:v>
                </c:pt>
                <c:pt idx="411">
                  <c:v>10826</c:v>
                </c:pt>
                <c:pt idx="412">
                  <c:v>10827</c:v>
                </c:pt>
                <c:pt idx="413">
                  <c:v>10828</c:v>
                </c:pt>
                <c:pt idx="414">
                  <c:v>10831</c:v>
                </c:pt>
                <c:pt idx="415">
                  <c:v>10832</c:v>
                </c:pt>
                <c:pt idx="416">
                  <c:v>10833</c:v>
                </c:pt>
                <c:pt idx="417">
                  <c:v>10834</c:v>
                </c:pt>
                <c:pt idx="418">
                  <c:v>10835</c:v>
                </c:pt>
                <c:pt idx="419">
                  <c:v>10839</c:v>
                </c:pt>
                <c:pt idx="420">
                  <c:v>10840</c:v>
                </c:pt>
                <c:pt idx="421">
                  <c:v>10841</c:v>
                </c:pt>
                <c:pt idx="422">
                  <c:v>10842</c:v>
                </c:pt>
                <c:pt idx="423">
                  <c:v>10845</c:v>
                </c:pt>
                <c:pt idx="424">
                  <c:v>10846</c:v>
                </c:pt>
                <c:pt idx="425">
                  <c:v>10847</c:v>
                </c:pt>
                <c:pt idx="426">
                  <c:v>10848</c:v>
                </c:pt>
                <c:pt idx="427">
                  <c:v>10849</c:v>
                </c:pt>
                <c:pt idx="428">
                  <c:v>10852</c:v>
                </c:pt>
                <c:pt idx="429">
                  <c:v>10853</c:v>
                </c:pt>
                <c:pt idx="430">
                  <c:v>10854</c:v>
                </c:pt>
                <c:pt idx="431">
                  <c:v>10855</c:v>
                </c:pt>
                <c:pt idx="432">
                  <c:v>10856</c:v>
                </c:pt>
                <c:pt idx="433">
                  <c:v>10859</c:v>
                </c:pt>
                <c:pt idx="434">
                  <c:v>10860</c:v>
                </c:pt>
                <c:pt idx="435">
                  <c:v>10861</c:v>
                </c:pt>
                <c:pt idx="436">
                  <c:v>10862</c:v>
                </c:pt>
                <c:pt idx="437">
                  <c:v>10863</c:v>
                </c:pt>
                <c:pt idx="438">
                  <c:v>10866</c:v>
                </c:pt>
                <c:pt idx="439">
                  <c:v>10867</c:v>
                </c:pt>
                <c:pt idx="440">
                  <c:v>10868</c:v>
                </c:pt>
                <c:pt idx="441">
                  <c:v>10869</c:v>
                </c:pt>
                <c:pt idx="442">
                  <c:v>10870</c:v>
                </c:pt>
                <c:pt idx="443">
                  <c:v>10873</c:v>
                </c:pt>
                <c:pt idx="444">
                  <c:v>10874</c:v>
                </c:pt>
                <c:pt idx="445">
                  <c:v>10875</c:v>
                </c:pt>
                <c:pt idx="446">
                  <c:v>10876</c:v>
                </c:pt>
                <c:pt idx="447">
                  <c:v>10877</c:v>
                </c:pt>
                <c:pt idx="448">
                  <c:v>10880</c:v>
                </c:pt>
                <c:pt idx="449">
                  <c:v>10881</c:v>
                </c:pt>
                <c:pt idx="450">
                  <c:v>10882</c:v>
                </c:pt>
                <c:pt idx="451">
                  <c:v>10883</c:v>
                </c:pt>
                <c:pt idx="452">
                  <c:v>10884</c:v>
                </c:pt>
                <c:pt idx="453">
                  <c:v>10887</c:v>
                </c:pt>
                <c:pt idx="454">
                  <c:v>10888</c:v>
                </c:pt>
                <c:pt idx="455">
                  <c:v>10889</c:v>
                </c:pt>
                <c:pt idx="456">
                  <c:v>10890</c:v>
                </c:pt>
                <c:pt idx="457">
                  <c:v>10891</c:v>
                </c:pt>
                <c:pt idx="458">
                  <c:v>10894</c:v>
                </c:pt>
                <c:pt idx="459">
                  <c:v>10895</c:v>
                </c:pt>
                <c:pt idx="460">
                  <c:v>10896</c:v>
                </c:pt>
                <c:pt idx="461">
                  <c:v>10897</c:v>
                </c:pt>
                <c:pt idx="462">
                  <c:v>10901</c:v>
                </c:pt>
                <c:pt idx="463">
                  <c:v>10903</c:v>
                </c:pt>
                <c:pt idx="464">
                  <c:v>10904</c:v>
                </c:pt>
                <c:pt idx="465">
                  <c:v>10905</c:v>
                </c:pt>
                <c:pt idx="466">
                  <c:v>10908</c:v>
                </c:pt>
                <c:pt idx="467">
                  <c:v>10909</c:v>
                </c:pt>
                <c:pt idx="468">
                  <c:v>10910</c:v>
                </c:pt>
                <c:pt idx="469">
                  <c:v>10911</c:v>
                </c:pt>
                <c:pt idx="470">
                  <c:v>10912</c:v>
                </c:pt>
                <c:pt idx="471">
                  <c:v>10915</c:v>
                </c:pt>
                <c:pt idx="472">
                  <c:v>10916</c:v>
                </c:pt>
                <c:pt idx="473">
                  <c:v>10917</c:v>
                </c:pt>
                <c:pt idx="474">
                  <c:v>10918</c:v>
                </c:pt>
                <c:pt idx="475">
                  <c:v>10919</c:v>
                </c:pt>
                <c:pt idx="476">
                  <c:v>10922</c:v>
                </c:pt>
                <c:pt idx="477">
                  <c:v>10923</c:v>
                </c:pt>
                <c:pt idx="478">
                  <c:v>10924</c:v>
                </c:pt>
                <c:pt idx="479">
                  <c:v>10929</c:v>
                </c:pt>
                <c:pt idx="480">
                  <c:v>10930</c:v>
                </c:pt>
                <c:pt idx="481">
                  <c:v>10931</c:v>
                </c:pt>
                <c:pt idx="482">
                  <c:v>10932</c:v>
                </c:pt>
                <c:pt idx="483">
                  <c:v>10933</c:v>
                </c:pt>
                <c:pt idx="484">
                  <c:v>10936</c:v>
                </c:pt>
                <c:pt idx="485">
                  <c:v>10937</c:v>
                </c:pt>
                <c:pt idx="486">
                  <c:v>10938</c:v>
                </c:pt>
                <c:pt idx="487">
                  <c:v>10939</c:v>
                </c:pt>
                <c:pt idx="488">
                  <c:v>10940</c:v>
                </c:pt>
                <c:pt idx="489">
                  <c:v>10943</c:v>
                </c:pt>
                <c:pt idx="490">
                  <c:v>10944</c:v>
                </c:pt>
                <c:pt idx="491">
                  <c:v>10945</c:v>
                </c:pt>
                <c:pt idx="492">
                  <c:v>10946</c:v>
                </c:pt>
                <c:pt idx="493">
                  <c:v>10947</c:v>
                </c:pt>
                <c:pt idx="494">
                  <c:v>10950</c:v>
                </c:pt>
                <c:pt idx="495">
                  <c:v>10951</c:v>
                </c:pt>
                <c:pt idx="496">
                  <c:v>10953</c:v>
                </c:pt>
                <c:pt idx="497">
                  <c:v>10954</c:v>
                </c:pt>
                <c:pt idx="498">
                  <c:v>10957</c:v>
                </c:pt>
                <c:pt idx="499">
                  <c:v>10958</c:v>
                </c:pt>
                <c:pt idx="500">
                  <c:v>10960</c:v>
                </c:pt>
                <c:pt idx="501">
                  <c:v>10961</c:v>
                </c:pt>
                <c:pt idx="502">
                  <c:v>10964</c:v>
                </c:pt>
                <c:pt idx="503">
                  <c:v>10965</c:v>
                </c:pt>
                <c:pt idx="504">
                  <c:v>10966</c:v>
                </c:pt>
                <c:pt idx="505">
                  <c:v>10967</c:v>
                </c:pt>
                <c:pt idx="506">
                  <c:v>10968</c:v>
                </c:pt>
                <c:pt idx="507">
                  <c:v>10971</c:v>
                </c:pt>
                <c:pt idx="508">
                  <c:v>10972</c:v>
                </c:pt>
                <c:pt idx="509">
                  <c:v>10973</c:v>
                </c:pt>
                <c:pt idx="510">
                  <c:v>10974</c:v>
                </c:pt>
                <c:pt idx="511">
                  <c:v>10975</c:v>
                </c:pt>
                <c:pt idx="512">
                  <c:v>10978</c:v>
                </c:pt>
                <c:pt idx="513">
                  <c:v>10979</c:v>
                </c:pt>
                <c:pt idx="514">
                  <c:v>10980</c:v>
                </c:pt>
                <c:pt idx="515">
                  <c:v>10981</c:v>
                </c:pt>
                <c:pt idx="516">
                  <c:v>10982</c:v>
                </c:pt>
                <c:pt idx="517">
                  <c:v>10985</c:v>
                </c:pt>
                <c:pt idx="518">
                  <c:v>10986</c:v>
                </c:pt>
                <c:pt idx="519">
                  <c:v>10987</c:v>
                </c:pt>
                <c:pt idx="520">
                  <c:v>10988</c:v>
                </c:pt>
                <c:pt idx="521">
                  <c:v>10989</c:v>
                </c:pt>
                <c:pt idx="522">
                  <c:v>10992</c:v>
                </c:pt>
                <c:pt idx="523">
                  <c:v>10993</c:v>
                </c:pt>
                <c:pt idx="524">
                  <c:v>10994</c:v>
                </c:pt>
                <c:pt idx="525">
                  <c:v>10995</c:v>
                </c:pt>
                <c:pt idx="526">
                  <c:v>10996</c:v>
                </c:pt>
                <c:pt idx="527">
                  <c:v>10999</c:v>
                </c:pt>
                <c:pt idx="528">
                  <c:v>11000</c:v>
                </c:pt>
                <c:pt idx="529">
                  <c:v>11002</c:v>
                </c:pt>
                <c:pt idx="530">
                  <c:v>11003</c:v>
                </c:pt>
                <c:pt idx="531">
                  <c:v>11006</c:v>
                </c:pt>
                <c:pt idx="532">
                  <c:v>11007</c:v>
                </c:pt>
                <c:pt idx="533">
                  <c:v>11008</c:v>
                </c:pt>
                <c:pt idx="534">
                  <c:v>11009</c:v>
                </c:pt>
                <c:pt idx="535">
                  <c:v>11010</c:v>
                </c:pt>
                <c:pt idx="536">
                  <c:v>11013</c:v>
                </c:pt>
                <c:pt idx="537">
                  <c:v>11014</c:v>
                </c:pt>
                <c:pt idx="538">
                  <c:v>11015</c:v>
                </c:pt>
                <c:pt idx="539">
                  <c:v>11016</c:v>
                </c:pt>
                <c:pt idx="540">
                  <c:v>11017</c:v>
                </c:pt>
                <c:pt idx="541">
                  <c:v>11020</c:v>
                </c:pt>
                <c:pt idx="542">
                  <c:v>11021</c:v>
                </c:pt>
                <c:pt idx="543">
                  <c:v>11022</c:v>
                </c:pt>
                <c:pt idx="544">
                  <c:v>11023</c:v>
                </c:pt>
                <c:pt idx="545">
                  <c:v>11024</c:v>
                </c:pt>
                <c:pt idx="546">
                  <c:v>11027</c:v>
                </c:pt>
                <c:pt idx="547">
                  <c:v>11028</c:v>
                </c:pt>
                <c:pt idx="548">
                  <c:v>11029</c:v>
                </c:pt>
                <c:pt idx="549">
                  <c:v>11030</c:v>
                </c:pt>
                <c:pt idx="550">
                  <c:v>11031</c:v>
                </c:pt>
                <c:pt idx="551">
                  <c:v>11034</c:v>
                </c:pt>
                <c:pt idx="552">
                  <c:v>11035</c:v>
                </c:pt>
                <c:pt idx="553">
                  <c:v>11036</c:v>
                </c:pt>
                <c:pt idx="554">
                  <c:v>11037</c:v>
                </c:pt>
                <c:pt idx="555">
                  <c:v>11038</c:v>
                </c:pt>
                <c:pt idx="556">
                  <c:v>11041</c:v>
                </c:pt>
                <c:pt idx="557">
                  <c:v>11042</c:v>
                </c:pt>
                <c:pt idx="558">
                  <c:v>11043</c:v>
                </c:pt>
                <c:pt idx="559">
                  <c:v>11044</c:v>
                </c:pt>
                <c:pt idx="560">
                  <c:v>11045</c:v>
                </c:pt>
                <c:pt idx="561">
                  <c:v>11048</c:v>
                </c:pt>
                <c:pt idx="562">
                  <c:v>11049</c:v>
                </c:pt>
                <c:pt idx="563">
                  <c:v>11050</c:v>
                </c:pt>
                <c:pt idx="564">
                  <c:v>11051</c:v>
                </c:pt>
                <c:pt idx="565">
                  <c:v>11052</c:v>
                </c:pt>
                <c:pt idx="566">
                  <c:v>11055</c:v>
                </c:pt>
                <c:pt idx="567">
                  <c:v>11056</c:v>
                </c:pt>
                <c:pt idx="568">
                  <c:v>11057</c:v>
                </c:pt>
                <c:pt idx="569">
                  <c:v>11058</c:v>
                </c:pt>
                <c:pt idx="570">
                  <c:v>11059</c:v>
                </c:pt>
                <c:pt idx="571">
                  <c:v>11062</c:v>
                </c:pt>
                <c:pt idx="572">
                  <c:v>11063</c:v>
                </c:pt>
                <c:pt idx="573">
                  <c:v>11064</c:v>
                </c:pt>
                <c:pt idx="574">
                  <c:v>11065</c:v>
                </c:pt>
                <c:pt idx="575">
                  <c:v>11069</c:v>
                </c:pt>
                <c:pt idx="576">
                  <c:v>11070</c:v>
                </c:pt>
                <c:pt idx="577">
                  <c:v>11071</c:v>
                </c:pt>
                <c:pt idx="578">
                  <c:v>11072</c:v>
                </c:pt>
                <c:pt idx="579">
                  <c:v>11073</c:v>
                </c:pt>
                <c:pt idx="580">
                  <c:v>11076</c:v>
                </c:pt>
                <c:pt idx="581">
                  <c:v>11077</c:v>
                </c:pt>
                <c:pt idx="582">
                  <c:v>11078</c:v>
                </c:pt>
                <c:pt idx="583">
                  <c:v>11079</c:v>
                </c:pt>
                <c:pt idx="584">
                  <c:v>11080</c:v>
                </c:pt>
                <c:pt idx="585">
                  <c:v>11083</c:v>
                </c:pt>
                <c:pt idx="586">
                  <c:v>11084</c:v>
                </c:pt>
                <c:pt idx="587">
                  <c:v>11085</c:v>
                </c:pt>
                <c:pt idx="588">
                  <c:v>11086</c:v>
                </c:pt>
                <c:pt idx="589">
                  <c:v>11087</c:v>
                </c:pt>
                <c:pt idx="590">
                  <c:v>11090</c:v>
                </c:pt>
                <c:pt idx="591">
                  <c:v>11091</c:v>
                </c:pt>
                <c:pt idx="592">
                  <c:v>11092</c:v>
                </c:pt>
                <c:pt idx="593">
                  <c:v>11093</c:v>
                </c:pt>
                <c:pt idx="594">
                  <c:v>11094</c:v>
                </c:pt>
                <c:pt idx="595">
                  <c:v>11097</c:v>
                </c:pt>
                <c:pt idx="596">
                  <c:v>11098</c:v>
                </c:pt>
                <c:pt idx="597">
                  <c:v>11099</c:v>
                </c:pt>
                <c:pt idx="598">
                  <c:v>11100</c:v>
                </c:pt>
                <c:pt idx="599">
                  <c:v>11101</c:v>
                </c:pt>
                <c:pt idx="600">
                  <c:v>11104</c:v>
                </c:pt>
                <c:pt idx="601">
                  <c:v>11105</c:v>
                </c:pt>
                <c:pt idx="602">
                  <c:v>11106</c:v>
                </c:pt>
                <c:pt idx="603">
                  <c:v>11107</c:v>
                </c:pt>
                <c:pt idx="604">
                  <c:v>11111</c:v>
                </c:pt>
                <c:pt idx="605">
                  <c:v>11112</c:v>
                </c:pt>
                <c:pt idx="606">
                  <c:v>11113</c:v>
                </c:pt>
                <c:pt idx="607">
                  <c:v>11114</c:v>
                </c:pt>
                <c:pt idx="608">
                  <c:v>11115</c:v>
                </c:pt>
                <c:pt idx="609">
                  <c:v>11118</c:v>
                </c:pt>
                <c:pt idx="610">
                  <c:v>11119</c:v>
                </c:pt>
                <c:pt idx="611">
                  <c:v>11120</c:v>
                </c:pt>
                <c:pt idx="612">
                  <c:v>11121</c:v>
                </c:pt>
                <c:pt idx="613">
                  <c:v>11122</c:v>
                </c:pt>
                <c:pt idx="614">
                  <c:v>11125</c:v>
                </c:pt>
                <c:pt idx="615">
                  <c:v>11126</c:v>
                </c:pt>
                <c:pt idx="616">
                  <c:v>11127</c:v>
                </c:pt>
                <c:pt idx="617">
                  <c:v>11128</c:v>
                </c:pt>
                <c:pt idx="618">
                  <c:v>11129</c:v>
                </c:pt>
                <c:pt idx="619">
                  <c:v>11132</c:v>
                </c:pt>
                <c:pt idx="620">
                  <c:v>11133</c:v>
                </c:pt>
                <c:pt idx="621">
                  <c:v>11134</c:v>
                </c:pt>
                <c:pt idx="622">
                  <c:v>11135</c:v>
                </c:pt>
                <c:pt idx="623">
                  <c:v>11136</c:v>
                </c:pt>
                <c:pt idx="624">
                  <c:v>11139</c:v>
                </c:pt>
                <c:pt idx="625">
                  <c:v>11140</c:v>
                </c:pt>
                <c:pt idx="626">
                  <c:v>11141</c:v>
                </c:pt>
                <c:pt idx="627">
                  <c:v>11142</c:v>
                </c:pt>
                <c:pt idx="628">
                  <c:v>11146</c:v>
                </c:pt>
                <c:pt idx="629">
                  <c:v>11147</c:v>
                </c:pt>
                <c:pt idx="630">
                  <c:v>11148</c:v>
                </c:pt>
                <c:pt idx="631">
                  <c:v>11149</c:v>
                </c:pt>
                <c:pt idx="632">
                  <c:v>11150</c:v>
                </c:pt>
                <c:pt idx="633">
                  <c:v>11153</c:v>
                </c:pt>
                <c:pt idx="634">
                  <c:v>11154</c:v>
                </c:pt>
                <c:pt idx="635">
                  <c:v>11155</c:v>
                </c:pt>
                <c:pt idx="636">
                  <c:v>11156</c:v>
                </c:pt>
                <c:pt idx="637">
                  <c:v>11157</c:v>
                </c:pt>
                <c:pt idx="638">
                  <c:v>11160</c:v>
                </c:pt>
                <c:pt idx="639">
                  <c:v>11161</c:v>
                </c:pt>
                <c:pt idx="640">
                  <c:v>11162</c:v>
                </c:pt>
                <c:pt idx="641">
                  <c:v>11163</c:v>
                </c:pt>
                <c:pt idx="642">
                  <c:v>11164</c:v>
                </c:pt>
                <c:pt idx="643">
                  <c:v>11167</c:v>
                </c:pt>
                <c:pt idx="644">
                  <c:v>11168</c:v>
                </c:pt>
                <c:pt idx="645">
                  <c:v>11169</c:v>
                </c:pt>
                <c:pt idx="646">
                  <c:v>11170</c:v>
                </c:pt>
                <c:pt idx="647">
                  <c:v>11171</c:v>
                </c:pt>
                <c:pt idx="648">
                  <c:v>11174</c:v>
                </c:pt>
                <c:pt idx="649">
                  <c:v>11175</c:v>
                </c:pt>
                <c:pt idx="650">
                  <c:v>11176</c:v>
                </c:pt>
                <c:pt idx="651">
                  <c:v>11177</c:v>
                </c:pt>
                <c:pt idx="652">
                  <c:v>11178</c:v>
                </c:pt>
                <c:pt idx="653">
                  <c:v>11181</c:v>
                </c:pt>
                <c:pt idx="654">
                  <c:v>11182</c:v>
                </c:pt>
                <c:pt idx="655">
                  <c:v>11183</c:v>
                </c:pt>
                <c:pt idx="656">
                  <c:v>11184</c:v>
                </c:pt>
                <c:pt idx="657">
                  <c:v>11185</c:v>
                </c:pt>
                <c:pt idx="658">
                  <c:v>11188</c:v>
                </c:pt>
                <c:pt idx="659">
                  <c:v>11189</c:v>
                </c:pt>
                <c:pt idx="660">
                  <c:v>11190</c:v>
                </c:pt>
                <c:pt idx="661">
                  <c:v>11191</c:v>
                </c:pt>
                <c:pt idx="662">
                  <c:v>11192</c:v>
                </c:pt>
                <c:pt idx="663">
                  <c:v>11195</c:v>
                </c:pt>
                <c:pt idx="664">
                  <c:v>11196</c:v>
                </c:pt>
                <c:pt idx="665">
                  <c:v>11197</c:v>
                </c:pt>
                <c:pt idx="666">
                  <c:v>11198</c:v>
                </c:pt>
                <c:pt idx="667">
                  <c:v>11199</c:v>
                </c:pt>
                <c:pt idx="668">
                  <c:v>11203</c:v>
                </c:pt>
                <c:pt idx="669">
                  <c:v>11204</c:v>
                </c:pt>
                <c:pt idx="670">
                  <c:v>11205</c:v>
                </c:pt>
                <c:pt idx="671">
                  <c:v>11206</c:v>
                </c:pt>
                <c:pt idx="672">
                  <c:v>11209</c:v>
                </c:pt>
                <c:pt idx="673">
                  <c:v>11210</c:v>
                </c:pt>
                <c:pt idx="674">
                  <c:v>11211</c:v>
                </c:pt>
                <c:pt idx="675">
                  <c:v>11212</c:v>
                </c:pt>
                <c:pt idx="676">
                  <c:v>11213</c:v>
                </c:pt>
                <c:pt idx="677">
                  <c:v>11216</c:v>
                </c:pt>
                <c:pt idx="678">
                  <c:v>11217</c:v>
                </c:pt>
                <c:pt idx="679">
                  <c:v>11218</c:v>
                </c:pt>
                <c:pt idx="680">
                  <c:v>11219</c:v>
                </c:pt>
                <c:pt idx="681">
                  <c:v>11220</c:v>
                </c:pt>
                <c:pt idx="682">
                  <c:v>11223</c:v>
                </c:pt>
                <c:pt idx="683">
                  <c:v>11224</c:v>
                </c:pt>
                <c:pt idx="684">
                  <c:v>11225</c:v>
                </c:pt>
                <c:pt idx="685">
                  <c:v>11226</c:v>
                </c:pt>
                <c:pt idx="686">
                  <c:v>11227</c:v>
                </c:pt>
                <c:pt idx="687">
                  <c:v>11230</c:v>
                </c:pt>
                <c:pt idx="688">
                  <c:v>11231</c:v>
                </c:pt>
                <c:pt idx="689">
                  <c:v>11232</c:v>
                </c:pt>
                <c:pt idx="690">
                  <c:v>11233</c:v>
                </c:pt>
                <c:pt idx="691">
                  <c:v>11234</c:v>
                </c:pt>
                <c:pt idx="692">
                  <c:v>11237</c:v>
                </c:pt>
                <c:pt idx="693">
                  <c:v>11238</c:v>
                </c:pt>
                <c:pt idx="694">
                  <c:v>11239</c:v>
                </c:pt>
                <c:pt idx="695">
                  <c:v>11240</c:v>
                </c:pt>
                <c:pt idx="696">
                  <c:v>11241</c:v>
                </c:pt>
                <c:pt idx="697">
                  <c:v>11245</c:v>
                </c:pt>
                <c:pt idx="698">
                  <c:v>11246</c:v>
                </c:pt>
                <c:pt idx="699">
                  <c:v>11247</c:v>
                </c:pt>
                <c:pt idx="700">
                  <c:v>11248</c:v>
                </c:pt>
                <c:pt idx="701">
                  <c:v>11251</c:v>
                </c:pt>
                <c:pt idx="702">
                  <c:v>11252</c:v>
                </c:pt>
                <c:pt idx="703">
                  <c:v>11253</c:v>
                </c:pt>
                <c:pt idx="704">
                  <c:v>11254</c:v>
                </c:pt>
                <c:pt idx="705">
                  <c:v>11255</c:v>
                </c:pt>
                <c:pt idx="706">
                  <c:v>11258</c:v>
                </c:pt>
                <c:pt idx="707">
                  <c:v>11259</c:v>
                </c:pt>
                <c:pt idx="708">
                  <c:v>11260</c:v>
                </c:pt>
                <c:pt idx="709">
                  <c:v>11261</c:v>
                </c:pt>
                <c:pt idx="710">
                  <c:v>11262</c:v>
                </c:pt>
                <c:pt idx="711">
                  <c:v>11265</c:v>
                </c:pt>
                <c:pt idx="712">
                  <c:v>11267</c:v>
                </c:pt>
                <c:pt idx="713">
                  <c:v>11268</c:v>
                </c:pt>
                <c:pt idx="714">
                  <c:v>11269</c:v>
                </c:pt>
                <c:pt idx="715">
                  <c:v>11272</c:v>
                </c:pt>
                <c:pt idx="716">
                  <c:v>11273</c:v>
                </c:pt>
                <c:pt idx="717">
                  <c:v>11274</c:v>
                </c:pt>
                <c:pt idx="718">
                  <c:v>11275</c:v>
                </c:pt>
                <c:pt idx="719">
                  <c:v>11276</c:v>
                </c:pt>
                <c:pt idx="720">
                  <c:v>11279</c:v>
                </c:pt>
                <c:pt idx="721">
                  <c:v>11280</c:v>
                </c:pt>
                <c:pt idx="722">
                  <c:v>11281</c:v>
                </c:pt>
                <c:pt idx="723">
                  <c:v>11282</c:v>
                </c:pt>
                <c:pt idx="724">
                  <c:v>11283</c:v>
                </c:pt>
                <c:pt idx="725">
                  <c:v>11286</c:v>
                </c:pt>
                <c:pt idx="726">
                  <c:v>11287</c:v>
                </c:pt>
                <c:pt idx="727">
                  <c:v>11288</c:v>
                </c:pt>
                <c:pt idx="728">
                  <c:v>11290</c:v>
                </c:pt>
                <c:pt idx="729">
                  <c:v>11293</c:v>
                </c:pt>
                <c:pt idx="730">
                  <c:v>11294</c:v>
                </c:pt>
                <c:pt idx="731">
                  <c:v>11295</c:v>
                </c:pt>
                <c:pt idx="732">
                  <c:v>11296</c:v>
                </c:pt>
                <c:pt idx="733">
                  <c:v>11297</c:v>
                </c:pt>
                <c:pt idx="734">
                  <c:v>11300</c:v>
                </c:pt>
                <c:pt idx="735">
                  <c:v>11301</c:v>
                </c:pt>
                <c:pt idx="736">
                  <c:v>11302</c:v>
                </c:pt>
                <c:pt idx="737">
                  <c:v>11303</c:v>
                </c:pt>
                <c:pt idx="738">
                  <c:v>11304</c:v>
                </c:pt>
                <c:pt idx="739">
                  <c:v>11307</c:v>
                </c:pt>
                <c:pt idx="740">
                  <c:v>11308</c:v>
                </c:pt>
                <c:pt idx="741">
                  <c:v>11309</c:v>
                </c:pt>
                <c:pt idx="742">
                  <c:v>11310</c:v>
                </c:pt>
                <c:pt idx="743">
                  <c:v>11311</c:v>
                </c:pt>
                <c:pt idx="744">
                  <c:v>11314</c:v>
                </c:pt>
                <c:pt idx="745">
                  <c:v>11315</c:v>
                </c:pt>
                <c:pt idx="746">
                  <c:v>11316</c:v>
                </c:pt>
                <c:pt idx="747">
                  <c:v>11318</c:v>
                </c:pt>
                <c:pt idx="748">
                  <c:v>11321</c:v>
                </c:pt>
                <c:pt idx="749">
                  <c:v>11322</c:v>
                </c:pt>
                <c:pt idx="750">
                  <c:v>11323</c:v>
                </c:pt>
                <c:pt idx="751">
                  <c:v>11325</c:v>
                </c:pt>
                <c:pt idx="752">
                  <c:v>11328</c:v>
                </c:pt>
                <c:pt idx="753">
                  <c:v>11329</c:v>
                </c:pt>
                <c:pt idx="754">
                  <c:v>11330</c:v>
                </c:pt>
                <c:pt idx="755">
                  <c:v>11331</c:v>
                </c:pt>
                <c:pt idx="756">
                  <c:v>11332</c:v>
                </c:pt>
                <c:pt idx="757">
                  <c:v>11335</c:v>
                </c:pt>
                <c:pt idx="758">
                  <c:v>11336</c:v>
                </c:pt>
                <c:pt idx="759">
                  <c:v>11337</c:v>
                </c:pt>
                <c:pt idx="760">
                  <c:v>11338</c:v>
                </c:pt>
                <c:pt idx="761">
                  <c:v>11339</c:v>
                </c:pt>
                <c:pt idx="762">
                  <c:v>11342</c:v>
                </c:pt>
                <c:pt idx="763">
                  <c:v>11343</c:v>
                </c:pt>
                <c:pt idx="764">
                  <c:v>11344</c:v>
                </c:pt>
                <c:pt idx="765">
                  <c:v>11345</c:v>
                </c:pt>
                <c:pt idx="766">
                  <c:v>11346</c:v>
                </c:pt>
                <c:pt idx="767">
                  <c:v>11349</c:v>
                </c:pt>
                <c:pt idx="768">
                  <c:v>11350</c:v>
                </c:pt>
                <c:pt idx="769">
                  <c:v>11351</c:v>
                </c:pt>
                <c:pt idx="770">
                  <c:v>11352</c:v>
                </c:pt>
                <c:pt idx="771">
                  <c:v>11353</c:v>
                </c:pt>
                <c:pt idx="772">
                  <c:v>11356</c:v>
                </c:pt>
                <c:pt idx="773">
                  <c:v>11357</c:v>
                </c:pt>
                <c:pt idx="774">
                  <c:v>11358</c:v>
                </c:pt>
                <c:pt idx="775">
                  <c:v>11359</c:v>
                </c:pt>
                <c:pt idx="776">
                  <c:v>11360</c:v>
                </c:pt>
                <c:pt idx="777">
                  <c:v>11363</c:v>
                </c:pt>
                <c:pt idx="778">
                  <c:v>11364</c:v>
                </c:pt>
                <c:pt idx="779">
                  <c:v>11365</c:v>
                </c:pt>
                <c:pt idx="780">
                  <c:v>11367</c:v>
                </c:pt>
                <c:pt idx="781">
                  <c:v>11370</c:v>
                </c:pt>
                <c:pt idx="782">
                  <c:v>11371</c:v>
                </c:pt>
                <c:pt idx="783">
                  <c:v>11372</c:v>
                </c:pt>
                <c:pt idx="784">
                  <c:v>11373</c:v>
                </c:pt>
                <c:pt idx="785">
                  <c:v>11374</c:v>
                </c:pt>
                <c:pt idx="786">
                  <c:v>11378</c:v>
                </c:pt>
                <c:pt idx="787">
                  <c:v>11379</c:v>
                </c:pt>
                <c:pt idx="788">
                  <c:v>11380</c:v>
                </c:pt>
                <c:pt idx="789">
                  <c:v>11381</c:v>
                </c:pt>
                <c:pt idx="790">
                  <c:v>11384</c:v>
                </c:pt>
                <c:pt idx="791">
                  <c:v>11385</c:v>
                </c:pt>
                <c:pt idx="792">
                  <c:v>11386</c:v>
                </c:pt>
                <c:pt idx="793">
                  <c:v>11387</c:v>
                </c:pt>
                <c:pt idx="794">
                  <c:v>11388</c:v>
                </c:pt>
                <c:pt idx="795">
                  <c:v>11391</c:v>
                </c:pt>
                <c:pt idx="796">
                  <c:v>11392</c:v>
                </c:pt>
                <c:pt idx="797">
                  <c:v>11393</c:v>
                </c:pt>
                <c:pt idx="798">
                  <c:v>11394</c:v>
                </c:pt>
                <c:pt idx="799">
                  <c:v>11395</c:v>
                </c:pt>
                <c:pt idx="800">
                  <c:v>11398</c:v>
                </c:pt>
                <c:pt idx="801">
                  <c:v>11399</c:v>
                </c:pt>
                <c:pt idx="802">
                  <c:v>11400</c:v>
                </c:pt>
                <c:pt idx="803">
                  <c:v>11401</c:v>
                </c:pt>
                <c:pt idx="804">
                  <c:v>11402</c:v>
                </c:pt>
                <c:pt idx="805">
                  <c:v>11405</c:v>
                </c:pt>
                <c:pt idx="806">
                  <c:v>11406</c:v>
                </c:pt>
                <c:pt idx="807">
                  <c:v>11407</c:v>
                </c:pt>
                <c:pt idx="808">
                  <c:v>11408</c:v>
                </c:pt>
                <c:pt idx="809">
                  <c:v>11409</c:v>
                </c:pt>
                <c:pt idx="810">
                  <c:v>11412</c:v>
                </c:pt>
                <c:pt idx="811">
                  <c:v>11413</c:v>
                </c:pt>
                <c:pt idx="812">
                  <c:v>11414</c:v>
                </c:pt>
                <c:pt idx="813">
                  <c:v>11415</c:v>
                </c:pt>
                <c:pt idx="814">
                  <c:v>11419</c:v>
                </c:pt>
                <c:pt idx="815">
                  <c:v>11420</c:v>
                </c:pt>
                <c:pt idx="816">
                  <c:v>11421</c:v>
                </c:pt>
                <c:pt idx="817">
                  <c:v>11422</c:v>
                </c:pt>
                <c:pt idx="818">
                  <c:v>11423</c:v>
                </c:pt>
                <c:pt idx="819">
                  <c:v>11426</c:v>
                </c:pt>
                <c:pt idx="820">
                  <c:v>11427</c:v>
                </c:pt>
                <c:pt idx="821">
                  <c:v>11428</c:v>
                </c:pt>
                <c:pt idx="822">
                  <c:v>11429</c:v>
                </c:pt>
                <c:pt idx="823">
                  <c:v>11430</c:v>
                </c:pt>
                <c:pt idx="824">
                  <c:v>11433</c:v>
                </c:pt>
                <c:pt idx="825">
                  <c:v>11434</c:v>
                </c:pt>
                <c:pt idx="826">
                  <c:v>11435</c:v>
                </c:pt>
                <c:pt idx="827">
                  <c:v>11436</c:v>
                </c:pt>
                <c:pt idx="828">
                  <c:v>11437</c:v>
                </c:pt>
                <c:pt idx="829">
                  <c:v>11440</c:v>
                </c:pt>
                <c:pt idx="830">
                  <c:v>11441</c:v>
                </c:pt>
                <c:pt idx="831">
                  <c:v>11442</c:v>
                </c:pt>
                <c:pt idx="832">
                  <c:v>11443</c:v>
                </c:pt>
                <c:pt idx="833">
                  <c:v>11444</c:v>
                </c:pt>
                <c:pt idx="834">
                  <c:v>11447</c:v>
                </c:pt>
                <c:pt idx="835">
                  <c:v>11448</c:v>
                </c:pt>
                <c:pt idx="836">
                  <c:v>11449</c:v>
                </c:pt>
                <c:pt idx="837">
                  <c:v>11450</c:v>
                </c:pt>
                <c:pt idx="838">
                  <c:v>11451</c:v>
                </c:pt>
                <c:pt idx="839">
                  <c:v>11454</c:v>
                </c:pt>
                <c:pt idx="840">
                  <c:v>11455</c:v>
                </c:pt>
                <c:pt idx="841">
                  <c:v>11456</c:v>
                </c:pt>
                <c:pt idx="842">
                  <c:v>11457</c:v>
                </c:pt>
                <c:pt idx="843">
                  <c:v>11458</c:v>
                </c:pt>
                <c:pt idx="844">
                  <c:v>11461</c:v>
                </c:pt>
                <c:pt idx="845">
                  <c:v>11462</c:v>
                </c:pt>
                <c:pt idx="846">
                  <c:v>11463</c:v>
                </c:pt>
                <c:pt idx="847">
                  <c:v>11464</c:v>
                </c:pt>
                <c:pt idx="848">
                  <c:v>11465</c:v>
                </c:pt>
                <c:pt idx="849">
                  <c:v>11468</c:v>
                </c:pt>
                <c:pt idx="850">
                  <c:v>11469</c:v>
                </c:pt>
                <c:pt idx="851">
                  <c:v>11470</c:v>
                </c:pt>
                <c:pt idx="852">
                  <c:v>11471</c:v>
                </c:pt>
                <c:pt idx="853">
                  <c:v>11472</c:v>
                </c:pt>
                <c:pt idx="854">
                  <c:v>11475</c:v>
                </c:pt>
                <c:pt idx="855">
                  <c:v>11476</c:v>
                </c:pt>
                <c:pt idx="856">
                  <c:v>11477</c:v>
                </c:pt>
                <c:pt idx="857">
                  <c:v>11478</c:v>
                </c:pt>
                <c:pt idx="858">
                  <c:v>11479</c:v>
                </c:pt>
                <c:pt idx="859">
                  <c:v>11482</c:v>
                </c:pt>
                <c:pt idx="860">
                  <c:v>11483</c:v>
                </c:pt>
                <c:pt idx="861">
                  <c:v>11484</c:v>
                </c:pt>
                <c:pt idx="862">
                  <c:v>11485</c:v>
                </c:pt>
                <c:pt idx="863">
                  <c:v>11486</c:v>
                </c:pt>
                <c:pt idx="864">
                  <c:v>11489</c:v>
                </c:pt>
                <c:pt idx="865">
                  <c:v>11490</c:v>
                </c:pt>
                <c:pt idx="866">
                  <c:v>11491</c:v>
                </c:pt>
                <c:pt idx="867">
                  <c:v>11492</c:v>
                </c:pt>
                <c:pt idx="868">
                  <c:v>11493</c:v>
                </c:pt>
                <c:pt idx="869">
                  <c:v>11496</c:v>
                </c:pt>
                <c:pt idx="870">
                  <c:v>11497</c:v>
                </c:pt>
                <c:pt idx="871">
                  <c:v>11498</c:v>
                </c:pt>
                <c:pt idx="872">
                  <c:v>11499</c:v>
                </c:pt>
                <c:pt idx="873">
                  <c:v>11500</c:v>
                </c:pt>
                <c:pt idx="874">
                  <c:v>11503</c:v>
                </c:pt>
                <c:pt idx="875">
                  <c:v>11504</c:v>
                </c:pt>
                <c:pt idx="876">
                  <c:v>11505</c:v>
                </c:pt>
                <c:pt idx="877">
                  <c:v>11506</c:v>
                </c:pt>
                <c:pt idx="878">
                  <c:v>11507</c:v>
                </c:pt>
                <c:pt idx="879">
                  <c:v>11510</c:v>
                </c:pt>
                <c:pt idx="880">
                  <c:v>11511</c:v>
                </c:pt>
                <c:pt idx="881">
                  <c:v>11512</c:v>
                </c:pt>
                <c:pt idx="882">
                  <c:v>11513</c:v>
                </c:pt>
                <c:pt idx="883">
                  <c:v>11514</c:v>
                </c:pt>
                <c:pt idx="884">
                  <c:v>11517</c:v>
                </c:pt>
                <c:pt idx="885">
                  <c:v>11518</c:v>
                </c:pt>
                <c:pt idx="886">
                  <c:v>11519</c:v>
                </c:pt>
                <c:pt idx="887">
                  <c:v>11520</c:v>
                </c:pt>
                <c:pt idx="888">
                  <c:v>11521</c:v>
                </c:pt>
                <c:pt idx="889">
                  <c:v>11524</c:v>
                </c:pt>
                <c:pt idx="890">
                  <c:v>11525</c:v>
                </c:pt>
                <c:pt idx="891">
                  <c:v>11526</c:v>
                </c:pt>
                <c:pt idx="892">
                  <c:v>11527</c:v>
                </c:pt>
                <c:pt idx="893">
                  <c:v>11528</c:v>
                </c:pt>
                <c:pt idx="894">
                  <c:v>11531</c:v>
                </c:pt>
                <c:pt idx="895">
                  <c:v>11532</c:v>
                </c:pt>
                <c:pt idx="896">
                  <c:v>11533</c:v>
                </c:pt>
                <c:pt idx="897">
                  <c:v>11534</c:v>
                </c:pt>
                <c:pt idx="898">
                  <c:v>11535</c:v>
                </c:pt>
                <c:pt idx="899">
                  <c:v>11538</c:v>
                </c:pt>
                <c:pt idx="900">
                  <c:v>11539</c:v>
                </c:pt>
                <c:pt idx="901">
                  <c:v>11540</c:v>
                </c:pt>
                <c:pt idx="902">
                  <c:v>11541</c:v>
                </c:pt>
                <c:pt idx="903">
                  <c:v>11542</c:v>
                </c:pt>
                <c:pt idx="904">
                  <c:v>11545</c:v>
                </c:pt>
                <c:pt idx="905">
                  <c:v>11546</c:v>
                </c:pt>
                <c:pt idx="906">
                  <c:v>11547</c:v>
                </c:pt>
                <c:pt idx="907">
                  <c:v>11548</c:v>
                </c:pt>
                <c:pt idx="908">
                  <c:v>11549</c:v>
                </c:pt>
                <c:pt idx="909">
                  <c:v>11552</c:v>
                </c:pt>
                <c:pt idx="910">
                  <c:v>11553</c:v>
                </c:pt>
                <c:pt idx="911">
                  <c:v>11554</c:v>
                </c:pt>
                <c:pt idx="912">
                  <c:v>11555</c:v>
                </c:pt>
                <c:pt idx="913">
                  <c:v>11556</c:v>
                </c:pt>
                <c:pt idx="914">
                  <c:v>11559</c:v>
                </c:pt>
                <c:pt idx="915">
                  <c:v>11560</c:v>
                </c:pt>
                <c:pt idx="916">
                  <c:v>11561</c:v>
                </c:pt>
                <c:pt idx="917">
                  <c:v>11562</c:v>
                </c:pt>
                <c:pt idx="918">
                  <c:v>11563</c:v>
                </c:pt>
                <c:pt idx="919">
                  <c:v>11566</c:v>
                </c:pt>
                <c:pt idx="920">
                  <c:v>11567</c:v>
                </c:pt>
                <c:pt idx="921">
                  <c:v>11568</c:v>
                </c:pt>
                <c:pt idx="922">
                  <c:v>11569</c:v>
                </c:pt>
                <c:pt idx="923">
                  <c:v>11570</c:v>
                </c:pt>
                <c:pt idx="924">
                  <c:v>11574</c:v>
                </c:pt>
                <c:pt idx="925">
                  <c:v>11575</c:v>
                </c:pt>
                <c:pt idx="926">
                  <c:v>11576</c:v>
                </c:pt>
                <c:pt idx="927">
                  <c:v>11577</c:v>
                </c:pt>
                <c:pt idx="928">
                  <c:v>11580</c:v>
                </c:pt>
                <c:pt idx="929">
                  <c:v>11581</c:v>
                </c:pt>
                <c:pt idx="930">
                  <c:v>11582</c:v>
                </c:pt>
                <c:pt idx="931">
                  <c:v>11583</c:v>
                </c:pt>
                <c:pt idx="932">
                  <c:v>11584</c:v>
                </c:pt>
                <c:pt idx="933">
                  <c:v>11587</c:v>
                </c:pt>
                <c:pt idx="934">
                  <c:v>11588</c:v>
                </c:pt>
                <c:pt idx="935">
                  <c:v>11589</c:v>
                </c:pt>
                <c:pt idx="936">
                  <c:v>11590</c:v>
                </c:pt>
                <c:pt idx="937">
                  <c:v>11591</c:v>
                </c:pt>
                <c:pt idx="938">
                  <c:v>11594</c:v>
                </c:pt>
                <c:pt idx="939">
                  <c:v>11595</c:v>
                </c:pt>
                <c:pt idx="940">
                  <c:v>11596</c:v>
                </c:pt>
                <c:pt idx="941">
                  <c:v>11597</c:v>
                </c:pt>
                <c:pt idx="942">
                  <c:v>11598</c:v>
                </c:pt>
                <c:pt idx="943">
                  <c:v>11601</c:v>
                </c:pt>
                <c:pt idx="944">
                  <c:v>11602</c:v>
                </c:pt>
                <c:pt idx="945">
                  <c:v>11603</c:v>
                </c:pt>
                <c:pt idx="946">
                  <c:v>11604</c:v>
                </c:pt>
                <c:pt idx="947">
                  <c:v>11605</c:v>
                </c:pt>
                <c:pt idx="948">
                  <c:v>11609</c:v>
                </c:pt>
                <c:pt idx="949">
                  <c:v>11610</c:v>
                </c:pt>
                <c:pt idx="950">
                  <c:v>11611</c:v>
                </c:pt>
                <c:pt idx="951">
                  <c:v>11612</c:v>
                </c:pt>
                <c:pt idx="952">
                  <c:v>11615</c:v>
                </c:pt>
                <c:pt idx="953">
                  <c:v>11616</c:v>
                </c:pt>
                <c:pt idx="954">
                  <c:v>11617</c:v>
                </c:pt>
                <c:pt idx="955">
                  <c:v>11618</c:v>
                </c:pt>
                <c:pt idx="956">
                  <c:v>11619</c:v>
                </c:pt>
                <c:pt idx="957">
                  <c:v>11622</c:v>
                </c:pt>
                <c:pt idx="958">
                  <c:v>11623</c:v>
                </c:pt>
                <c:pt idx="959">
                  <c:v>11624</c:v>
                </c:pt>
                <c:pt idx="960">
                  <c:v>11625</c:v>
                </c:pt>
                <c:pt idx="961">
                  <c:v>11626</c:v>
                </c:pt>
                <c:pt idx="962">
                  <c:v>11629</c:v>
                </c:pt>
                <c:pt idx="963">
                  <c:v>11631</c:v>
                </c:pt>
                <c:pt idx="964">
                  <c:v>11632</c:v>
                </c:pt>
                <c:pt idx="965">
                  <c:v>11633</c:v>
                </c:pt>
                <c:pt idx="966">
                  <c:v>11636</c:v>
                </c:pt>
                <c:pt idx="967">
                  <c:v>11637</c:v>
                </c:pt>
                <c:pt idx="968">
                  <c:v>11638</c:v>
                </c:pt>
                <c:pt idx="969">
                  <c:v>11639</c:v>
                </c:pt>
                <c:pt idx="970">
                  <c:v>11640</c:v>
                </c:pt>
                <c:pt idx="971">
                  <c:v>11643</c:v>
                </c:pt>
                <c:pt idx="972">
                  <c:v>11644</c:v>
                </c:pt>
                <c:pt idx="973">
                  <c:v>11645</c:v>
                </c:pt>
                <c:pt idx="974">
                  <c:v>11646</c:v>
                </c:pt>
                <c:pt idx="975">
                  <c:v>11647</c:v>
                </c:pt>
                <c:pt idx="976">
                  <c:v>11650</c:v>
                </c:pt>
                <c:pt idx="977">
                  <c:v>11651</c:v>
                </c:pt>
                <c:pt idx="978">
                  <c:v>11652</c:v>
                </c:pt>
                <c:pt idx="979">
                  <c:v>11654</c:v>
                </c:pt>
                <c:pt idx="980">
                  <c:v>11657</c:v>
                </c:pt>
                <c:pt idx="981">
                  <c:v>11658</c:v>
                </c:pt>
                <c:pt idx="982">
                  <c:v>11659</c:v>
                </c:pt>
                <c:pt idx="983">
                  <c:v>11660</c:v>
                </c:pt>
                <c:pt idx="984">
                  <c:v>11661</c:v>
                </c:pt>
                <c:pt idx="985">
                  <c:v>11664</c:v>
                </c:pt>
                <c:pt idx="986">
                  <c:v>11665</c:v>
                </c:pt>
                <c:pt idx="987">
                  <c:v>11666</c:v>
                </c:pt>
                <c:pt idx="988">
                  <c:v>11667</c:v>
                </c:pt>
                <c:pt idx="989">
                  <c:v>11668</c:v>
                </c:pt>
                <c:pt idx="990">
                  <c:v>11671</c:v>
                </c:pt>
                <c:pt idx="991">
                  <c:v>11672</c:v>
                </c:pt>
                <c:pt idx="992">
                  <c:v>11673</c:v>
                </c:pt>
                <c:pt idx="993">
                  <c:v>11674</c:v>
                </c:pt>
                <c:pt idx="994">
                  <c:v>11675</c:v>
                </c:pt>
                <c:pt idx="995">
                  <c:v>11678</c:v>
                </c:pt>
                <c:pt idx="996">
                  <c:v>11679</c:v>
                </c:pt>
                <c:pt idx="997">
                  <c:v>11680</c:v>
                </c:pt>
                <c:pt idx="998">
                  <c:v>11681</c:v>
                </c:pt>
                <c:pt idx="999">
                  <c:v>11685</c:v>
                </c:pt>
                <c:pt idx="1000">
                  <c:v>11686</c:v>
                </c:pt>
                <c:pt idx="1001">
                  <c:v>11687</c:v>
                </c:pt>
                <c:pt idx="1002">
                  <c:v>11688</c:v>
                </c:pt>
                <c:pt idx="1003">
                  <c:v>11692</c:v>
                </c:pt>
                <c:pt idx="1004">
                  <c:v>11693</c:v>
                </c:pt>
                <c:pt idx="1005">
                  <c:v>11694</c:v>
                </c:pt>
                <c:pt idx="1006">
                  <c:v>11695</c:v>
                </c:pt>
                <c:pt idx="1007">
                  <c:v>11696</c:v>
                </c:pt>
                <c:pt idx="1008">
                  <c:v>11699</c:v>
                </c:pt>
                <c:pt idx="1009">
                  <c:v>11700</c:v>
                </c:pt>
                <c:pt idx="1010">
                  <c:v>11701</c:v>
                </c:pt>
                <c:pt idx="1011">
                  <c:v>11702</c:v>
                </c:pt>
                <c:pt idx="1012">
                  <c:v>11703</c:v>
                </c:pt>
                <c:pt idx="1013">
                  <c:v>11706</c:v>
                </c:pt>
                <c:pt idx="1014">
                  <c:v>11707</c:v>
                </c:pt>
                <c:pt idx="1015">
                  <c:v>11708</c:v>
                </c:pt>
                <c:pt idx="1016">
                  <c:v>11709</c:v>
                </c:pt>
                <c:pt idx="1017">
                  <c:v>11710</c:v>
                </c:pt>
                <c:pt idx="1018">
                  <c:v>11713</c:v>
                </c:pt>
                <c:pt idx="1019">
                  <c:v>11714</c:v>
                </c:pt>
                <c:pt idx="1020">
                  <c:v>11715</c:v>
                </c:pt>
                <c:pt idx="1021">
                  <c:v>11716</c:v>
                </c:pt>
                <c:pt idx="1022">
                  <c:v>11717</c:v>
                </c:pt>
                <c:pt idx="1023">
                  <c:v>11720</c:v>
                </c:pt>
                <c:pt idx="1024">
                  <c:v>11721</c:v>
                </c:pt>
                <c:pt idx="1025">
                  <c:v>11722</c:v>
                </c:pt>
                <c:pt idx="1026">
                  <c:v>11723</c:v>
                </c:pt>
                <c:pt idx="1027">
                  <c:v>11724</c:v>
                </c:pt>
                <c:pt idx="1028">
                  <c:v>11727</c:v>
                </c:pt>
                <c:pt idx="1029">
                  <c:v>11728</c:v>
                </c:pt>
                <c:pt idx="1030">
                  <c:v>11729</c:v>
                </c:pt>
                <c:pt idx="1031">
                  <c:v>11730</c:v>
                </c:pt>
                <c:pt idx="1032">
                  <c:v>11734</c:v>
                </c:pt>
                <c:pt idx="1033">
                  <c:v>11735</c:v>
                </c:pt>
                <c:pt idx="1034">
                  <c:v>11736</c:v>
                </c:pt>
                <c:pt idx="1035">
                  <c:v>11737</c:v>
                </c:pt>
                <c:pt idx="1036">
                  <c:v>11738</c:v>
                </c:pt>
                <c:pt idx="1037">
                  <c:v>11742</c:v>
                </c:pt>
                <c:pt idx="1038">
                  <c:v>11743</c:v>
                </c:pt>
                <c:pt idx="1039">
                  <c:v>11744</c:v>
                </c:pt>
                <c:pt idx="1040">
                  <c:v>11745</c:v>
                </c:pt>
                <c:pt idx="1041">
                  <c:v>11748</c:v>
                </c:pt>
                <c:pt idx="1042">
                  <c:v>11749</c:v>
                </c:pt>
                <c:pt idx="1043">
                  <c:v>11750</c:v>
                </c:pt>
                <c:pt idx="1044">
                  <c:v>11751</c:v>
                </c:pt>
                <c:pt idx="1045">
                  <c:v>11752</c:v>
                </c:pt>
                <c:pt idx="1046">
                  <c:v>11755</c:v>
                </c:pt>
                <c:pt idx="1047">
                  <c:v>11756</c:v>
                </c:pt>
                <c:pt idx="1048">
                  <c:v>11757</c:v>
                </c:pt>
                <c:pt idx="1049">
                  <c:v>11758</c:v>
                </c:pt>
                <c:pt idx="1050">
                  <c:v>11759</c:v>
                </c:pt>
                <c:pt idx="1051">
                  <c:v>11762</c:v>
                </c:pt>
                <c:pt idx="1052">
                  <c:v>11763</c:v>
                </c:pt>
                <c:pt idx="1053">
                  <c:v>11764</c:v>
                </c:pt>
                <c:pt idx="1054">
                  <c:v>11765</c:v>
                </c:pt>
                <c:pt idx="1055">
                  <c:v>11766</c:v>
                </c:pt>
                <c:pt idx="1056">
                  <c:v>11769</c:v>
                </c:pt>
                <c:pt idx="1057">
                  <c:v>11770</c:v>
                </c:pt>
                <c:pt idx="1058">
                  <c:v>11771</c:v>
                </c:pt>
                <c:pt idx="1059">
                  <c:v>11772</c:v>
                </c:pt>
                <c:pt idx="1060">
                  <c:v>11776</c:v>
                </c:pt>
                <c:pt idx="1061">
                  <c:v>11777</c:v>
                </c:pt>
                <c:pt idx="1062">
                  <c:v>11778</c:v>
                </c:pt>
                <c:pt idx="1063">
                  <c:v>11779</c:v>
                </c:pt>
                <c:pt idx="1064">
                  <c:v>11780</c:v>
                </c:pt>
                <c:pt idx="1065">
                  <c:v>11783</c:v>
                </c:pt>
                <c:pt idx="1066">
                  <c:v>11784</c:v>
                </c:pt>
                <c:pt idx="1067">
                  <c:v>11785</c:v>
                </c:pt>
                <c:pt idx="1068">
                  <c:v>11786</c:v>
                </c:pt>
                <c:pt idx="1069">
                  <c:v>11787</c:v>
                </c:pt>
                <c:pt idx="1070">
                  <c:v>11790</c:v>
                </c:pt>
                <c:pt idx="1071">
                  <c:v>11791</c:v>
                </c:pt>
                <c:pt idx="1072">
                  <c:v>11792</c:v>
                </c:pt>
                <c:pt idx="1073">
                  <c:v>11793</c:v>
                </c:pt>
                <c:pt idx="1074">
                  <c:v>11794</c:v>
                </c:pt>
                <c:pt idx="1075">
                  <c:v>11797</c:v>
                </c:pt>
                <c:pt idx="1076">
                  <c:v>11798</c:v>
                </c:pt>
                <c:pt idx="1077">
                  <c:v>11799</c:v>
                </c:pt>
                <c:pt idx="1078">
                  <c:v>11800</c:v>
                </c:pt>
                <c:pt idx="1079">
                  <c:v>11801</c:v>
                </c:pt>
                <c:pt idx="1080">
                  <c:v>11804</c:v>
                </c:pt>
                <c:pt idx="1081">
                  <c:v>11805</c:v>
                </c:pt>
                <c:pt idx="1082">
                  <c:v>11806</c:v>
                </c:pt>
                <c:pt idx="1083">
                  <c:v>11807</c:v>
                </c:pt>
                <c:pt idx="1084">
                  <c:v>11808</c:v>
                </c:pt>
                <c:pt idx="1085">
                  <c:v>11811</c:v>
                </c:pt>
                <c:pt idx="1086">
                  <c:v>11812</c:v>
                </c:pt>
                <c:pt idx="1087">
                  <c:v>11813</c:v>
                </c:pt>
                <c:pt idx="1088">
                  <c:v>11814</c:v>
                </c:pt>
                <c:pt idx="1089">
                  <c:v>11815</c:v>
                </c:pt>
                <c:pt idx="1090">
                  <c:v>11818</c:v>
                </c:pt>
                <c:pt idx="1091">
                  <c:v>11819</c:v>
                </c:pt>
                <c:pt idx="1092">
                  <c:v>11820</c:v>
                </c:pt>
                <c:pt idx="1093">
                  <c:v>11821</c:v>
                </c:pt>
                <c:pt idx="1094">
                  <c:v>11822</c:v>
                </c:pt>
                <c:pt idx="1095">
                  <c:v>11825</c:v>
                </c:pt>
                <c:pt idx="1096">
                  <c:v>11826</c:v>
                </c:pt>
                <c:pt idx="1097">
                  <c:v>11827</c:v>
                </c:pt>
                <c:pt idx="1098">
                  <c:v>11828</c:v>
                </c:pt>
                <c:pt idx="1099">
                  <c:v>11829</c:v>
                </c:pt>
                <c:pt idx="1100">
                  <c:v>11832</c:v>
                </c:pt>
                <c:pt idx="1101">
                  <c:v>11833</c:v>
                </c:pt>
                <c:pt idx="1102">
                  <c:v>11834</c:v>
                </c:pt>
                <c:pt idx="1103">
                  <c:v>11835</c:v>
                </c:pt>
                <c:pt idx="1104">
                  <c:v>11836</c:v>
                </c:pt>
                <c:pt idx="1105">
                  <c:v>11840</c:v>
                </c:pt>
                <c:pt idx="1106">
                  <c:v>11841</c:v>
                </c:pt>
                <c:pt idx="1107">
                  <c:v>11842</c:v>
                </c:pt>
                <c:pt idx="1108">
                  <c:v>11843</c:v>
                </c:pt>
                <c:pt idx="1109">
                  <c:v>11846</c:v>
                </c:pt>
                <c:pt idx="1110">
                  <c:v>11847</c:v>
                </c:pt>
                <c:pt idx="1111">
                  <c:v>11848</c:v>
                </c:pt>
                <c:pt idx="1112">
                  <c:v>11849</c:v>
                </c:pt>
                <c:pt idx="1113">
                  <c:v>11850</c:v>
                </c:pt>
                <c:pt idx="1114">
                  <c:v>11853</c:v>
                </c:pt>
                <c:pt idx="1115">
                  <c:v>11854</c:v>
                </c:pt>
                <c:pt idx="1116">
                  <c:v>11855</c:v>
                </c:pt>
                <c:pt idx="1117">
                  <c:v>11856</c:v>
                </c:pt>
                <c:pt idx="1118">
                  <c:v>11857</c:v>
                </c:pt>
                <c:pt idx="1119">
                  <c:v>11860</c:v>
                </c:pt>
                <c:pt idx="1120">
                  <c:v>11861</c:v>
                </c:pt>
                <c:pt idx="1121">
                  <c:v>11862</c:v>
                </c:pt>
                <c:pt idx="1122">
                  <c:v>11863</c:v>
                </c:pt>
                <c:pt idx="1123">
                  <c:v>11864</c:v>
                </c:pt>
                <c:pt idx="1124">
                  <c:v>11867</c:v>
                </c:pt>
                <c:pt idx="1125">
                  <c:v>11868</c:v>
                </c:pt>
                <c:pt idx="1126">
                  <c:v>11869</c:v>
                </c:pt>
                <c:pt idx="1127">
                  <c:v>11870</c:v>
                </c:pt>
                <c:pt idx="1128">
                  <c:v>11871</c:v>
                </c:pt>
                <c:pt idx="1129">
                  <c:v>11875</c:v>
                </c:pt>
                <c:pt idx="1130">
                  <c:v>11876</c:v>
                </c:pt>
                <c:pt idx="1131">
                  <c:v>11877</c:v>
                </c:pt>
                <c:pt idx="1132">
                  <c:v>11878</c:v>
                </c:pt>
                <c:pt idx="1133">
                  <c:v>11881</c:v>
                </c:pt>
                <c:pt idx="1134">
                  <c:v>11882</c:v>
                </c:pt>
                <c:pt idx="1135">
                  <c:v>11883</c:v>
                </c:pt>
                <c:pt idx="1136">
                  <c:v>11884</c:v>
                </c:pt>
                <c:pt idx="1137">
                  <c:v>11885</c:v>
                </c:pt>
                <c:pt idx="1138">
                  <c:v>11888</c:v>
                </c:pt>
                <c:pt idx="1139">
                  <c:v>11889</c:v>
                </c:pt>
                <c:pt idx="1140">
                  <c:v>11890</c:v>
                </c:pt>
                <c:pt idx="1141">
                  <c:v>11891</c:v>
                </c:pt>
                <c:pt idx="1142">
                  <c:v>11892</c:v>
                </c:pt>
                <c:pt idx="1143">
                  <c:v>11895</c:v>
                </c:pt>
                <c:pt idx="1144">
                  <c:v>11896</c:v>
                </c:pt>
                <c:pt idx="1145">
                  <c:v>11897</c:v>
                </c:pt>
                <c:pt idx="1146">
                  <c:v>11898</c:v>
                </c:pt>
                <c:pt idx="1147">
                  <c:v>11899</c:v>
                </c:pt>
                <c:pt idx="1148">
                  <c:v>11902</c:v>
                </c:pt>
                <c:pt idx="1149">
                  <c:v>11903</c:v>
                </c:pt>
                <c:pt idx="1150">
                  <c:v>11904</c:v>
                </c:pt>
                <c:pt idx="1151">
                  <c:v>11905</c:v>
                </c:pt>
                <c:pt idx="1152">
                  <c:v>11906</c:v>
                </c:pt>
                <c:pt idx="1153">
                  <c:v>11909</c:v>
                </c:pt>
                <c:pt idx="1154">
                  <c:v>11910</c:v>
                </c:pt>
                <c:pt idx="1155">
                  <c:v>11911</c:v>
                </c:pt>
                <c:pt idx="1156">
                  <c:v>11912</c:v>
                </c:pt>
                <c:pt idx="1157">
                  <c:v>11913</c:v>
                </c:pt>
                <c:pt idx="1158">
                  <c:v>11916</c:v>
                </c:pt>
                <c:pt idx="1159">
                  <c:v>11917</c:v>
                </c:pt>
                <c:pt idx="1160">
                  <c:v>11918</c:v>
                </c:pt>
                <c:pt idx="1161">
                  <c:v>11919</c:v>
                </c:pt>
                <c:pt idx="1162">
                  <c:v>11920</c:v>
                </c:pt>
                <c:pt idx="1163">
                  <c:v>11923</c:v>
                </c:pt>
                <c:pt idx="1164">
                  <c:v>11924</c:v>
                </c:pt>
                <c:pt idx="1165">
                  <c:v>11925</c:v>
                </c:pt>
                <c:pt idx="1166">
                  <c:v>11926</c:v>
                </c:pt>
                <c:pt idx="1167">
                  <c:v>11927</c:v>
                </c:pt>
                <c:pt idx="1168">
                  <c:v>11930</c:v>
                </c:pt>
                <c:pt idx="1169">
                  <c:v>11931</c:v>
                </c:pt>
                <c:pt idx="1170">
                  <c:v>11932</c:v>
                </c:pt>
                <c:pt idx="1171">
                  <c:v>11933</c:v>
                </c:pt>
                <c:pt idx="1172">
                  <c:v>11934</c:v>
                </c:pt>
                <c:pt idx="1173">
                  <c:v>11938</c:v>
                </c:pt>
                <c:pt idx="1174">
                  <c:v>11939</c:v>
                </c:pt>
                <c:pt idx="1175">
                  <c:v>11940</c:v>
                </c:pt>
                <c:pt idx="1176">
                  <c:v>11941</c:v>
                </c:pt>
                <c:pt idx="1177">
                  <c:v>11944</c:v>
                </c:pt>
                <c:pt idx="1178">
                  <c:v>11945</c:v>
                </c:pt>
                <c:pt idx="1179">
                  <c:v>11946</c:v>
                </c:pt>
                <c:pt idx="1180">
                  <c:v>11947</c:v>
                </c:pt>
                <c:pt idx="1181">
                  <c:v>11948</c:v>
                </c:pt>
                <c:pt idx="1182">
                  <c:v>11951</c:v>
                </c:pt>
                <c:pt idx="1183">
                  <c:v>11952</c:v>
                </c:pt>
                <c:pt idx="1184">
                  <c:v>11953</c:v>
                </c:pt>
                <c:pt idx="1185">
                  <c:v>11954</c:v>
                </c:pt>
                <c:pt idx="1186">
                  <c:v>11955</c:v>
                </c:pt>
                <c:pt idx="1187">
                  <c:v>11958</c:v>
                </c:pt>
                <c:pt idx="1188">
                  <c:v>11959</c:v>
                </c:pt>
                <c:pt idx="1189">
                  <c:v>11960</c:v>
                </c:pt>
                <c:pt idx="1190">
                  <c:v>11961</c:v>
                </c:pt>
                <c:pt idx="1191">
                  <c:v>11962</c:v>
                </c:pt>
                <c:pt idx="1192">
                  <c:v>11965</c:v>
                </c:pt>
                <c:pt idx="1193">
                  <c:v>11966</c:v>
                </c:pt>
                <c:pt idx="1194">
                  <c:v>11967</c:v>
                </c:pt>
                <c:pt idx="1195">
                  <c:v>11968</c:v>
                </c:pt>
                <c:pt idx="1196">
                  <c:v>11969</c:v>
                </c:pt>
                <c:pt idx="1197">
                  <c:v>11972</c:v>
                </c:pt>
                <c:pt idx="1198">
                  <c:v>11973</c:v>
                </c:pt>
                <c:pt idx="1199">
                  <c:v>11975</c:v>
                </c:pt>
                <c:pt idx="1200">
                  <c:v>11976</c:v>
                </c:pt>
                <c:pt idx="1201">
                  <c:v>11979</c:v>
                </c:pt>
                <c:pt idx="1202">
                  <c:v>11980</c:v>
                </c:pt>
                <c:pt idx="1203">
                  <c:v>11981</c:v>
                </c:pt>
                <c:pt idx="1204">
                  <c:v>11982</c:v>
                </c:pt>
                <c:pt idx="1205">
                  <c:v>11983</c:v>
                </c:pt>
                <c:pt idx="1206">
                  <c:v>11986</c:v>
                </c:pt>
                <c:pt idx="1207">
                  <c:v>11987</c:v>
                </c:pt>
                <c:pt idx="1208">
                  <c:v>11988</c:v>
                </c:pt>
                <c:pt idx="1209">
                  <c:v>11989</c:v>
                </c:pt>
                <c:pt idx="1210">
                  <c:v>11990</c:v>
                </c:pt>
                <c:pt idx="1211">
                  <c:v>11993</c:v>
                </c:pt>
                <c:pt idx="1212">
                  <c:v>11994</c:v>
                </c:pt>
                <c:pt idx="1213">
                  <c:v>11995</c:v>
                </c:pt>
                <c:pt idx="1214">
                  <c:v>11996</c:v>
                </c:pt>
                <c:pt idx="1215">
                  <c:v>11997</c:v>
                </c:pt>
                <c:pt idx="1216">
                  <c:v>12000</c:v>
                </c:pt>
                <c:pt idx="1217">
                  <c:v>12002</c:v>
                </c:pt>
                <c:pt idx="1218">
                  <c:v>12003</c:v>
                </c:pt>
                <c:pt idx="1219">
                  <c:v>12004</c:v>
                </c:pt>
                <c:pt idx="1220">
                  <c:v>12007</c:v>
                </c:pt>
                <c:pt idx="1221">
                  <c:v>12008</c:v>
                </c:pt>
                <c:pt idx="1222">
                  <c:v>12009</c:v>
                </c:pt>
                <c:pt idx="1223">
                  <c:v>12010</c:v>
                </c:pt>
                <c:pt idx="1224">
                  <c:v>12011</c:v>
                </c:pt>
                <c:pt idx="1225">
                  <c:v>12014</c:v>
                </c:pt>
                <c:pt idx="1226">
                  <c:v>12015</c:v>
                </c:pt>
                <c:pt idx="1227">
                  <c:v>12016</c:v>
                </c:pt>
                <c:pt idx="1228">
                  <c:v>12018</c:v>
                </c:pt>
                <c:pt idx="1229">
                  <c:v>12021</c:v>
                </c:pt>
                <c:pt idx="1230">
                  <c:v>12022</c:v>
                </c:pt>
                <c:pt idx="1231">
                  <c:v>12023</c:v>
                </c:pt>
                <c:pt idx="1232">
                  <c:v>12024</c:v>
                </c:pt>
                <c:pt idx="1233">
                  <c:v>12025</c:v>
                </c:pt>
                <c:pt idx="1234">
                  <c:v>12028</c:v>
                </c:pt>
                <c:pt idx="1235">
                  <c:v>12029</c:v>
                </c:pt>
                <c:pt idx="1236">
                  <c:v>12030</c:v>
                </c:pt>
                <c:pt idx="1237">
                  <c:v>12031</c:v>
                </c:pt>
                <c:pt idx="1238">
                  <c:v>12032</c:v>
                </c:pt>
                <c:pt idx="1239">
                  <c:v>12035</c:v>
                </c:pt>
                <c:pt idx="1240">
                  <c:v>12036</c:v>
                </c:pt>
                <c:pt idx="1241">
                  <c:v>12037</c:v>
                </c:pt>
                <c:pt idx="1242">
                  <c:v>12038</c:v>
                </c:pt>
                <c:pt idx="1243">
                  <c:v>12039</c:v>
                </c:pt>
                <c:pt idx="1244">
                  <c:v>12042</c:v>
                </c:pt>
                <c:pt idx="1245">
                  <c:v>12043</c:v>
                </c:pt>
                <c:pt idx="1246">
                  <c:v>12044</c:v>
                </c:pt>
                <c:pt idx="1247">
                  <c:v>12045</c:v>
                </c:pt>
                <c:pt idx="1248">
                  <c:v>12046</c:v>
                </c:pt>
                <c:pt idx="1249">
                  <c:v>12050</c:v>
                </c:pt>
                <c:pt idx="1250">
                  <c:v>12051</c:v>
                </c:pt>
                <c:pt idx="1251">
                  <c:v>12052</c:v>
                </c:pt>
                <c:pt idx="1252">
                  <c:v>12053</c:v>
                </c:pt>
                <c:pt idx="1253">
                  <c:v>12057</c:v>
                </c:pt>
                <c:pt idx="1254">
                  <c:v>12058</c:v>
                </c:pt>
                <c:pt idx="1255">
                  <c:v>12059</c:v>
                </c:pt>
                <c:pt idx="1256">
                  <c:v>12060</c:v>
                </c:pt>
                <c:pt idx="1257">
                  <c:v>12063</c:v>
                </c:pt>
                <c:pt idx="1258">
                  <c:v>12064</c:v>
                </c:pt>
                <c:pt idx="1259">
                  <c:v>12065</c:v>
                </c:pt>
                <c:pt idx="1260">
                  <c:v>12066</c:v>
                </c:pt>
                <c:pt idx="1261">
                  <c:v>12067</c:v>
                </c:pt>
                <c:pt idx="1262">
                  <c:v>12070</c:v>
                </c:pt>
                <c:pt idx="1263">
                  <c:v>12071</c:v>
                </c:pt>
                <c:pt idx="1264">
                  <c:v>12072</c:v>
                </c:pt>
                <c:pt idx="1265">
                  <c:v>12073</c:v>
                </c:pt>
                <c:pt idx="1266">
                  <c:v>12074</c:v>
                </c:pt>
                <c:pt idx="1267">
                  <c:v>12077</c:v>
                </c:pt>
                <c:pt idx="1268">
                  <c:v>12078</c:v>
                </c:pt>
                <c:pt idx="1269">
                  <c:v>12079</c:v>
                </c:pt>
                <c:pt idx="1270">
                  <c:v>12080</c:v>
                </c:pt>
                <c:pt idx="1271">
                  <c:v>12081</c:v>
                </c:pt>
                <c:pt idx="1272">
                  <c:v>12084</c:v>
                </c:pt>
                <c:pt idx="1273">
                  <c:v>12085</c:v>
                </c:pt>
                <c:pt idx="1274">
                  <c:v>12086</c:v>
                </c:pt>
                <c:pt idx="1275">
                  <c:v>12087</c:v>
                </c:pt>
                <c:pt idx="1276">
                  <c:v>12088</c:v>
                </c:pt>
                <c:pt idx="1277">
                  <c:v>12091</c:v>
                </c:pt>
                <c:pt idx="1278">
                  <c:v>12092</c:v>
                </c:pt>
                <c:pt idx="1279">
                  <c:v>12093</c:v>
                </c:pt>
                <c:pt idx="1280">
                  <c:v>12094</c:v>
                </c:pt>
                <c:pt idx="1281">
                  <c:v>12095</c:v>
                </c:pt>
                <c:pt idx="1282">
                  <c:v>12099</c:v>
                </c:pt>
                <c:pt idx="1283">
                  <c:v>12100</c:v>
                </c:pt>
                <c:pt idx="1284">
                  <c:v>12101</c:v>
                </c:pt>
                <c:pt idx="1285">
                  <c:v>12102</c:v>
                </c:pt>
                <c:pt idx="1286">
                  <c:v>12105</c:v>
                </c:pt>
                <c:pt idx="1287">
                  <c:v>12106</c:v>
                </c:pt>
                <c:pt idx="1288">
                  <c:v>12108</c:v>
                </c:pt>
                <c:pt idx="1289">
                  <c:v>12109</c:v>
                </c:pt>
                <c:pt idx="1290">
                  <c:v>12112</c:v>
                </c:pt>
                <c:pt idx="1291">
                  <c:v>12113</c:v>
                </c:pt>
                <c:pt idx="1292">
                  <c:v>12114</c:v>
                </c:pt>
                <c:pt idx="1293">
                  <c:v>12115</c:v>
                </c:pt>
                <c:pt idx="1294">
                  <c:v>12116</c:v>
                </c:pt>
                <c:pt idx="1295">
                  <c:v>12128</c:v>
                </c:pt>
                <c:pt idx="1296">
                  <c:v>12129</c:v>
                </c:pt>
                <c:pt idx="1297">
                  <c:v>12130</c:v>
                </c:pt>
                <c:pt idx="1298">
                  <c:v>12133</c:v>
                </c:pt>
                <c:pt idx="1299">
                  <c:v>12134</c:v>
                </c:pt>
                <c:pt idx="1300">
                  <c:v>12135</c:v>
                </c:pt>
                <c:pt idx="1301">
                  <c:v>12136</c:v>
                </c:pt>
                <c:pt idx="1302">
                  <c:v>12137</c:v>
                </c:pt>
                <c:pt idx="1303">
                  <c:v>12140</c:v>
                </c:pt>
                <c:pt idx="1304">
                  <c:v>12141</c:v>
                </c:pt>
                <c:pt idx="1305">
                  <c:v>12142</c:v>
                </c:pt>
                <c:pt idx="1306">
                  <c:v>12143</c:v>
                </c:pt>
                <c:pt idx="1307">
                  <c:v>12144</c:v>
                </c:pt>
                <c:pt idx="1308">
                  <c:v>12147</c:v>
                </c:pt>
                <c:pt idx="1309">
                  <c:v>12148</c:v>
                </c:pt>
                <c:pt idx="1310">
                  <c:v>12149</c:v>
                </c:pt>
                <c:pt idx="1311">
                  <c:v>12150</c:v>
                </c:pt>
                <c:pt idx="1312">
                  <c:v>12151</c:v>
                </c:pt>
                <c:pt idx="1313">
                  <c:v>12154</c:v>
                </c:pt>
                <c:pt idx="1314">
                  <c:v>12155</c:v>
                </c:pt>
                <c:pt idx="1315">
                  <c:v>12156</c:v>
                </c:pt>
                <c:pt idx="1316">
                  <c:v>12157</c:v>
                </c:pt>
                <c:pt idx="1317">
                  <c:v>12161</c:v>
                </c:pt>
                <c:pt idx="1318">
                  <c:v>12162</c:v>
                </c:pt>
                <c:pt idx="1319">
                  <c:v>12163</c:v>
                </c:pt>
                <c:pt idx="1320">
                  <c:v>12164</c:v>
                </c:pt>
                <c:pt idx="1321">
                  <c:v>12165</c:v>
                </c:pt>
                <c:pt idx="1322">
                  <c:v>12168</c:v>
                </c:pt>
                <c:pt idx="1323">
                  <c:v>12169</c:v>
                </c:pt>
                <c:pt idx="1324">
                  <c:v>12170</c:v>
                </c:pt>
                <c:pt idx="1325">
                  <c:v>12171</c:v>
                </c:pt>
                <c:pt idx="1326">
                  <c:v>12172</c:v>
                </c:pt>
                <c:pt idx="1327">
                  <c:v>12175</c:v>
                </c:pt>
                <c:pt idx="1328">
                  <c:v>12176</c:v>
                </c:pt>
                <c:pt idx="1329">
                  <c:v>12177</c:v>
                </c:pt>
                <c:pt idx="1330">
                  <c:v>12178</c:v>
                </c:pt>
                <c:pt idx="1331">
                  <c:v>12179</c:v>
                </c:pt>
                <c:pt idx="1332">
                  <c:v>12182</c:v>
                </c:pt>
                <c:pt idx="1333">
                  <c:v>12183</c:v>
                </c:pt>
                <c:pt idx="1334">
                  <c:v>12184</c:v>
                </c:pt>
                <c:pt idx="1335">
                  <c:v>12185</c:v>
                </c:pt>
                <c:pt idx="1336">
                  <c:v>12186</c:v>
                </c:pt>
                <c:pt idx="1337">
                  <c:v>12189</c:v>
                </c:pt>
                <c:pt idx="1338">
                  <c:v>12190</c:v>
                </c:pt>
                <c:pt idx="1339">
                  <c:v>12191</c:v>
                </c:pt>
                <c:pt idx="1340">
                  <c:v>12192</c:v>
                </c:pt>
                <c:pt idx="1341">
                  <c:v>12193</c:v>
                </c:pt>
                <c:pt idx="1342">
                  <c:v>12196</c:v>
                </c:pt>
                <c:pt idx="1343">
                  <c:v>12197</c:v>
                </c:pt>
                <c:pt idx="1344">
                  <c:v>12198</c:v>
                </c:pt>
                <c:pt idx="1345">
                  <c:v>12199</c:v>
                </c:pt>
                <c:pt idx="1346">
                  <c:v>12200</c:v>
                </c:pt>
                <c:pt idx="1347">
                  <c:v>12203</c:v>
                </c:pt>
                <c:pt idx="1348">
                  <c:v>12205</c:v>
                </c:pt>
                <c:pt idx="1349">
                  <c:v>12206</c:v>
                </c:pt>
                <c:pt idx="1350">
                  <c:v>12207</c:v>
                </c:pt>
                <c:pt idx="1351">
                  <c:v>12210</c:v>
                </c:pt>
                <c:pt idx="1352">
                  <c:v>12211</c:v>
                </c:pt>
                <c:pt idx="1353">
                  <c:v>12212</c:v>
                </c:pt>
                <c:pt idx="1354">
                  <c:v>12213</c:v>
                </c:pt>
                <c:pt idx="1355">
                  <c:v>12214</c:v>
                </c:pt>
                <c:pt idx="1356">
                  <c:v>12217</c:v>
                </c:pt>
                <c:pt idx="1357">
                  <c:v>12218</c:v>
                </c:pt>
                <c:pt idx="1358">
                  <c:v>12219</c:v>
                </c:pt>
                <c:pt idx="1359">
                  <c:v>12220</c:v>
                </c:pt>
                <c:pt idx="1360">
                  <c:v>12221</c:v>
                </c:pt>
                <c:pt idx="1361">
                  <c:v>12224</c:v>
                </c:pt>
                <c:pt idx="1362">
                  <c:v>12225</c:v>
                </c:pt>
                <c:pt idx="1363">
                  <c:v>12226</c:v>
                </c:pt>
                <c:pt idx="1364">
                  <c:v>12227</c:v>
                </c:pt>
                <c:pt idx="1365">
                  <c:v>12228</c:v>
                </c:pt>
                <c:pt idx="1366">
                  <c:v>12231</c:v>
                </c:pt>
                <c:pt idx="1367">
                  <c:v>12232</c:v>
                </c:pt>
                <c:pt idx="1368">
                  <c:v>12233</c:v>
                </c:pt>
                <c:pt idx="1369">
                  <c:v>12234</c:v>
                </c:pt>
                <c:pt idx="1370">
                  <c:v>12235</c:v>
                </c:pt>
                <c:pt idx="1371">
                  <c:v>12238</c:v>
                </c:pt>
                <c:pt idx="1372">
                  <c:v>12240</c:v>
                </c:pt>
                <c:pt idx="1373">
                  <c:v>12241</c:v>
                </c:pt>
                <c:pt idx="1374">
                  <c:v>12242</c:v>
                </c:pt>
                <c:pt idx="1375">
                  <c:v>12245</c:v>
                </c:pt>
                <c:pt idx="1376">
                  <c:v>12246</c:v>
                </c:pt>
                <c:pt idx="1377">
                  <c:v>12247</c:v>
                </c:pt>
                <c:pt idx="1378">
                  <c:v>12248</c:v>
                </c:pt>
                <c:pt idx="1379">
                  <c:v>12249</c:v>
                </c:pt>
                <c:pt idx="1380">
                  <c:v>12252</c:v>
                </c:pt>
                <c:pt idx="1381">
                  <c:v>12253</c:v>
                </c:pt>
                <c:pt idx="1382">
                  <c:v>12254</c:v>
                </c:pt>
                <c:pt idx="1383">
                  <c:v>12255</c:v>
                </c:pt>
                <c:pt idx="1384">
                  <c:v>12256</c:v>
                </c:pt>
                <c:pt idx="1385">
                  <c:v>12259</c:v>
                </c:pt>
                <c:pt idx="1386">
                  <c:v>12260</c:v>
                </c:pt>
                <c:pt idx="1387">
                  <c:v>12261</c:v>
                </c:pt>
                <c:pt idx="1388">
                  <c:v>12262</c:v>
                </c:pt>
                <c:pt idx="1389">
                  <c:v>12263</c:v>
                </c:pt>
                <c:pt idx="1390">
                  <c:v>12266</c:v>
                </c:pt>
                <c:pt idx="1391">
                  <c:v>12267</c:v>
                </c:pt>
                <c:pt idx="1392">
                  <c:v>12268</c:v>
                </c:pt>
                <c:pt idx="1393">
                  <c:v>12269</c:v>
                </c:pt>
                <c:pt idx="1394">
                  <c:v>12270</c:v>
                </c:pt>
                <c:pt idx="1395">
                  <c:v>12273</c:v>
                </c:pt>
                <c:pt idx="1396">
                  <c:v>12274</c:v>
                </c:pt>
                <c:pt idx="1397">
                  <c:v>12275</c:v>
                </c:pt>
                <c:pt idx="1398">
                  <c:v>12276</c:v>
                </c:pt>
                <c:pt idx="1399">
                  <c:v>12277</c:v>
                </c:pt>
                <c:pt idx="1400">
                  <c:v>12280</c:v>
                </c:pt>
                <c:pt idx="1401">
                  <c:v>12281</c:v>
                </c:pt>
                <c:pt idx="1402">
                  <c:v>12282</c:v>
                </c:pt>
                <c:pt idx="1403">
                  <c:v>12283</c:v>
                </c:pt>
                <c:pt idx="1404">
                  <c:v>12284</c:v>
                </c:pt>
                <c:pt idx="1405">
                  <c:v>12287</c:v>
                </c:pt>
                <c:pt idx="1406">
                  <c:v>12288</c:v>
                </c:pt>
                <c:pt idx="1407">
                  <c:v>12289</c:v>
                </c:pt>
                <c:pt idx="1408">
                  <c:v>12290</c:v>
                </c:pt>
                <c:pt idx="1409">
                  <c:v>12291</c:v>
                </c:pt>
                <c:pt idx="1410">
                  <c:v>12294</c:v>
                </c:pt>
                <c:pt idx="1411">
                  <c:v>12295</c:v>
                </c:pt>
                <c:pt idx="1412">
                  <c:v>12296</c:v>
                </c:pt>
                <c:pt idx="1413">
                  <c:v>12297</c:v>
                </c:pt>
                <c:pt idx="1414">
                  <c:v>12298</c:v>
                </c:pt>
                <c:pt idx="1415">
                  <c:v>12302</c:v>
                </c:pt>
                <c:pt idx="1416">
                  <c:v>12303</c:v>
                </c:pt>
                <c:pt idx="1417">
                  <c:v>12304</c:v>
                </c:pt>
                <c:pt idx="1418">
                  <c:v>12305</c:v>
                </c:pt>
                <c:pt idx="1419">
                  <c:v>12308</c:v>
                </c:pt>
                <c:pt idx="1420">
                  <c:v>12309</c:v>
                </c:pt>
                <c:pt idx="1421">
                  <c:v>12310</c:v>
                </c:pt>
                <c:pt idx="1422">
                  <c:v>12311</c:v>
                </c:pt>
                <c:pt idx="1423">
                  <c:v>12312</c:v>
                </c:pt>
                <c:pt idx="1424">
                  <c:v>12315</c:v>
                </c:pt>
                <c:pt idx="1425">
                  <c:v>12316</c:v>
                </c:pt>
                <c:pt idx="1426">
                  <c:v>12317</c:v>
                </c:pt>
                <c:pt idx="1427">
                  <c:v>12318</c:v>
                </c:pt>
                <c:pt idx="1428">
                  <c:v>12319</c:v>
                </c:pt>
                <c:pt idx="1429">
                  <c:v>12322</c:v>
                </c:pt>
                <c:pt idx="1430">
                  <c:v>12323</c:v>
                </c:pt>
                <c:pt idx="1431">
                  <c:v>12324</c:v>
                </c:pt>
                <c:pt idx="1432">
                  <c:v>12325</c:v>
                </c:pt>
                <c:pt idx="1433">
                  <c:v>12326</c:v>
                </c:pt>
                <c:pt idx="1434">
                  <c:v>12329</c:v>
                </c:pt>
                <c:pt idx="1435">
                  <c:v>12330</c:v>
                </c:pt>
                <c:pt idx="1436">
                  <c:v>12331</c:v>
                </c:pt>
                <c:pt idx="1437">
                  <c:v>12332</c:v>
                </c:pt>
                <c:pt idx="1438">
                  <c:v>12333</c:v>
                </c:pt>
                <c:pt idx="1439">
                  <c:v>12336</c:v>
                </c:pt>
                <c:pt idx="1440">
                  <c:v>12337</c:v>
                </c:pt>
                <c:pt idx="1441">
                  <c:v>12338</c:v>
                </c:pt>
                <c:pt idx="1442">
                  <c:v>12340</c:v>
                </c:pt>
                <c:pt idx="1443">
                  <c:v>12343</c:v>
                </c:pt>
                <c:pt idx="1444">
                  <c:v>12344</c:v>
                </c:pt>
                <c:pt idx="1445">
                  <c:v>12345</c:v>
                </c:pt>
                <c:pt idx="1446">
                  <c:v>12346</c:v>
                </c:pt>
                <c:pt idx="1447">
                  <c:v>12347</c:v>
                </c:pt>
                <c:pt idx="1448">
                  <c:v>12350</c:v>
                </c:pt>
                <c:pt idx="1449">
                  <c:v>12351</c:v>
                </c:pt>
                <c:pt idx="1450">
                  <c:v>12352</c:v>
                </c:pt>
                <c:pt idx="1451">
                  <c:v>12353</c:v>
                </c:pt>
                <c:pt idx="1452">
                  <c:v>12354</c:v>
                </c:pt>
                <c:pt idx="1453">
                  <c:v>12357</c:v>
                </c:pt>
                <c:pt idx="1454">
                  <c:v>12358</c:v>
                </c:pt>
                <c:pt idx="1455">
                  <c:v>12359</c:v>
                </c:pt>
                <c:pt idx="1456">
                  <c:v>12360</c:v>
                </c:pt>
                <c:pt idx="1457">
                  <c:v>12361</c:v>
                </c:pt>
                <c:pt idx="1458">
                  <c:v>12364</c:v>
                </c:pt>
                <c:pt idx="1459">
                  <c:v>12366</c:v>
                </c:pt>
                <c:pt idx="1460">
                  <c:v>12367</c:v>
                </c:pt>
                <c:pt idx="1461">
                  <c:v>12368</c:v>
                </c:pt>
                <c:pt idx="1462">
                  <c:v>12371</c:v>
                </c:pt>
                <c:pt idx="1463">
                  <c:v>12372</c:v>
                </c:pt>
                <c:pt idx="1464">
                  <c:v>12373</c:v>
                </c:pt>
                <c:pt idx="1465">
                  <c:v>12374</c:v>
                </c:pt>
                <c:pt idx="1466">
                  <c:v>12375</c:v>
                </c:pt>
                <c:pt idx="1467">
                  <c:v>12378</c:v>
                </c:pt>
                <c:pt idx="1468">
                  <c:v>12379</c:v>
                </c:pt>
                <c:pt idx="1469">
                  <c:v>12380</c:v>
                </c:pt>
                <c:pt idx="1470">
                  <c:v>12381</c:v>
                </c:pt>
                <c:pt idx="1471">
                  <c:v>12382</c:v>
                </c:pt>
                <c:pt idx="1472">
                  <c:v>12385</c:v>
                </c:pt>
                <c:pt idx="1473">
                  <c:v>12386</c:v>
                </c:pt>
                <c:pt idx="1474">
                  <c:v>12387</c:v>
                </c:pt>
                <c:pt idx="1475">
                  <c:v>12389</c:v>
                </c:pt>
                <c:pt idx="1476">
                  <c:v>12392</c:v>
                </c:pt>
                <c:pt idx="1477">
                  <c:v>12393</c:v>
                </c:pt>
                <c:pt idx="1478">
                  <c:v>12394</c:v>
                </c:pt>
                <c:pt idx="1479">
                  <c:v>12395</c:v>
                </c:pt>
                <c:pt idx="1480">
                  <c:v>12396</c:v>
                </c:pt>
                <c:pt idx="1481">
                  <c:v>12399</c:v>
                </c:pt>
                <c:pt idx="1482">
                  <c:v>12400</c:v>
                </c:pt>
                <c:pt idx="1483">
                  <c:v>12401</c:v>
                </c:pt>
                <c:pt idx="1484">
                  <c:v>12402</c:v>
                </c:pt>
                <c:pt idx="1485">
                  <c:v>12403</c:v>
                </c:pt>
                <c:pt idx="1486">
                  <c:v>12406</c:v>
                </c:pt>
                <c:pt idx="1487">
                  <c:v>12407</c:v>
                </c:pt>
                <c:pt idx="1488">
                  <c:v>12408</c:v>
                </c:pt>
                <c:pt idx="1489">
                  <c:v>12409</c:v>
                </c:pt>
                <c:pt idx="1490">
                  <c:v>12410</c:v>
                </c:pt>
                <c:pt idx="1491">
                  <c:v>12414</c:v>
                </c:pt>
                <c:pt idx="1492">
                  <c:v>12415</c:v>
                </c:pt>
                <c:pt idx="1493">
                  <c:v>12416</c:v>
                </c:pt>
                <c:pt idx="1494">
                  <c:v>12417</c:v>
                </c:pt>
                <c:pt idx="1495">
                  <c:v>12421</c:v>
                </c:pt>
                <c:pt idx="1496">
                  <c:v>12422</c:v>
                </c:pt>
                <c:pt idx="1497">
                  <c:v>12423</c:v>
                </c:pt>
                <c:pt idx="1498">
                  <c:v>12424</c:v>
                </c:pt>
                <c:pt idx="1499">
                  <c:v>12427</c:v>
                </c:pt>
                <c:pt idx="1500">
                  <c:v>12428</c:v>
                </c:pt>
                <c:pt idx="1501">
                  <c:v>12429</c:v>
                </c:pt>
                <c:pt idx="1502">
                  <c:v>12430</c:v>
                </c:pt>
                <c:pt idx="1503">
                  <c:v>12431</c:v>
                </c:pt>
                <c:pt idx="1504">
                  <c:v>12434</c:v>
                </c:pt>
                <c:pt idx="1505">
                  <c:v>12435</c:v>
                </c:pt>
                <c:pt idx="1506">
                  <c:v>12436</c:v>
                </c:pt>
                <c:pt idx="1507">
                  <c:v>12437</c:v>
                </c:pt>
                <c:pt idx="1508">
                  <c:v>12438</c:v>
                </c:pt>
                <c:pt idx="1509">
                  <c:v>12441</c:v>
                </c:pt>
                <c:pt idx="1510">
                  <c:v>12442</c:v>
                </c:pt>
                <c:pt idx="1511">
                  <c:v>12443</c:v>
                </c:pt>
                <c:pt idx="1512">
                  <c:v>12444</c:v>
                </c:pt>
                <c:pt idx="1513">
                  <c:v>12445</c:v>
                </c:pt>
                <c:pt idx="1514">
                  <c:v>12448</c:v>
                </c:pt>
                <c:pt idx="1515">
                  <c:v>12449</c:v>
                </c:pt>
                <c:pt idx="1516">
                  <c:v>12450</c:v>
                </c:pt>
                <c:pt idx="1517">
                  <c:v>12451</c:v>
                </c:pt>
                <c:pt idx="1518">
                  <c:v>12452</c:v>
                </c:pt>
                <c:pt idx="1519">
                  <c:v>12455</c:v>
                </c:pt>
                <c:pt idx="1520">
                  <c:v>12456</c:v>
                </c:pt>
                <c:pt idx="1521">
                  <c:v>12457</c:v>
                </c:pt>
                <c:pt idx="1522">
                  <c:v>12458</c:v>
                </c:pt>
                <c:pt idx="1523">
                  <c:v>12459</c:v>
                </c:pt>
                <c:pt idx="1524">
                  <c:v>12463</c:v>
                </c:pt>
                <c:pt idx="1525">
                  <c:v>12464</c:v>
                </c:pt>
                <c:pt idx="1526">
                  <c:v>12465</c:v>
                </c:pt>
                <c:pt idx="1527">
                  <c:v>12466</c:v>
                </c:pt>
                <c:pt idx="1528">
                  <c:v>12469</c:v>
                </c:pt>
                <c:pt idx="1529">
                  <c:v>12470</c:v>
                </c:pt>
                <c:pt idx="1530">
                  <c:v>12471</c:v>
                </c:pt>
                <c:pt idx="1531">
                  <c:v>12473</c:v>
                </c:pt>
                <c:pt idx="1532">
                  <c:v>12476</c:v>
                </c:pt>
                <c:pt idx="1533">
                  <c:v>12477</c:v>
                </c:pt>
                <c:pt idx="1534">
                  <c:v>12478</c:v>
                </c:pt>
                <c:pt idx="1535">
                  <c:v>12479</c:v>
                </c:pt>
                <c:pt idx="1536">
                  <c:v>12480</c:v>
                </c:pt>
                <c:pt idx="1537">
                  <c:v>12483</c:v>
                </c:pt>
                <c:pt idx="1538">
                  <c:v>12484</c:v>
                </c:pt>
                <c:pt idx="1539">
                  <c:v>12485</c:v>
                </c:pt>
                <c:pt idx="1540">
                  <c:v>12486</c:v>
                </c:pt>
                <c:pt idx="1541">
                  <c:v>12487</c:v>
                </c:pt>
                <c:pt idx="1542">
                  <c:v>12490</c:v>
                </c:pt>
                <c:pt idx="1543">
                  <c:v>12491</c:v>
                </c:pt>
                <c:pt idx="1544">
                  <c:v>12492</c:v>
                </c:pt>
                <c:pt idx="1545">
                  <c:v>12493</c:v>
                </c:pt>
                <c:pt idx="1546">
                  <c:v>12494</c:v>
                </c:pt>
                <c:pt idx="1547">
                  <c:v>12497</c:v>
                </c:pt>
                <c:pt idx="1548">
                  <c:v>12498</c:v>
                </c:pt>
                <c:pt idx="1549">
                  <c:v>12499</c:v>
                </c:pt>
                <c:pt idx="1550">
                  <c:v>12500</c:v>
                </c:pt>
                <c:pt idx="1551">
                  <c:v>12501</c:v>
                </c:pt>
                <c:pt idx="1552">
                  <c:v>12504</c:v>
                </c:pt>
                <c:pt idx="1553">
                  <c:v>12505</c:v>
                </c:pt>
                <c:pt idx="1554">
                  <c:v>12506</c:v>
                </c:pt>
                <c:pt idx="1555">
                  <c:v>12507</c:v>
                </c:pt>
                <c:pt idx="1556">
                  <c:v>12511</c:v>
                </c:pt>
                <c:pt idx="1557">
                  <c:v>12512</c:v>
                </c:pt>
                <c:pt idx="1558">
                  <c:v>12513</c:v>
                </c:pt>
                <c:pt idx="1559">
                  <c:v>12514</c:v>
                </c:pt>
                <c:pt idx="1560">
                  <c:v>12515</c:v>
                </c:pt>
                <c:pt idx="1561">
                  <c:v>12518</c:v>
                </c:pt>
                <c:pt idx="1562">
                  <c:v>12519</c:v>
                </c:pt>
                <c:pt idx="1563">
                  <c:v>12520</c:v>
                </c:pt>
                <c:pt idx="1564">
                  <c:v>12521</c:v>
                </c:pt>
                <c:pt idx="1565">
                  <c:v>12522</c:v>
                </c:pt>
                <c:pt idx="1566">
                  <c:v>12525</c:v>
                </c:pt>
                <c:pt idx="1567">
                  <c:v>12526</c:v>
                </c:pt>
                <c:pt idx="1568">
                  <c:v>12527</c:v>
                </c:pt>
                <c:pt idx="1569">
                  <c:v>12528</c:v>
                </c:pt>
                <c:pt idx="1570">
                  <c:v>12529</c:v>
                </c:pt>
                <c:pt idx="1571">
                  <c:v>12532</c:v>
                </c:pt>
                <c:pt idx="1572">
                  <c:v>12533</c:v>
                </c:pt>
                <c:pt idx="1573">
                  <c:v>12534</c:v>
                </c:pt>
                <c:pt idx="1574">
                  <c:v>12535</c:v>
                </c:pt>
                <c:pt idx="1575">
                  <c:v>12536</c:v>
                </c:pt>
                <c:pt idx="1576">
                  <c:v>12539</c:v>
                </c:pt>
                <c:pt idx="1577">
                  <c:v>12540</c:v>
                </c:pt>
                <c:pt idx="1578">
                  <c:v>12541</c:v>
                </c:pt>
                <c:pt idx="1579">
                  <c:v>12542</c:v>
                </c:pt>
                <c:pt idx="1580">
                  <c:v>12543</c:v>
                </c:pt>
                <c:pt idx="1581">
                  <c:v>12546</c:v>
                </c:pt>
                <c:pt idx="1582">
                  <c:v>12547</c:v>
                </c:pt>
                <c:pt idx="1583">
                  <c:v>12548</c:v>
                </c:pt>
                <c:pt idx="1584">
                  <c:v>12549</c:v>
                </c:pt>
                <c:pt idx="1585">
                  <c:v>12550</c:v>
                </c:pt>
                <c:pt idx="1586">
                  <c:v>12553</c:v>
                </c:pt>
                <c:pt idx="1587">
                  <c:v>12554</c:v>
                </c:pt>
                <c:pt idx="1588">
                  <c:v>12555</c:v>
                </c:pt>
                <c:pt idx="1589">
                  <c:v>12556</c:v>
                </c:pt>
                <c:pt idx="1590">
                  <c:v>12557</c:v>
                </c:pt>
                <c:pt idx="1591">
                  <c:v>12560</c:v>
                </c:pt>
                <c:pt idx="1592">
                  <c:v>12561</c:v>
                </c:pt>
                <c:pt idx="1593">
                  <c:v>12562</c:v>
                </c:pt>
                <c:pt idx="1594">
                  <c:v>12563</c:v>
                </c:pt>
                <c:pt idx="1595">
                  <c:v>12564</c:v>
                </c:pt>
                <c:pt idx="1596">
                  <c:v>12567</c:v>
                </c:pt>
                <c:pt idx="1597">
                  <c:v>12568</c:v>
                </c:pt>
                <c:pt idx="1598">
                  <c:v>12570</c:v>
                </c:pt>
                <c:pt idx="1599">
                  <c:v>12571</c:v>
                </c:pt>
                <c:pt idx="1600">
                  <c:v>12574</c:v>
                </c:pt>
                <c:pt idx="1601">
                  <c:v>12575</c:v>
                </c:pt>
                <c:pt idx="1602">
                  <c:v>12576</c:v>
                </c:pt>
                <c:pt idx="1603">
                  <c:v>12577</c:v>
                </c:pt>
                <c:pt idx="1604">
                  <c:v>12578</c:v>
                </c:pt>
                <c:pt idx="1605">
                  <c:v>12581</c:v>
                </c:pt>
                <c:pt idx="1606">
                  <c:v>12582</c:v>
                </c:pt>
                <c:pt idx="1607">
                  <c:v>12583</c:v>
                </c:pt>
                <c:pt idx="1608">
                  <c:v>12584</c:v>
                </c:pt>
                <c:pt idx="1609">
                  <c:v>12585</c:v>
                </c:pt>
                <c:pt idx="1610">
                  <c:v>12588</c:v>
                </c:pt>
                <c:pt idx="1611">
                  <c:v>12589</c:v>
                </c:pt>
                <c:pt idx="1612">
                  <c:v>12590</c:v>
                </c:pt>
                <c:pt idx="1613">
                  <c:v>12591</c:v>
                </c:pt>
                <c:pt idx="1614">
                  <c:v>12592</c:v>
                </c:pt>
                <c:pt idx="1615">
                  <c:v>12595</c:v>
                </c:pt>
                <c:pt idx="1616">
                  <c:v>12596</c:v>
                </c:pt>
                <c:pt idx="1617">
                  <c:v>12597</c:v>
                </c:pt>
                <c:pt idx="1618">
                  <c:v>12598</c:v>
                </c:pt>
                <c:pt idx="1619">
                  <c:v>12599</c:v>
                </c:pt>
                <c:pt idx="1620">
                  <c:v>12602</c:v>
                </c:pt>
                <c:pt idx="1621">
                  <c:v>12603</c:v>
                </c:pt>
                <c:pt idx="1622">
                  <c:v>12605</c:v>
                </c:pt>
                <c:pt idx="1623">
                  <c:v>12606</c:v>
                </c:pt>
                <c:pt idx="1624">
                  <c:v>12609</c:v>
                </c:pt>
                <c:pt idx="1625">
                  <c:v>12610</c:v>
                </c:pt>
                <c:pt idx="1626">
                  <c:v>12611</c:v>
                </c:pt>
                <c:pt idx="1627">
                  <c:v>12612</c:v>
                </c:pt>
                <c:pt idx="1628">
                  <c:v>12613</c:v>
                </c:pt>
                <c:pt idx="1629">
                  <c:v>12616</c:v>
                </c:pt>
                <c:pt idx="1630">
                  <c:v>12617</c:v>
                </c:pt>
                <c:pt idx="1631">
                  <c:v>12618</c:v>
                </c:pt>
                <c:pt idx="1632">
                  <c:v>12619</c:v>
                </c:pt>
                <c:pt idx="1633">
                  <c:v>12620</c:v>
                </c:pt>
                <c:pt idx="1634">
                  <c:v>12623</c:v>
                </c:pt>
                <c:pt idx="1635">
                  <c:v>12624</c:v>
                </c:pt>
                <c:pt idx="1636">
                  <c:v>12625</c:v>
                </c:pt>
                <c:pt idx="1637">
                  <c:v>12626</c:v>
                </c:pt>
                <c:pt idx="1638">
                  <c:v>12627</c:v>
                </c:pt>
                <c:pt idx="1639">
                  <c:v>12630</c:v>
                </c:pt>
                <c:pt idx="1640">
                  <c:v>12631</c:v>
                </c:pt>
                <c:pt idx="1641">
                  <c:v>12632</c:v>
                </c:pt>
                <c:pt idx="1642">
                  <c:v>12633</c:v>
                </c:pt>
                <c:pt idx="1643">
                  <c:v>12634</c:v>
                </c:pt>
                <c:pt idx="1644">
                  <c:v>12637</c:v>
                </c:pt>
                <c:pt idx="1645">
                  <c:v>12638</c:v>
                </c:pt>
                <c:pt idx="1646">
                  <c:v>12639</c:v>
                </c:pt>
                <c:pt idx="1647">
                  <c:v>12640</c:v>
                </c:pt>
                <c:pt idx="1648">
                  <c:v>12641</c:v>
                </c:pt>
                <c:pt idx="1649">
                  <c:v>12644</c:v>
                </c:pt>
                <c:pt idx="1650">
                  <c:v>12645</c:v>
                </c:pt>
                <c:pt idx="1651">
                  <c:v>12646</c:v>
                </c:pt>
                <c:pt idx="1652">
                  <c:v>12647</c:v>
                </c:pt>
                <c:pt idx="1653">
                  <c:v>12648</c:v>
                </c:pt>
                <c:pt idx="1654">
                  <c:v>12651</c:v>
                </c:pt>
                <c:pt idx="1655">
                  <c:v>12652</c:v>
                </c:pt>
                <c:pt idx="1656">
                  <c:v>12653</c:v>
                </c:pt>
                <c:pt idx="1657">
                  <c:v>12654</c:v>
                </c:pt>
                <c:pt idx="1658">
                  <c:v>12655</c:v>
                </c:pt>
                <c:pt idx="1659">
                  <c:v>12658</c:v>
                </c:pt>
                <c:pt idx="1660">
                  <c:v>12659</c:v>
                </c:pt>
                <c:pt idx="1661">
                  <c:v>12660</c:v>
                </c:pt>
                <c:pt idx="1662">
                  <c:v>12661</c:v>
                </c:pt>
                <c:pt idx="1663">
                  <c:v>12662</c:v>
                </c:pt>
                <c:pt idx="1664">
                  <c:v>12666</c:v>
                </c:pt>
                <c:pt idx="1665">
                  <c:v>12667</c:v>
                </c:pt>
                <c:pt idx="1666">
                  <c:v>12668</c:v>
                </c:pt>
                <c:pt idx="1667">
                  <c:v>12669</c:v>
                </c:pt>
                <c:pt idx="1668">
                  <c:v>12672</c:v>
                </c:pt>
                <c:pt idx="1669">
                  <c:v>12673</c:v>
                </c:pt>
                <c:pt idx="1670">
                  <c:v>12674</c:v>
                </c:pt>
                <c:pt idx="1671">
                  <c:v>12675</c:v>
                </c:pt>
                <c:pt idx="1672">
                  <c:v>12676</c:v>
                </c:pt>
                <c:pt idx="1673">
                  <c:v>12679</c:v>
                </c:pt>
                <c:pt idx="1674">
                  <c:v>12680</c:v>
                </c:pt>
                <c:pt idx="1675">
                  <c:v>12681</c:v>
                </c:pt>
                <c:pt idx="1676">
                  <c:v>12682</c:v>
                </c:pt>
                <c:pt idx="1677">
                  <c:v>12683</c:v>
                </c:pt>
                <c:pt idx="1678">
                  <c:v>12686</c:v>
                </c:pt>
                <c:pt idx="1679">
                  <c:v>12687</c:v>
                </c:pt>
                <c:pt idx="1680">
                  <c:v>12688</c:v>
                </c:pt>
                <c:pt idx="1681">
                  <c:v>12689</c:v>
                </c:pt>
                <c:pt idx="1682">
                  <c:v>12690</c:v>
                </c:pt>
                <c:pt idx="1683">
                  <c:v>12693</c:v>
                </c:pt>
                <c:pt idx="1684">
                  <c:v>12694</c:v>
                </c:pt>
                <c:pt idx="1685">
                  <c:v>12695</c:v>
                </c:pt>
                <c:pt idx="1686">
                  <c:v>12696</c:v>
                </c:pt>
                <c:pt idx="1687">
                  <c:v>12697</c:v>
                </c:pt>
                <c:pt idx="1688">
                  <c:v>12700</c:v>
                </c:pt>
                <c:pt idx="1689">
                  <c:v>12701</c:v>
                </c:pt>
                <c:pt idx="1690">
                  <c:v>12702</c:v>
                </c:pt>
                <c:pt idx="1691">
                  <c:v>12703</c:v>
                </c:pt>
                <c:pt idx="1692">
                  <c:v>12707</c:v>
                </c:pt>
                <c:pt idx="1693">
                  <c:v>12708</c:v>
                </c:pt>
                <c:pt idx="1694">
                  <c:v>12709</c:v>
                </c:pt>
                <c:pt idx="1695">
                  <c:v>12710</c:v>
                </c:pt>
                <c:pt idx="1696">
                  <c:v>12711</c:v>
                </c:pt>
                <c:pt idx="1697">
                  <c:v>12714</c:v>
                </c:pt>
                <c:pt idx="1698">
                  <c:v>12715</c:v>
                </c:pt>
                <c:pt idx="1699">
                  <c:v>12716</c:v>
                </c:pt>
                <c:pt idx="1700">
                  <c:v>12717</c:v>
                </c:pt>
                <c:pt idx="1701">
                  <c:v>12718</c:v>
                </c:pt>
                <c:pt idx="1702">
                  <c:v>12721</c:v>
                </c:pt>
                <c:pt idx="1703">
                  <c:v>12722</c:v>
                </c:pt>
                <c:pt idx="1704">
                  <c:v>12723</c:v>
                </c:pt>
                <c:pt idx="1705">
                  <c:v>12724</c:v>
                </c:pt>
                <c:pt idx="1706">
                  <c:v>12725</c:v>
                </c:pt>
                <c:pt idx="1707">
                  <c:v>12728</c:v>
                </c:pt>
                <c:pt idx="1708">
                  <c:v>12730</c:v>
                </c:pt>
                <c:pt idx="1709">
                  <c:v>12731</c:v>
                </c:pt>
                <c:pt idx="1710">
                  <c:v>12732</c:v>
                </c:pt>
                <c:pt idx="1711">
                  <c:v>12736</c:v>
                </c:pt>
                <c:pt idx="1712">
                  <c:v>12737</c:v>
                </c:pt>
                <c:pt idx="1713">
                  <c:v>12738</c:v>
                </c:pt>
                <c:pt idx="1714">
                  <c:v>12739</c:v>
                </c:pt>
                <c:pt idx="1715">
                  <c:v>12742</c:v>
                </c:pt>
                <c:pt idx="1716">
                  <c:v>12743</c:v>
                </c:pt>
                <c:pt idx="1717">
                  <c:v>12744</c:v>
                </c:pt>
                <c:pt idx="1718">
                  <c:v>12745</c:v>
                </c:pt>
                <c:pt idx="1719">
                  <c:v>12746</c:v>
                </c:pt>
                <c:pt idx="1720">
                  <c:v>12749</c:v>
                </c:pt>
                <c:pt idx="1721">
                  <c:v>12750</c:v>
                </c:pt>
                <c:pt idx="1722">
                  <c:v>12751</c:v>
                </c:pt>
                <c:pt idx="1723">
                  <c:v>12753</c:v>
                </c:pt>
                <c:pt idx="1724">
                  <c:v>12756</c:v>
                </c:pt>
                <c:pt idx="1725">
                  <c:v>12757</c:v>
                </c:pt>
                <c:pt idx="1726">
                  <c:v>12758</c:v>
                </c:pt>
                <c:pt idx="1727">
                  <c:v>12759</c:v>
                </c:pt>
                <c:pt idx="1728">
                  <c:v>12760</c:v>
                </c:pt>
                <c:pt idx="1729">
                  <c:v>12763</c:v>
                </c:pt>
                <c:pt idx="1730">
                  <c:v>12764</c:v>
                </c:pt>
                <c:pt idx="1731">
                  <c:v>12765</c:v>
                </c:pt>
                <c:pt idx="1732">
                  <c:v>12766</c:v>
                </c:pt>
                <c:pt idx="1733">
                  <c:v>12767</c:v>
                </c:pt>
                <c:pt idx="1734">
                  <c:v>12770</c:v>
                </c:pt>
                <c:pt idx="1735">
                  <c:v>12771</c:v>
                </c:pt>
                <c:pt idx="1736">
                  <c:v>12772</c:v>
                </c:pt>
                <c:pt idx="1737">
                  <c:v>12773</c:v>
                </c:pt>
                <c:pt idx="1738">
                  <c:v>12774</c:v>
                </c:pt>
                <c:pt idx="1739">
                  <c:v>12777</c:v>
                </c:pt>
                <c:pt idx="1740">
                  <c:v>12779</c:v>
                </c:pt>
                <c:pt idx="1741">
                  <c:v>12780</c:v>
                </c:pt>
                <c:pt idx="1742">
                  <c:v>12781</c:v>
                </c:pt>
                <c:pt idx="1743">
                  <c:v>12784</c:v>
                </c:pt>
                <c:pt idx="1744">
                  <c:v>12786</c:v>
                </c:pt>
                <c:pt idx="1745">
                  <c:v>12787</c:v>
                </c:pt>
                <c:pt idx="1746">
                  <c:v>12788</c:v>
                </c:pt>
                <c:pt idx="1747">
                  <c:v>12791</c:v>
                </c:pt>
                <c:pt idx="1748">
                  <c:v>12792</c:v>
                </c:pt>
                <c:pt idx="1749">
                  <c:v>12793</c:v>
                </c:pt>
                <c:pt idx="1750">
                  <c:v>12794</c:v>
                </c:pt>
                <c:pt idx="1751">
                  <c:v>12795</c:v>
                </c:pt>
                <c:pt idx="1752">
                  <c:v>12798</c:v>
                </c:pt>
                <c:pt idx="1753">
                  <c:v>12799</c:v>
                </c:pt>
                <c:pt idx="1754">
                  <c:v>12800</c:v>
                </c:pt>
                <c:pt idx="1755">
                  <c:v>12801</c:v>
                </c:pt>
                <c:pt idx="1756">
                  <c:v>12802</c:v>
                </c:pt>
                <c:pt idx="1757">
                  <c:v>12805</c:v>
                </c:pt>
                <c:pt idx="1758">
                  <c:v>12806</c:v>
                </c:pt>
                <c:pt idx="1759">
                  <c:v>12807</c:v>
                </c:pt>
                <c:pt idx="1760">
                  <c:v>12808</c:v>
                </c:pt>
                <c:pt idx="1761">
                  <c:v>12809</c:v>
                </c:pt>
                <c:pt idx="1762">
                  <c:v>12812</c:v>
                </c:pt>
                <c:pt idx="1763">
                  <c:v>12813</c:v>
                </c:pt>
                <c:pt idx="1764">
                  <c:v>12814</c:v>
                </c:pt>
                <c:pt idx="1765">
                  <c:v>12815</c:v>
                </c:pt>
                <c:pt idx="1766">
                  <c:v>12816</c:v>
                </c:pt>
                <c:pt idx="1767">
                  <c:v>12819</c:v>
                </c:pt>
                <c:pt idx="1768">
                  <c:v>12820</c:v>
                </c:pt>
                <c:pt idx="1769">
                  <c:v>12821</c:v>
                </c:pt>
                <c:pt idx="1770">
                  <c:v>12822</c:v>
                </c:pt>
                <c:pt idx="1771">
                  <c:v>12823</c:v>
                </c:pt>
                <c:pt idx="1772">
                  <c:v>12826</c:v>
                </c:pt>
                <c:pt idx="1773">
                  <c:v>12828</c:v>
                </c:pt>
                <c:pt idx="1774">
                  <c:v>12829</c:v>
                </c:pt>
                <c:pt idx="1775">
                  <c:v>12830</c:v>
                </c:pt>
                <c:pt idx="1776">
                  <c:v>12833</c:v>
                </c:pt>
                <c:pt idx="1777">
                  <c:v>12834</c:v>
                </c:pt>
                <c:pt idx="1778">
                  <c:v>12835</c:v>
                </c:pt>
                <c:pt idx="1779">
                  <c:v>12836</c:v>
                </c:pt>
                <c:pt idx="1780">
                  <c:v>12840</c:v>
                </c:pt>
                <c:pt idx="1781">
                  <c:v>12841</c:v>
                </c:pt>
                <c:pt idx="1782">
                  <c:v>12842</c:v>
                </c:pt>
                <c:pt idx="1783">
                  <c:v>12843</c:v>
                </c:pt>
                <c:pt idx="1784">
                  <c:v>12844</c:v>
                </c:pt>
                <c:pt idx="1785">
                  <c:v>12847</c:v>
                </c:pt>
                <c:pt idx="1786">
                  <c:v>12848</c:v>
                </c:pt>
                <c:pt idx="1787">
                  <c:v>12849</c:v>
                </c:pt>
                <c:pt idx="1788">
                  <c:v>12850</c:v>
                </c:pt>
                <c:pt idx="1789">
                  <c:v>12851</c:v>
                </c:pt>
                <c:pt idx="1790">
                  <c:v>12854</c:v>
                </c:pt>
                <c:pt idx="1791">
                  <c:v>12855</c:v>
                </c:pt>
                <c:pt idx="1792">
                  <c:v>12856</c:v>
                </c:pt>
                <c:pt idx="1793">
                  <c:v>12857</c:v>
                </c:pt>
                <c:pt idx="1794">
                  <c:v>12858</c:v>
                </c:pt>
                <c:pt idx="1795">
                  <c:v>12861</c:v>
                </c:pt>
                <c:pt idx="1796">
                  <c:v>12862</c:v>
                </c:pt>
                <c:pt idx="1797">
                  <c:v>12863</c:v>
                </c:pt>
                <c:pt idx="1798">
                  <c:v>12864</c:v>
                </c:pt>
                <c:pt idx="1799">
                  <c:v>12865</c:v>
                </c:pt>
                <c:pt idx="1800">
                  <c:v>12868</c:v>
                </c:pt>
                <c:pt idx="1801">
                  <c:v>12869</c:v>
                </c:pt>
                <c:pt idx="1802">
                  <c:v>12870</c:v>
                </c:pt>
                <c:pt idx="1803">
                  <c:v>12871</c:v>
                </c:pt>
                <c:pt idx="1804">
                  <c:v>12872</c:v>
                </c:pt>
                <c:pt idx="1805">
                  <c:v>12875</c:v>
                </c:pt>
                <c:pt idx="1806">
                  <c:v>12876</c:v>
                </c:pt>
                <c:pt idx="1807">
                  <c:v>12877</c:v>
                </c:pt>
                <c:pt idx="1808">
                  <c:v>12878</c:v>
                </c:pt>
                <c:pt idx="1809">
                  <c:v>12879</c:v>
                </c:pt>
                <c:pt idx="1810">
                  <c:v>12882</c:v>
                </c:pt>
                <c:pt idx="1811">
                  <c:v>12883</c:v>
                </c:pt>
                <c:pt idx="1812">
                  <c:v>12884</c:v>
                </c:pt>
                <c:pt idx="1813">
                  <c:v>12885</c:v>
                </c:pt>
                <c:pt idx="1814">
                  <c:v>12886</c:v>
                </c:pt>
                <c:pt idx="1815">
                  <c:v>12889</c:v>
                </c:pt>
                <c:pt idx="1816">
                  <c:v>12890</c:v>
                </c:pt>
                <c:pt idx="1817">
                  <c:v>12891</c:v>
                </c:pt>
                <c:pt idx="1818">
                  <c:v>12892</c:v>
                </c:pt>
                <c:pt idx="1819">
                  <c:v>12896</c:v>
                </c:pt>
                <c:pt idx="1820">
                  <c:v>12897</c:v>
                </c:pt>
                <c:pt idx="1821">
                  <c:v>12898</c:v>
                </c:pt>
                <c:pt idx="1822">
                  <c:v>12899</c:v>
                </c:pt>
                <c:pt idx="1823">
                  <c:v>12900</c:v>
                </c:pt>
                <c:pt idx="1824">
                  <c:v>12903</c:v>
                </c:pt>
                <c:pt idx="1825">
                  <c:v>12904</c:v>
                </c:pt>
                <c:pt idx="1826">
                  <c:v>12905</c:v>
                </c:pt>
                <c:pt idx="1827">
                  <c:v>12906</c:v>
                </c:pt>
                <c:pt idx="1828">
                  <c:v>12907</c:v>
                </c:pt>
                <c:pt idx="1829">
                  <c:v>12910</c:v>
                </c:pt>
                <c:pt idx="1830">
                  <c:v>12911</c:v>
                </c:pt>
                <c:pt idx="1831">
                  <c:v>12912</c:v>
                </c:pt>
                <c:pt idx="1832">
                  <c:v>12913</c:v>
                </c:pt>
                <c:pt idx="1833">
                  <c:v>12914</c:v>
                </c:pt>
                <c:pt idx="1834">
                  <c:v>12917</c:v>
                </c:pt>
                <c:pt idx="1835">
                  <c:v>12918</c:v>
                </c:pt>
                <c:pt idx="1836">
                  <c:v>12919</c:v>
                </c:pt>
                <c:pt idx="1837">
                  <c:v>12920</c:v>
                </c:pt>
                <c:pt idx="1838">
                  <c:v>12921</c:v>
                </c:pt>
                <c:pt idx="1839">
                  <c:v>12924</c:v>
                </c:pt>
                <c:pt idx="1840">
                  <c:v>12925</c:v>
                </c:pt>
                <c:pt idx="1841">
                  <c:v>12926</c:v>
                </c:pt>
                <c:pt idx="1842">
                  <c:v>12927</c:v>
                </c:pt>
                <c:pt idx="1843">
                  <c:v>12928</c:v>
                </c:pt>
                <c:pt idx="1844">
                  <c:v>12931</c:v>
                </c:pt>
                <c:pt idx="1845">
                  <c:v>12932</c:v>
                </c:pt>
                <c:pt idx="1846">
                  <c:v>12933</c:v>
                </c:pt>
                <c:pt idx="1847">
                  <c:v>12935</c:v>
                </c:pt>
                <c:pt idx="1848">
                  <c:v>12938</c:v>
                </c:pt>
                <c:pt idx="1849">
                  <c:v>12939</c:v>
                </c:pt>
                <c:pt idx="1850">
                  <c:v>12940</c:v>
                </c:pt>
                <c:pt idx="1851">
                  <c:v>12941</c:v>
                </c:pt>
                <c:pt idx="1852">
                  <c:v>12942</c:v>
                </c:pt>
                <c:pt idx="1853">
                  <c:v>12945</c:v>
                </c:pt>
                <c:pt idx="1854">
                  <c:v>12946</c:v>
                </c:pt>
                <c:pt idx="1855">
                  <c:v>12947</c:v>
                </c:pt>
                <c:pt idx="1856">
                  <c:v>12948</c:v>
                </c:pt>
                <c:pt idx="1857">
                  <c:v>12949</c:v>
                </c:pt>
                <c:pt idx="1858">
                  <c:v>12952</c:v>
                </c:pt>
                <c:pt idx="1859">
                  <c:v>12953</c:v>
                </c:pt>
                <c:pt idx="1860">
                  <c:v>12954</c:v>
                </c:pt>
                <c:pt idx="1861">
                  <c:v>12955</c:v>
                </c:pt>
                <c:pt idx="1862">
                  <c:v>12956</c:v>
                </c:pt>
                <c:pt idx="1863">
                  <c:v>12959</c:v>
                </c:pt>
                <c:pt idx="1864">
                  <c:v>12960</c:v>
                </c:pt>
                <c:pt idx="1865">
                  <c:v>12961</c:v>
                </c:pt>
                <c:pt idx="1866">
                  <c:v>12962</c:v>
                </c:pt>
                <c:pt idx="1867">
                  <c:v>12963</c:v>
                </c:pt>
                <c:pt idx="1868">
                  <c:v>12966</c:v>
                </c:pt>
                <c:pt idx="1869">
                  <c:v>12967</c:v>
                </c:pt>
                <c:pt idx="1870">
                  <c:v>12968</c:v>
                </c:pt>
                <c:pt idx="1871">
                  <c:v>12970</c:v>
                </c:pt>
                <c:pt idx="1872">
                  <c:v>12973</c:v>
                </c:pt>
                <c:pt idx="1873">
                  <c:v>12974</c:v>
                </c:pt>
                <c:pt idx="1874">
                  <c:v>12975</c:v>
                </c:pt>
                <c:pt idx="1875">
                  <c:v>12976</c:v>
                </c:pt>
                <c:pt idx="1876">
                  <c:v>12977</c:v>
                </c:pt>
                <c:pt idx="1877">
                  <c:v>12980</c:v>
                </c:pt>
                <c:pt idx="1878">
                  <c:v>12981</c:v>
                </c:pt>
                <c:pt idx="1879">
                  <c:v>12982</c:v>
                </c:pt>
                <c:pt idx="1880">
                  <c:v>12983</c:v>
                </c:pt>
                <c:pt idx="1881">
                  <c:v>12984</c:v>
                </c:pt>
                <c:pt idx="1882">
                  <c:v>12987</c:v>
                </c:pt>
                <c:pt idx="1883">
                  <c:v>12988</c:v>
                </c:pt>
                <c:pt idx="1884">
                  <c:v>12989</c:v>
                </c:pt>
                <c:pt idx="1885">
                  <c:v>12990</c:v>
                </c:pt>
                <c:pt idx="1886">
                  <c:v>12991</c:v>
                </c:pt>
                <c:pt idx="1887">
                  <c:v>12994</c:v>
                </c:pt>
                <c:pt idx="1888">
                  <c:v>12995</c:v>
                </c:pt>
                <c:pt idx="1889">
                  <c:v>12996</c:v>
                </c:pt>
                <c:pt idx="1890">
                  <c:v>12997</c:v>
                </c:pt>
                <c:pt idx="1891">
                  <c:v>12998</c:v>
                </c:pt>
                <c:pt idx="1892">
                  <c:v>13001</c:v>
                </c:pt>
                <c:pt idx="1893">
                  <c:v>13002</c:v>
                </c:pt>
                <c:pt idx="1894">
                  <c:v>13003</c:v>
                </c:pt>
                <c:pt idx="1895">
                  <c:v>13004</c:v>
                </c:pt>
                <c:pt idx="1896">
                  <c:v>13005</c:v>
                </c:pt>
                <c:pt idx="1897">
                  <c:v>13008</c:v>
                </c:pt>
                <c:pt idx="1898">
                  <c:v>13009</c:v>
                </c:pt>
                <c:pt idx="1899">
                  <c:v>13010</c:v>
                </c:pt>
                <c:pt idx="1900">
                  <c:v>13011</c:v>
                </c:pt>
                <c:pt idx="1901">
                  <c:v>13012</c:v>
                </c:pt>
                <c:pt idx="1902">
                  <c:v>13015</c:v>
                </c:pt>
                <c:pt idx="1903">
                  <c:v>13016</c:v>
                </c:pt>
                <c:pt idx="1904">
                  <c:v>13017</c:v>
                </c:pt>
                <c:pt idx="1905">
                  <c:v>13018</c:v>
                </c:pt>
                <c:pt idx="1906">
                  <c:v>13019</c:v>
                </c:pt>
                <c:pt idx="1907">
                  <c:v>13022</c:v>
                </c:pt>
                <c:pt idx="1908">
                  <c:v>13023</c:v>
                </c:pt>
                <c:pt idx="1909">
                  <c:v>13024</c:v>
                </c:pt>
                <c:pt idx="1910">
                  <c:v>13025</c:v>
                </c:pt>
                <c:pt idx="1911">
                  <c:v>13026</c:v>
                </c:pt>
                <c:pt idx="1912">
                  <c:v>13030</c:v>
                </c:pt>
                <c:pt idx="1913">
                  <c:v>13031</c:v>
                </c:pt>
                <c:pt idx="1914">
                  <c:v>13032</c:v>
                </c:pt>
                <c:pt idx="1915">
                  <c:v>13033</c:v>
                </c:pt>
                <c:pt idx="1916">
                  <c:v>13036</c:v>
                </c:pt>
                <c:pt idx="1917">
                  <c:v>13037</c:v>
                </c:pt>
                <c:pt idx="1918">
                  <c:v>13038</c:v>
                </c:pt>
                <c:pt idx="1919">
                  <c:v>13039</c:v>
                </c:pt>
                <c:pt idx="1920">
                  <c:v>13040</c:v>
                </c:pt>
                <c:pt idx="1921">
                  <c:v>13043</c:v>
                </c:pt>
                <c:pt idx="1922">
                  <c:v>13044</c:v>
                </c:pt>
                <c:pt idx="1923">
                  <c:v>13045</c:v>
                </c:pt>
                <c:pt idx="1924">
                  <c:v>13046</c:v>
                </c:pt>
                <c:pt idx="1925">
                  <c:v>13047</c:v>
                </c:pt>
                <c:pt idx="1926">
                  <c:v>13050</c:v>
                </c:pt>
                <c:pt idx="1927">
                  <c:v>13051</c:v>
                </c:pt>
                <c:pt idx="1928">
                  <c:v>13052</c:v>
                </c:pt>
                <c:pt idx="1929">
                  <c:v>13053</c:v>
                </c:pt>
                <c:pt idx="1930">
                  <c:v>13054</c:v>
                </c:pt>
                <c:pt idx="1931">
                  <c:v>13057</c:v>
                </c:pt>
                <c:pt idx="1932">
                  <c:v>13058</c:v>
                </c:pt>
                <c:pt idx="1933">
                  <c:v>13059</c:v>
                </c:pt>
                <c:pt idx="1934">
                  <c:v>13060</c:v>
                </c:pt>
                <c:pt idx="1935">
                  <c:v>13061</c:v>
                </c:pt>
                <c:pt idx="1936">
                  <c:v>13064</c:v>
                </c:pt>
                <c:pt idx="1937">
                  <c:v>13065</c:v>
                </c:pt>
                <c:pt idx="1938">
                  <c:v>13066</c:v>
                </c:pt>
                <c:pt idx="1939">
                  <c:v>13067</c:v>
                </c:pt>
                <c:pt idx="1940">
                  <c:v>13068</c:v>
                </c:pt>
                <c:pt idx="1941">
                  <c:v>13071</c:v>
                </c:pt>
                <c:pt idx="1942">
                  <c:v>13072</c:v>
                </c:pt>
                <c:pt idx="1943">
                  <c:v>13073</c:v>
                </c:pt>
                <c:pt idx="1944">
                  <c:v>13074</c:v>
                </c:pt>
                <c:pt idx="1945">
                  <c:v>13075</c:v>
                </c:pt>
                <c:pt idx="1946">
                  <c:v>13078</c:v>
                </c:pt>
                <c:pt idx="1947">
                  <c:v>13079</c:v>
                </c:pt>
                <c:pt idx="1948">
                  <c:v>13080</c:v>
                </c:pt>
                <c:pt idx="1949">
                  <c:v>13081</c:v>
                </c:pt>
                <c:pt idx="1950">
                  <c:v>13082</c:v>
                </c:pt>
                <c:pt idx="1951">
                  <c:v>13085</c:v>
                </c:pt>
                <c:pt idx="1952">
                  <c:v>13086</c:v>
                </c:pt>
                <c:pt idx="1953">
                  <c:v>13087</c:v>
                </c:pt>
                <c:pt idx="1954">
                  <c:v>13088</c:v>
                </c:pt>
                <c:pt idx="1955">
                  <c:v>13089</c:v>
                </c:pt>
                <c:pt idx="1956">
                  <c:v>13092</c:v>
                </c:pt>
                <c:pt idx="1957">
                  <c:v>13094</c:v>
                </c:pt>
                <c:pt idx="1958">
                  <c:v>13095</c:v>
                </c:pt>
                <c:pt idx="1959">
                  <c:v>13096</c:v>
                </c:pt>
                <c:pt idx="1960">
                  <c:v>13100</c:v>
                </c:pt>
                <c:pt idx="1961">
                  <c:v>13101</c:v>
                </c:pt>
                <c:pt idx="1962">
                  <c:v>13102</c:v>
                </c:pt>
                <c:pt idx="1963">
                  <c:v>13103</c:v>
                </c:pt>
                <c:pt idx="1964">
                  <c:v>13106</c:v>
                </c:pt>
                <c:pt idx="1965">
                  <c:v>13107</c:v>
                </c:pt>
                <c:pt idx="1966">
                  <c:v>13108</c:v>
                </c:pt>
                <c:pt idx="1967">
                  <c:v>13109</c:v>
                </c:pt>
                <c:pt idx="1968">
                  <c:v>13110</c:v>
                </c:pt>
                <c:pt idx="1969">
                  <c:v>13113</c:v>
                </c:pt>
                <c:pt idx="1970">
                  <c:v>13114</c:v>
                </c:pt>
                <c:pt idx="1971">
                  <c:v>13115</c:v>
                </c:pt>
                <c:pt idx="1972">
                  <c:v>13117</c:v>
                </c:pt>
                <c:pt idx="1973">
                  <c:v>13120</c:v>
                </c:pt>
                <c:pt idx="1974">
                  <c:v>13121</c:v>
                </c:pt>
                <c:pt idx="1975">
                  <c:v>13122</c:v>
                </c:pt>
                <c:pt idx="1976">
                  <c:v>13123</c:v>
                </c:pt>
                <c:pt idx="1977">
                  <c:v>13124</c:v>
                </c:pt>
                <c:pt idx="1978">
                  <c:v>13127</c:v>
                </c:pt>
                <c:pt idx="1979">
                  <c:v>13128</c:v>
                </c:pt>
                <c:pt idx="1980">
                  <c:v>13129</c:v>
                </c:pt>
                <c:pt idx="1981">
                  <c:v>13130</c:v>
                </c:pt>
                <c:pt idx="1982">
                  <c:v>13131</c:v>
                </c:pt>
                <c:pt idx="1983">
                  <c:v>13134</c:v>
                </c:pt>
                <c:pt idx="1984">
                  <c:v>13135</c:v>
                </c:pt>
                <c:pt idx="1985">
                  <c:v>13136</c:v>
                </c:pt>
                <c:pt idx="1986">
                  <c:v>13137</c:v>
                </c:pt>
                <c:pt idx="1987">
                  <c:v>13138</c:v>
                </c:pt>
                <c:pt idx="1988">
                  <c:v>13141</c:v>
                </c:pt>
                <c:pt idx="1989">
                  <c:v>13142</c:v>
                </c:pt>
                <c:pt idx="1990">
                  <c:v>13144</c:v>
                </c:pt>
                <c:pt idx="1991">
                  <c:v>13145</c:v>
                </c:pt>
                <c:pt idx="1992">
                  <c:v>13148</c:v>
                </c:pt>
                <c:pt idx="1993">
                  <c:v>13149</c:v>
                </c:pt>
                <c:pt idx="1994">
                  <c:v>13151</c:v>
                </c:pt>
                <c:pt idx="1995">
                  <c:v>13152</c:v>
                </c:pt>
                <c:pt idx="1996">
                  <c:v>13155</c:v>
                </c:pt>
                <c:pt idx="1997">
                  <c:v>13156</c:v>
                </c:pt>
                <c:pt idx="1998">
                  <c:v>13157</c:v>
                </c:pt>
                <c:pt idx="1999">
                  <c:v>13158</c:v>
                </c:pt>
                <c:pt idx="2000">
                  <c:v>13159</c:v>
                </c:pt>
                <c:pt idx="2001">
                  <c:v>13162</c:v>
                </c:pt>
                <c:pt idx="2002">
                  <c:v>13163</c:v>
                </c:pt>
                <c:pt idx="2003">
                  <c:v>13164</c:v>
                </c:pt>
                <c:pt idx="2004">
                  <c:v>13165</c:v>
                </c:pt>
                <c:pt idx="2005">
                  <c:v>13166</c:v>
                </c:pt>
                <c:pt idx="2006">
                  <c:v>13169</c:v>
                </c:pt>
                <c:pt idx="2007">
                  <c:v>13170</c:v>
                </c:pt>
                <c:pt idx="2008">
                  <c:v>13171</c:v>
                </c:pt>
                <c:pt idx="2009">
                  <c:v>13172</c:v>
                </c:pt>
                <c:pt idx="2010">
                  <c:v>13173</c:v>
                </c:pt>
                <c:pt idx="2011">
                  <c:v>13176</c:v>
                </c:pt>
                <c:pt idx="2012">
                  <c:v>13177</c:v>
                </c:pt>
                <c:pt idx="2013">
                  <c:v>13178</c:v>
                </c:pt>
                <c:pt idx="2014">
                  <c:v>13179</c:v>
                </c:pt>
                <c:pt idx="2015">
                  <c:v>13180</c:v>
                </c:pt>
                <c:pt idx="2016">
                  <c:v>13183</c:v>
                </c:pt>
                <c:pt idx="2017">
                  <c:v>13184</c:v>
                </c:pt>
                <c:pt idx="2018">
                  <c:v>13185</c:v>
                </c:pt>
                <c:pt idx="2019">
                  <c:v>13186</c:v>
                </c:pt>
                <c:pt idx="2020">
                  <c:v>13187</c:v>
                </c:pt>
                <c:pt idx="2021">
                  <c:v>13190</c:v>
                </c:pt>
                <c:pt idx="2022">
                  <c:v>13191</c:v>
                </c:pt>
                <c:pt idx="2023">
                  <c:v>13193</c:v>
                </c:pt>
                <c:pt idx="2024">
                  <c:v>13194</c:v>
                </c:pt>
                <c:pt idx="2025">
                  <c:v>13197</c:v>
                </c:pt>
                <c:pt idx="2026">
                  <c:v>13198</c:v>
                </c:pt>
                <c:pt idx="2027">
                  <c:v>13199</c:v>
                </c:pt>
                <c:pt idx="2028">
                  <c:v>13200</c:v>
                </c:pt>
                <c:pt idx="2029">
                  <c:v>13201</c:v>
                </c:pt>
                <c:pt idx="2030">
                  <c:v>13204</c:v>
                </c:pt>
                <c:pt idx="2031">
                  <c:v>13205</c:v>
                </c:pt>
                <c:pt idx="2032">
                  <c:v>13206</c:v>
                </c:pt>
                <c:pt idx="2033">
                  <c:v>13207</c:v>
                </c:pt>
                <c:pt idx="2034">
                  <c:v>13208</c:v>
                </c:pt>
                <c:pt idx="2035">
                  <c:v>13211</c:v>
                </c:pt>
                <c:pt idx="2036">
                  <c:v>13212</c:v>
                </c:pt>
                <c:pt idx="2037">
                  <c:v>13213</c:v>
                </c:pt>
                <c:pt idx="2038">
                  <c:v>13214</c:v>
                </c:pt>
                <c:pt idx="2039">
                  <c:v>13215</c:v>
                </c:pt>
                <c:pt idx="2040">
                  <c:v>13218</c:v>
                </c:pt>
                <c:pt idx="2041">
                  <c:v>13219</c:v>
                </c:pt>
                <c:pt idx="2042">
                  <c:v>13220</c:v>
                </c:pt>
                <c:pt idx="2043">
                  <c:v>13221</c:v>
                </c:pt>
                <c:pt idx="2044">
                  <c:v>13222</c:v>
                </c:pt>
                <c:pt idx="2045">
                  <c:v>13225</c:v>
                </c:pt>
                <c:pt idx="2046">
                  <c:v>13226</c:v>
                </c:pt>
                <c:pt idx="2047">
                  <c:v>13227</c:v>
                </c:pt>
                <c:pt idx="2048">
                  <c:v>13228</c:v>
                </c:pt>
                <c:pt idx="2049">
                  <c:v>13229</c:v>
                </c:pt>
                <c:pt idx="2050">
                  <c:v>13232</c:v>
                </c:pt>
                <c:pt idx="2051">
                  <c:v>13233</c:v>
                </c:pt>
                <c:pt idx="2052">
                  <c:v>13234</c:v>
                </c:pt>
                <c:pt idx="2053">
                  <c:v>13235</c:v>
                </c:pt>
                <c:pt idx="2054">
                  <c:v>13236</c:v>
                </c:pt>
                <c:pt idx="2055">
                  <c:v>13239</c:v>
                </c:pt>
                <c:pt idx="2056">
                  <c:v>13240</c:v>
                </c:pt>
                <c:pt idx="2057">
                  <c:v>13241</c:v>
                </c:pt>
                <c:pt idx="2058">
                  <c:v>13242</c:v>
                </c:pt>
                <c:pt idx="2059">
                  <c:v>13243</c:v>
                </c:pt>
                <c:pt idx="2060">
                  <c:v>13246</c:v>
                </c:pt>
                <c:pt idx="2061">
                  <c:v>13247</c:v>
                </c:pt>
                <c:pt idx="2062">
                  <c:v>13248</c:v>
                </c:pt>
                <c:pt idx="2063">
                  <c:v>13249</c:v>
                </c:pt>
                <c:pt idx="2064">
                  <c:v>13253</c:v>
                </c:pt>
                <c:pt idx="2065">
                  <c:v>13254</c:v>
                </c:pt>
                <c:pt idx="2066">
                  <c:v>13255</c:v>
                </c:pt>
                <c:pt idx="2067">
                  <c:v>13256</c:v>
                </c:pt>
                <c:pt idx="2068">
                  <c:v>13257</c:v>
                </c:pt>
                <c:pt idx="2069">
                  <c:v>13260</c:v>
                </c:pt>
                <c:pt idx="2070">
                  <c:v>13261</c:v>
                </c:pt>
                <c:pt idx="2071">
                  <c:v>13262</c:v>
                </c:pt>
                <c:pt idx="2072">
                  <c:v>13263</c:v>
                </c:pt>
                <c:pt idx="2073">
                  <c:v>13264</c:v>
                </c:pt>
                <c:pt idx="2074">
                  <c:v>13267</c:v>
                </c:pt>
                <c:pt idx="2075">
                  <c:v>13268</c:v>
                </c:pt>
                <c:pt idx="2076">
                  <c:v>13269</c:v>
                </c:pt>
                <c:pt idx="2077">
                  <c:v>13270</c:v>
                </c:pt>
                <c:pt idx="2078">
                  <c:v>13271</c:v>
                </c:pt>
                <c:pt idx="2079">
                  <c:v>13274</c:v>
                </c:pt>
                <c:pt idx="2080">
                  <c:v>13275</c:v>
                </c:pt>
                <c:pt idx="2081">
                  <c:v>13276</c:v>
                </c:pt>
                <c:pt idx="2082">
                  <c:v>13277</c:v>
                </c:pt>
                <c:pt idx="2083">
                  <c:v>13278</c:v>
                </c:pt>
                <c:pt idx="2084">
                  <c:v>13281</c:v>
                </c:pt>
                <c:pt idx="2085">
                  <c:v>13282</c:v>
                </c:pt>
                <c:pt idx="2086">
                  <c:v>13283</c:v>
                </c:pt>
                <c:pt idx="2087">
                  <c:v>13284</c:v>
                </c:pt>
                <c:pt idx="2088">
                  <c:v>13285</c:v>
                </c:pt>
                <c:pt idx="2089">
                  <c:v>13288</c:v>
                </c:pt>
                <c:pt idx="2090">
                  <c:v>13289</c:v>
                </c:pt>
                <c:pt idx="2091">
                  <c:v>13290</c:v>
                </c:pt>
                <c:pt idx="2092">
                  <c:v>13291</c:v>
                </c:pt>
                <c:pt idx="2093">
                  <c:v>13292</c:v>
                </c:pt>
                <c:pt idx="2094">
                  <c:v>13295</c:v>
                </c:pt>
                <c:pt idx="2095">
                  <c:v>13296</c:v>
                </c:pt>
                <c:pt idx="2096">
                  <c:v>13297</c:v>
                </c:pt>
                <c:pt idx="2097">
                  <c:v>13298</c:v>
                </c:pt>
                <c:pt idx="2098">
                  <c:v>13299</c:v>
                </c:pt>
                <c:pt idx="2099">
                  <c:v>13302</c:v>
                </c:pt>
                <c:pt idx="2100">
                  <c:v>13303</c:v>
                </c:pt>
                <c:pt idx="2101">
                  <c:v>13304</c:v>
                </c:pt>
                <c:pt idx="2102">
                  <c:v>13305</c:v>
                </c:pt>
                <c:pt idx="2103">
                  <c:v>13306</c:v>
                </c:pt>
                <c:pt idx="2104">
                  <c:v>13309</c:v>
                </c:pt>
                <c:pt idx="2105">
                  <c:v>13310</c:v>
                </c:pt>
                <c:pt idx="2106">
                  <c:v>13311</c:v>
                </c:pt>
                <c:pt idx="2107">
                  <c:v>13312</c:v>
                </c:pt>
                <c:pt idx="2108">
                  <c:v>13313</c:v>
                </c:pt>
                <c:pt idx="2109">
                  <c:v>13316</c:v>
                </c:pt>
                <c:pt idx="2110">
                  <c:v>13317</c:v>
                </c:pt>
                <c:pt idx="2111">
                  <c:v>13318</c:v>
                </c:pt>
                <c:pt idx="2112">
                  <c:v>13319</c:v>
                </c:pt>
                <c:pt idx="2113">
                  <c:v>13320</c:v>
                </c:pt>
                <c:pt idx="2114">
                  <c:v>13323</c:v>
                </c:pt>
                <c:pt idx="2115">
                  <c:v>13324</c:v>
                </c:pt>
                <c:pt idx="2116">
                  <c:v>13325</c:v>
                </c:pt>
                <c:pt idx="2117">
                  <c:v>13326</c:v>
                </c:pt>
                <c:pt idx="2118">
                  <c:v>13327</c:v>
                </c:pt>
                <c:pt idx="2119">
                  <c:v>13330</c:v>
                </c:pt>
                <c:pt idx="2120">
                  <c:v>13331</c:v>
                </c:pt>
                <c:pt idx="2121">
                  <c:v>13332</c:v>
                </c:pt>
                <c:pt idx="2122">
                  <c:v>13333</c:v>
                </c:pt>
                <c:pt idx="2123">
                  <c:v>13334</c:v>
                </c:pt>
                <c:pt idx="2124">
                  <c:v>13337</c:v>
                </c:pt>
                <c:pt idx="2125">
                  <c:v>13338</c:v>
                </c:pt>
                <c:pt idx="2126">
                  <c:v>13339</c:v>
                </c:pt>
                <c:pt idx="2127">
                  <c:v>13340</c:v>
                </c:pt>
                <c:pt idx="2128">
                  <c:v>13341</c:v>
                </c:pt>
                <c:pt idx="2129">
                  <c:v>13344</c:v>
                </c:pt>
                <c:pt idx="2130">
                  <c:v>13345</c:v>
                </c:pt>
                <c:pt idx="2131">
                  <c:v>13346</c:v>
                </c:pt>
                <c:pt idx="2132">
                  <c:v>13347</c:v>
                </c:pt>
                <c:pt idx="2133">
                  <c:v>13348</c:v>
                </c:pt>
                <c:pt idx="2134">
                  <c:v>13351</c:v>
                </c:pt>
                <c:pt idx="2135">
                  <c:v>13352</c:v>
                </c:pt>
                <c:pt idx="2136">
                  <c:v>13353</c:v>
                </c:pt>
                <c:pt idx="2137">
                  <c:v>13354</c:v>
                </c:pt>
                <c:pt idx="2138">
                  <c:v>13355</c:v>
                </c:pt>
                <c:pt idx="2139">
                  <c:v>13358</c:v>
                </c:pt>
                <c:pt idx="2140">
                  <c:v>13359</c:v>
                </c:pt>
                <c:pt idx="2141">
                  <c:v>13360</c:v>
                </c:pt>
                <c:pt idx="2142">
                  <c:v>13361</c:v>
                </c:pt>
                <c:pt idx="2143">
                  <c:v>13362</c:v>
                </c:pt>
                <c:pt idx="2144">
                  <c:v>13365</c:v>
                </c:pt>
                <c:pt idx="2145">
                  <c:v>13366</c:v>
                </c:pt>
                <c:pt idx="2146">
                  <c:v>13367</c:v>
                </c:pt>
                <c:pt idx="2147">
                  <c:v>13368</c:v>
                </c:pt>
                <c:pt idx="2148">
                  <c:v>13369</c:v>
                </c:pt>
                <c:pt idx="2149">
                  <c:v>13372</c:v>
                </c:pt>
                <c:pt idx="2150">
                  <c:v>13373</c:v>
                </c:pt>
                <c:pt idx="2151">
                  <c:v>13374</c:v>
                </c:pt>
                <c:pt idx="2152">
                  <c:v>13375</c:v>
                </c:pt>
                <c:pt idx="2153">
                  <c:v>13376</c:v>
                </c:pt>
                <c:pt idx="2154">
                  <c:v>13379</c:v>
                </c:pt>
                <c:pt idx="2155">
                  <c:v>13380</c:v>
                </c:pt>
                <c:pt idx="2156">
                  <c:v>13381</c:v>
                </c:pt>
                <c:pt idx="2157">
                  <c:v>13382</c:v>
                </c:pt>
                <c:pt idx="2158">
                  <c:v>13383</c:v>
                </c:pt>
                <c:pt idx="2159">
                  <c:v>13386</c:v>
                </c:pt>
                <c:pt idx="2160">
                  <c:v>13387</c:v>
                </c:pt>
                <c:pt idx="2161">
                  <c:v>13388</c:v>
                </c:pt>
                <c:pt idx="2162">
                  <c:v>13389</c:v>
                </c:pt>
                <c:pt idx="2163">
                  <c:v>13390</c:v>
                </c:pt>
                <c:pt idx="2164">
                  <c:v>13393</c:v>
                </c:pt>
                <c:pt idx="2165">
                  <c:v>13394</c:v>
                </c:pt>
                <c:pt idx="2166">
                  <c:v>13395</c:v>
                </c:pt>
                <c:pt idx="2167">
                  <c:v>13396</c:v>
                </c:pt>
                <c:pt idx="2168">
                  <c:v>13397</c:v>
                </c:pt>
                <c:pt idx="2169">
                  <c:v>13401</c:v>
                </c:pt>
                <c:pt idx="2170">
                  <c:v>13402</c:v>
                </c:pt>
                <c:pt idx="2171">
                  <c:v>13403</c:v>
                </c:pt>
                <c:pt idx="2172">
                  <c:v>13404</c:v>
                </c:pt>
                <c:pt idx="2173">
                  <c:v>13407</c:v>
                </c:pt>
                <c:pt idx="2174">
                  <c:v>13408</c:v>
                </c:pt>
                <c:pt idx="2175">
                  <c:v>13409</c:v>
                </c:pt>
                <c:pt idx="2176">
                  <c:v>13410</c:v>
                </c:pt>
                <c:pt idx="2177">
                  <c:v>13411</c:v>
                </c:pt>
                <c:pt idx="2178">
                  <c:v>13414</c:v>
                </c:pt>
                <c:pt idx="2179">
                  <c:v>13415</c:v>
                </c:pt>
                <c:pt idx="2180">
                  <c:v>13416</c:v>
                </c:pt>
                <c:pt idx="2181">
                  <c:v>13417</c:v>
                </c:pt>
                <c:pt idx="2182">
                  <c:v>13418</c:v>
                </c:pt>
                <c:pt idx="2183">
                  <c:v>13421</c:v>
                </c:pt>
                <c:pt idx="2184">
                  <c:v>13422</c:v>
                </c:pt>
                <c:pt idx="2185">
                  <c:v>13423</c:v>
                </c:pt>
                <c:pt idx="2186">
                  <c:v>13424</c:v>
                </c:pt>
                <c:pt idx="2187">
                  <c:v>13425</c:v>
                </c:pt>
                <c:pt idx="2188">
                  <c:v>13428</c:v>
                </c:pt>
                <c:pt idx="2189">
                  <c:v>13429</c:v>
                </c:pt>
                <c:pt idx="2190">
                  <c:v>13430</c:v>
                </c:pt>
                <c:pt idx="2191">
                  <c:v>13431</c:v>
                </c:pt>
                <c:pt idx="2192">
                  <c:v>13432</c:v>
                </c:pt>
                <c:pt idx="2193">
                  <c:v>13436</c:v>
                </c:pt>
                <c:pt idx="2194">
                  <c:v>13437</c:v>
                </c:pt>
                <c:pt idx="2195">
                  <c:v>13438</c:v>
                </c:pt>
                <c:pt idx="2196">
                  <c:v>13439</c:v>
                </c:pt>
                <c:pt idx="2197">
                  <c:v>13442</c:v>
                </c:pt>
                <c:pt idx="2198">
                  <c:v>13443</c:v>
                </c:pt>
                <c:pt idx="2199">
                  <c:v>13444</c:v>
                </c:pt>
                <c:pt idx="2200">
                  <c:v>13445</c:v>
                </c:pt>
                <c:pt idx="2201">
                  <c:v>13446</c:v>
                </c:pt>
                <c:pt idx="2202">
                  <c:v>13449</c:v>
                </c:pt>
                <c:pt idx="2203">
                  <c:v>13450</c:v>
                </c:pt>
                <c:pt idx="2204">
                  <c:v>13451</c:v>
                </c:pt>
                <c:pt idx="2205">
                  <c:v>13452</c:v>
                </c:pt>
                <c:pt idx="2206">
                  <c:v>13453</c:v>
                </c:pt>
                <c:pt idx="2207">
                  <c:v>13456</c:v>
                </c:pt>
                <c:pt idx="2208">
                  <c:v>13458</c:v>
                </c:pt>
                <c:pt idx="2209">
                  <c:v>13459</c:v>
                </c:pt>
                <c:pt idx="2210">
                  <c:v>13460</c:v>
                </c:pt>
                <c:pt idx="2211">
                  <c:v>13463</c:v>
                </c:pt>
                <c:pt idx="2212">
                  <c:v>13464</c:v>
                </c:pt>
                <c:pt idx="2213">
                  <c:v>13466</c:v>
                </c:pt>
                <c:pt idx="2214">
                  <c:v>13467</c:v>
                </c:pt>
                <c:pt idx="2215">
                  <c:v>13470</c:v>
                </c:pt>
                <c:pt idx="2216">
                  <c:v>13471</c:v>
                </c:pt>
                <c:pt idx="2217">
                  <c:v>13472</c:v>
                </c:pt>
                <c:pt idx="2218">
                  <c:v>13473</c:v>
                </c:pt>
                <c:pt idx="2219">
                  <c:v>13474</c:v>
                </c:pt>
                <c:pt idx="2220">
                  <c:v>13477</c:v>
                </c:pt>
                <c:pt idx="2221">
                  <c:v>13478</c:v>
                </c:pt>
                <c:pt idx="2222">
                  <c:v>13479</c:v>
                </c:pt>
                <c:pt idx="2223">
                  <c:v>13481</c:v>
                </c:pt>
                <c:pt idx="2224">
                  <c:v>13484</c:v>
                </c:pt>
                <c:pt idx="2225">
                  <c:v>13485</c:v>
                </c:pt>
                <c:pt idx="2226">
                  <c:v>13486</c:v>
                </c:pt>
                <c:pt idx="2227">
                  <c:v>13487</c:v>
                </c:pt>
                <c:pt idx="2228">
                  <c:v>13488</c:v>
                </c:pt>
                <c:pt idx="2229">
                  <c:v>13491</c:v>
                </c:pt>
                <c:pt idx="2230">
                  <c:v>13492</c:v>
                </c:pt>
                <c:pt idx="2231">
                  <c:v>13493</c:v>
                </c:pt>
                <c:pt idx="2232">
                  <c:v>13494</c:v>
                </c:pt>
                <c:pt idx="2233">
                  <c:v>13495</c:v>
                </c:pt>
                <c:pt idx="2234">
                  <c:v>13498</c:v>
                </c:pt>
                <c:pt idx="2235">
                  <c:v>13499</c:v>
                </c:pt>
                <c:pt idx="2236">
                  <c:v>13500</c:v>
                </c:pt>
                <c:pt idx="2237">
                  <c:v>13501</c:v>
                </c:pt>
                <c:pt idx="2238">
                  <c:v>13502</c:v>
                </c:pt>
                <c:pt idx="2239">
                  <c:v>13505</c:v>
                </c:pt>
                <c:pt idx="2240">
                  <c:v>13506</c:v>
                </c:pt>
                <c:pt idx="2241">
                  <c:v>13507</c:v>
                </c:pt>
                <c:pt idx="2242">
                  <c:v>13508</c:v>
                </c:pt>
                <c:pt idx="2243">
                  <c:v>13512</c:v>
                </c:pt>
                <c:pt idx="2244">
                  <c:v>13513</c:v>
                </c:pt>
                <c:pt idx="2245">
                  <c:v>13514</c:v>
                </c:pt>
                <c:pt idx="2246">
                  <c:v>13515</c:v>
                </c:pt>
                <c:pt idx="2247">
                  <c:v>13519</c:v>
                </c:pt>
                <c:pt idx="2248">
                  <c:v>13520</c:v>
                </c:pt>
                <c:pt idx="2249">
                  <c:v>13521</c:v>
                </c:pt>
                <c:pt idx="2250">
                  <c:v>13522</c:v>
                </c:pt>
                <c:pt idx="2251">
                  <c:v>13523</c:v>
                </c:pt>
                <c:pt idx="2252">
                  <c:v>13526</c:v>
                </c:pt>
                <c:pt idx="2253">
                  <c:v>13527</c:v>
                </c:pt>
                <c:pt idx="2254">
                  <c:v>13528</c:v>
                </c:pt>
                <c:pt idx="2255">
                  <c:v>13529</c:v>
                </c:pt>
                <c:pt idx="2256">
                  <c:v>13530</c:v>
                </c:pt>
                <c:pt idx="2257">
                  <c:v>13533</c:v>
                </c:pt>
                <c:pt idx="2258">
                  <c:v>13534</c:v>
                </c:pt>
                <c:pt idx="2259">
                  <c:v>13535</c:v>
                </c:pt>
                <c:pt idx="2260">
                  <c:v>13536</c:v>
                </c:pt>
                <c:pt idx="2261">
                  <c:v>13537</c:v>
                </c:pt>
                <c:pt idx="2262">
                  <c:v>13540</c:v>
                </c:pt>
                <c:pt idx="2263">
                  <c:v>13541</c:v>
                </c:pt>
                <c:pt idx="2264">
                  <c:v>13542</c:v>
                </c:pt>
                <c:pt idx="2265">
                  <c:v>13543</c:v>
                </c:pt>
                <c:pt idx="2266">
                  <c:v>13544</c:v>
                </c:pt>
                <c:pt idx="2267">
                  <c:v>13547</c:v>
                </c:pt>
                <c:pt idx="2268">
                  <c:v>13548</c:v>
                </c:pt>
                <c:pt idx="2269">
                  <c:v>13549</c:v>
                </c:pt>
                <c:pt idx="2270">
                  <c:v>13550</c:v>
                </c:pt>
                <c:pt idx="2271">
                  <c:v>13551</c:v>
                </c:pt>
                <c:pt idx="2272">
                  <c:v>13554</c:v>
                </c:pt>
                <c:pt idx="2273">
                  <c:v>13555</c:v>
                </c:pt>
                <c:pt idx="2274">
                  <c:v>13556</c:v>
                </c:pt>
                <c:pt idx="2275">
                  <c:v>13557</c:v>
                </c:pt>
                <c:pt idx="2276">
                  <c:v>13561</c:v>
                </c:pt>
                <c:pt idx="2277">
                  <c:v>13562</c:v>
                </c:pt>
                <c:pt idx="2278">
                  <c:v>13563</c:v>
                </c:pt>
                <c:pt idx="2279">
                  <c:v>13564</c:v>
                </c:pt>
                <c:pt idx="2280">
                  <c:v>13565</c:v>
                </c:pt>
                <c:pt idx="2281">
                  <c:v>13569</c:v>
                </c:pt>
                <c:pt idx="2282">
                  <c:v>13570</c:v>
                </c:pt>
                <c:pt idx="2283">
                  <c:v>13571</c:v>
                </c:pt>
                <c:pt idx="2284">
                  <c:v>13572</c:v>
                </c:pt>
                <c:pt idx="2285">
                  <c:v>13575</c:v>
                </c:pt>
                <c:pt idx="2286">
                  <c:v>13576</c:v>
                </c:pt>
                <c:pt idx="2287">
                  <c:v>13577</c:v>
                </c:pt>
                <c:pt idx="2288">
                  <c:v>13578</c:v>
                </c:pt>
                <c:pt idx="2289">
                  <c:v>13579</c:v>
                </c:pt>
                <c:pt idx="2290">
                  <c:v>13582</c:v>
                </c:pt>
                <c:pt idx="2291">
                  <c:v>13583</c:v>
                </c:pt>
                <c:pt idx="2292">
                  <c:v>13584</c:v>
                </c:pt>
                <c:pt idx="2293">
                  <c:v>13585</c:v>
                </c:pt>
                <c:pt idx="2294">
                  <c:v>13586</c:v>
                </c:pt>
                <c:pt idx="2295">
                  <c:v>13589</c:v>
                </c:pt>
                <c:pt idx="2296">
                  <c:v>13590</c:v>
                </c:pt>
                <c:pt idx="2297">
                  <c:v>13591</c:v>
                </c:pt>
                <c:pt idx="2298">
                  <c:v>13592</c:v>
                </c:pt>
                <c:pt idx="2299">
                  <c:v>13593</c:v>
                </c:pt>
                <c:pt idx="2300">
                  <c:v>13596</c:v>
                </c:pt>
                <c:pt idx="2301">
                  <c:v>13597</c:v>
                </c:pt>
                <c:pt idx="2302">
                  <c:v>13598</c:v>
                </c:pt>
                <c:pt idx="2303">
                  <c:v>13599</c:v>
                </c:pt>
                <c:pt idx="2304">
                  <c:v>13603</c:v>
                </c:pt>
                <c:pt idx="2305">
                  <c:v>13604</c:v>
                </c:pt>
                <c:pt idx="2306">
                  <c:v>13605</c:v>
                </c:pt>
                <c:pt idx="2307">
                  <c:v>13606</c:v>
                </c:pt>
                <c:pt idx="2308">
                  <c:v>13607</c:v>
                </c:pt>
                <c:pt idx="2309">
                  <c:v>13610</c:v>
                </c:pt>
                <c:pt idx="2310">
                  <c:v>13611</c:v>
                </c:pt>
                <c:pt idx="2311">
                  <c:v>13612</c:v>
                </c:pt>
                <c:pt idx="2312">
                  <c:v>13613</c:v>
                </c:pt>
                <c:pt idx="2313">
                  <c:v>13614</c:v>
                </c:pt>
                <c:pt idx="2314">
                  <c:v>13617</c:v>
                </c:pt>
                <c:pt idx="2315">
                  <c:v>13618</c:v>
                </c:pt>
                <c:pt idx="2316">
                  <c:v>13619</c:v>
                </c:pt>
                <c:pt idx="2317">
                  <c:v>13620</c:v>
                </c:pt>
                <c:pt idx="2318">
                  <c:v>13621</c:v>
                </c:pt>
                <c:pt idx="2319">
                  <c:v>13624</c:v>
                </c:pt>
                <c:pt idx="2320">
                  <c:v>13625</c:v>
                </c:pt>
                <c:pt idx="2321">
                  <c:v>13626</c:v>
                </c:pt>
                <c:pt idx="2322">
                  <c:v>13627</c:v>
                </c:pt>
                <c:pt idx="2323">
                  <c:v>13628</c:v>
                </c:pt>
                <c:pt idx="2324">
                  <c:v>13631</c:v>
                </c:pt>
                <c:pt idx="2325">
                  <c:v>13632</c:v>
                </c:pt>
                <c:pt idx="2326">
                  <c:v>13633</c:v>
                </c:pt>
                <c:pt idx="2327">
                  <c:v>13634</c:v>
                </c:pt>
                <c:pt idx="2328">
                  <c:v>13635</c:v>
                </c:pt>
                <c:pt idx="2329">
                  <c:v>13638</c:v>
                </c:pt>
                <c:pt idx="2330">
                  <c:v>13639</c:v>
                </c:pt>
                <c:pt idx="2331">
                  <c:v>13640</c:v>
                </c:pt>
                <c:pt idx="2332">
                  <c:v>13641</c:v>
                </c:pt>
                <c:pt idx="2333">
                  <c:v>13642</c:v>
                </c:pt>
                <c:pt idx="2334">
                  <c:v>13645</c:v>
                </c:pt>
                <c:pt idx="2335">
                  <c:v>13646</c:v>
                </c:pt>
                <c:pt idx="2336">
                  <c:v>13647</c:v>
                </c:pt>
                <c:pt idx="2337">
                  <c:v>13648</c:v>
                </c:pt>
                <c:pt idx="2338">
                  <c:v>13649</c:v>
                </c:pt>
                <c:pt idx="2339">
                  <c:v>13652</c:v>
                </c:pt>
                <c:pt idx="2340">
                  <c:v>13653</c:v>
                </c:pt>
                <c:pt idx="2341">
                  <c:v>13654</c:v>
                </c:pt>
                <c:pt idx="2342">
                  <c:v>13655</c:v>
                </c:pt>
                <c:pt idx="2343">
                  <c:v>13656</c:v>
                </c:pt>
                <c:pt idx="2344">
                  <c:v>13659</c:v>
                </c:pt>
                <c:pt idx="2345">
                  <c:v>13660</c:v>
                </c:pt>
                <c:pt idx="2346">
                  <c:v>13661</c:v>
                </c:pt>
                <c:pt idx="2347">
                  <c:v>13662</c:v>
                </c:pt>
                <c:pt idx="2348">
                  <c:v>13663</c:v>
                </c:pt>
                <c:pt idx="2349">
                  <c:v>13667</c:v>
                </c:pt>
                <c:pt idx="2350">
                  <c:v>13668</c:v>
                </c:pt>
                <c:pt idx="2351">
                  <c:v>13669</c:v>
                </c:pt>
                <c:pt idx="2352">
                  <c:v>13670</c:v>
                </c:pt>
                <c:pt idx="2353">
                  <c:v>13673</c:v>
                </c:pt>
                <c:pt idx="2354">
                  <c:v>13674</c:v>
                </c:pt>
                <c:pt idx="2355">
                  <c:v>13675</c:v>
                </c:pt>
                <c:pt idx="2356">
                  <c:v>13676</c:v>
                </c:pt>
                <c:pt idx="2357">
                  <c:v>13677</c:v>
                </c:pt>
                <c:pt idx="2358">
                  <c:v>13680</c:v>
                </c:pt>
                <c:pt idx="2359">
                  <c:v>13681</c:v>
                </c:pt>
                <c:pt idx="2360">
                  <c:v>13682</c:v>
                </c:pt>
                <c:pt idx="2361">
                  <c:v>13683</c:v>
                </c:pt>
                <c:pt idx="2362">
                  <c:v>13684</c:v>
                </c:pt>
                <c:pt idx="2363">
                  <c:v>13687</c:v>
                </c:pt>
                <c:pt idx="2364">
                  <c:v>13688</c:v>
                </c:pt>
                <c:pt idx="2365">
                  <c:v>13689</c:v>
                </c:pt>
                <c:pt idx="2366">
                  <c:v>13690</c:v>
                </c:pt>
                <c:pt idx="2367">
                  <c:v>13691</c:v>
                </c:pt>
                <c:pt idx="2368">
                  <c:v>13694</c:v>
                </c:pt>
                <c:pt idx="2369">
                  <c:v>13695</c:v>
                </c:pt>
                <c:pt idx="2370">
                  <c:v>13696</c:v>
                </c:pt>
                <c:pt idx="2371">
                  <c:v>13697</c:v>
                </c:pt>
                <c:pt idx="2372">
                  <c:v>13698</c:v>
                </c:pt>
                <c:pt idx="2373">
                  <c:v>13702</c:v>
                </c:pt>
                <c:pt idx="2374">
                  <c:v>13703</c:v>
                </c:pt>
                <c:pt idx="2375">
                  <c:v>13704</c:v>
                </c:pt>
                <c:pt idx="2376">
                  <c:v>13705</c:v>
                </c:pt>
                <c:pt idx="2377">
                  <c:v>13708</c:v>
                </c:pt>
                <c:pt idx="2378">
                  <c:v>13709</c:v>
                </c:pt>
                <c:pt idx="2379">
                  <c:v>13710</c:v>
                </c:pt>
                <c:pt idx="2380">
                  <c:v>13711</c:v>
                </c:pt>
                <c:pt idx="2381">
                  <c:v>13712</c:v>
                </c:pt>
                <c:pt idx="2382">
                  <c:v>13715</c:v>
                </c:pt>
                <c:pt idx="2383">
                  <c:v>13716</c:v>
                </c:pt>
                <c:pt idx="2384">
                  <c:v>13717</c:v>
                </c:pt>
                <c:pt idx="2385">
                  <c:v>13718</c:v>
                </c:pt>
                <c:pt idx="2386">
                  <c:v>13719</c:v>
                </c:pt>
                <c:pt idx="2387">
                  <c:v>13722</c:v>
                </c:pt>
                <c:pt idx="2388">
                  <c:v>13723</c:v>
                </c:pt>
                <c:pt idx="2389">
                  <c:v>13724</c:v>
                </c:pt>
                <c:pt idx="2390">
                  <c:v>13725</c:v>
                </c:pt>
                <c:pt idx="2391">
                  <c:v>13726</c:v>
                </c:pt>
                <c:pt idx="2392">
                  <c:v>13729</c:v>
                </c:pt>
                <c:pt idx="2393">
                  <c:v>13730</c:v>
                </c:pt>
                <c:pt idx="2394">
                  <c:v>13731</c:v>
                </c:pt>
                <c:pt idx="2395">
                  <c:v>13732</c:v>
                </c:pt>
                <c:pt idx="2396">
                  <c:v>13733</c:v>
                </c:pt>
                <c:pt idx="2397">
                  <c:v>13736</c:v>
                </c:pt>
                <c:pt idx="2398">
                  <c:v>13737</c:v>
                </c:pt>
                <c:pt idx="2399">
                  <c:v>13738</c:v>
                </c:pt>
                <c:pt idx="2400">
                  <c:v>13739</c:v>
                </c:pt>
                <c:pt idx="2401">
                  <c:v>13740</c:v>
                </c:pt>
                <c:pt idx="2402">
                  <c:v>13743</c:v>
                </c:pt>
                <c:pt idx="2403">
                  <c:v>13744</c:v>
                </c:pt>
                <c:pt idx="2404">
                  <c:v>13745</c:v>
                </c:pt>
                <c:pt idx="2405">
                  <c:v>13746</c:v>
                </c:pt>
                <c:pt idx="2406">
                  <c:v>13747</c:v>
                </c:pt>
                <c:pt idx="2407">
                  <c:v>13750</c:v>
                </c:pt>
                <c:pt idx="2408">
                  <c:v>13751</c:v>
                </c:pt>
                <c:pt idx="2409">
                  <c:v>13752</c:v>
                </c:pt>
                <c:pt idx="2410">
                  <c:v>13753</c:v>
                </c:pt>
                <c:pt idx="2411">
                  <c:v>13754</c:v>
                </c:pt>
                <c:pt idx="2412">
                  <c:v>13757</c:v>
                </c:pt>
                <c:pt idx="2413">
                  <c:v>13758</c:v>
                </c:pt>
                <c:pt idx="2414">
                  <c:v>13759</c:v>
                </c:pt>
                <c:pt idx="2415">
                  <c:v>13760</c:v>
                </c:pt>
                <c:pt idx="2416">
                  <c:v>13761</c:v>
                </c:pt>
                <c:pt idx="2417">
                  <c:v>13765</c:v>
                </c:pt>
                <c:pt idx="2418">
                  <c:v>13766</c:v>
                </c:pt>
                <c:pt idx="2419">
                  <c:v>13767</c:v>
                </c:pt>
                <c:pt idx="2420">
                  <c:v>13768</c:v>
                </c:pt>
                <c:pt idx="2421">
                  <c:v>13771</c:v>
                </c:pt>
                <c:pt idx="2422">
                  <c:v>13772</c:v>
                </c:pt>
                <c:pt idx="2423">
                  <c:v>13773</c:v>
                </c:pt>
                <c:pt idx="2424">
                  <c:v>13774</c:v>
                </c:pt>
                <c:pt idx="2425">
                  <c:v>13775</c:v>
                </c:pt>
                <c:pt idx="2426">
                  <c:v>13778</c:v>
                </c:pt>
                <c:pt idx="2427">
                  <c:v>13779</c:v>
                </c:pt>
                <c:pt idx="2428">
                  <c:v>13780</c:v>
                </c:pt>
                <c:pt idx="2429">
                  <c:v>13781</c:v>
                </c:pt>
                <c:pt idx="2430">
                  <c:v>13782</c:v>
                </c:pt>
                <c:pt idx="2431">
                  <c:v>13785</c:v>
                </c:pt>
                <c:pt idx="2432">
                  <c:v>13786</c:v>
                </c:pt>
                <c:pt idx="2433">
                  <c:v>13787</c:v>
                </c:pt>
                <c:pt idx="2434">
                  <c:v>13788</c:v>
                </c:pt>
                <c:pt idx="2435">
                  <c:v>13789</c:v>
                </c:pt>
                <c:pt idx="2436">
                  <c:v>13792</c:v>
                </c:pt>
                <c:pt idx="2437">
                  <c:v>13793</c:v>
                </c:pt>
                <c:pt idx="2438">
                  <c:v>13794</c:v>
                </c:pt>
                <c:pt idx="2439">
                  <c:v>13795</c:v>
                </c:pt>
                <c:pt idx="2440">
                  <c:v>13796</c:v>
                </c:pt>
                <c:pt idx="2441">
                  <c:v>13799</c:v>
                </c:pt>
                <c:pt idx="2442">
                  <c:v>13801</c:v>
                </c:pt>
                <c:pt idx="2443">
                  <c:v>13802</c:v>
                </c:pt>
                <c:pt idx="2444">
                  <c:v>13803</c:v>
                </c:pt>
                <c:pt idx="2445">
                  <c:v>13806</c:v>
                </c:pt>
                <c:pt idx="2446">
                  <c:v>13807</c:v>
                </c:pt>
                <c:pt idx="2447">
                  <c:v>13808</c:v>
                </c:pt>
                <c:pt idx="2448">
                  <c:v>13809</c:v>
                </c:pt>
                <c:pt idx="2449">
                  <c:v>13810</c:v>
                </c:pt>
                <c:pt idx="2450">
                  <c:v>13813</c:v>
                </c:pt>
                <c:pt idx="2451">
                  <c:v>13814</c:v>
                </c:pt>
                <c:pt idx="2452">
                  <c:v>13815</c:v>
                </c:pt>
                <c:pt idx="2453">
                  <c:v>13816</c:v>
                </c:pt>
                <c:pt idx="2454">
                  <c:v>13817</c:v>
                </c:pt>
                <c:pt idx="2455">
                  <c:v>13820</c:v>
                </c:pt>
                <c:pt idx="2456">
                  <c:v>13822</c:v>
                </c:pt>
                <c:pt idx="2457">
                  <c:v>13823</c:v>
                </c:pt>
                <c:pt idx="2458">
                  <c:v>13824</c:v>
                </c:pt>
                <c:pt idx="2459">
                  <c:v>13827</c:v>
                </c:pt>
                <c:pt idx="2460">
                  <c:v>13828</c:v>
                </c:pt>
                <c:pt idx="2461">
                  <c:v>13829</c:v>
                </c:pt>
                <c:pt idx="2462">
                  <c:v>13831</c:v>
                </c:pt>
                <c:pt idx="2463">
                  <c:v>13834</c:v>
                </c:pt>
                <c:pt idx="2464">
                  <c:v>13835</c:v>
                </c:pt>
                <c:pt idx="2465">
                  <c:v>13836</c:v>
                </c:pt>
                <c:pt idx="2466">
                  <c:v>13837</c:v>
                </c:pt>
                <c:pt idx="2467">
                  <c:v>13838</c:v>
                </c:pt>
                <c:pt idx="2468">
                  <c:v>13841</c:v>
                </c:pt>
                <c:pt idx="2469">
                  <c:v>13842</c:v>
                </c:pt>
                <c:pt idx="2470">
                  <c:v>13843</c:v>
                </c:pt>
                <c:pt idx="2471">
                  <c:v>13845</c:v>
                </c:pt>
                <c:pt idx="2472">
                  <c:v>13848</c:v>
                </c:pt>
                <c:pt idx="2473">
                  <c:v>13849</c:v>
                </c:pt>
                <c:pt idx="2474">
                  <c:v>13850</c:v>
                </c:pt>
                <c:pt idx="2475">
                  <c:v>13851</c:v>
                </c:pt>
                <c:pt idx="2476">
                  <c:v>13852</c:v>
                </c:pt>
                <c:pt idx="2477">
                  <c:v>13855</c:v>
                </c:pt>
                <c:pt idx="2478">
                  <c:v>13856</c:v>
                </c:pt>
                <c:pt idx="2479">
                  <c:v>13857</c:v>
                </c:pt>
                <c:pt idx="2480">
                  <c:v>13858</c:v>
                </c:pt>
                <c:pt idx="2481">
                  <c:v>13859</c:v>
                </c:pt>
                <c:pt idx="2482">
                  <c:v>13862</c:v>
                </c:pt>
                <c:pt idx="2483">
                  <c:v>13863</c:v>
                </c:pt>
                <c:pt idx="2484">
                  <c:v>13864</c:v>
                </c:pt>
                <c:pt idx="2485">
                  <c:v>13865</c:v>
                </c:pt>
                <c:pt idx="2486">
                  <c:v>13866</c:v>
                </c:pt>
                <c:pt idx="2487">
                  <c:v>13869</c:v>
                </c:pt>
                <c:pt idx="2488">
                  <c:v>13870</c:v>
                </c:pt>
                <c:pt idx="2489">
                  <c:v>13871</c:v>
                </c:pt>
                <c:pt idx="2490">
                  <c:v>13872</c:v>
                </c:pt>
                <c:pt idx="2491">
                  <c:v>13873</c:v>
                </c:pt>
                <c:pt idx="2492">
                  <c:v>13876</c:v>
                </c:pt>
                <c:pt idx="2493">
                  <c:v>13877</c:v>
                </c:pt>
                <c:pt idx="2494">
                  <c:v>13878</c:v>
                </c:pt>
                <c:pt idx="2495">
                  <c:v>13879</c:v>
                </c:pt>
                <c:pt idx="2496">
                  <c:v>13880</c:v>
                </c:pt>
                <c:pt idx="2497">
                  <c:v>13883</c:v>
                </c:pt>
                <c:pt idx="2498">
                  <c:v>13884</c:v>
                </c:pt>
                <c:pt idx="2499">
                  <c:v>13885</c:v>
                </c:pt>
                <c:pt idx="2500">
                  <c:v>13886</c:v>
                </c:pt>
                <c:pt idx="2501">
                  <c:v>13887</c:v>
                </c:pt>
                <c:pt idx="2502">
                  <c:v>13890</c:v>
                </c:pt>
                <c:pt idx="2503">
                  <c:v>13891</c:v>
                </c:pt>
                <c:pt idx="2504">
                  <c:v>13892</c:v>
                </c:pt>
                <c:pt idx="2505">
                  <c:v>13893</c:v>
                </c:pt>
                <c:pt idx="2506">
                  <c:v>13894</c:v>
                </c:pt>
                <c:pt idx="2507">
                  <c:v>13897</c:v>
                </c:pt>
                <c:pt idx="2508">
                  <c:v>13898</c:v>
                </c:pt>
                <c:pt idx="2509">
                  <c:v>13899</c:v>
                </c:pt>
                <c:pt idx="2510">
                  <c:v>13900</c:v>
                </c:pt>
                <c:pt idx="2511">
                  <c:v>13901</c:v>
                </c:pt>
                <c:pt idx="2512">
                  <c:v>13904</c:v>
                </c:pt>
                <c:pt idx="2513">
                  <c:v>13905</c:v>
                </c:pt>
                <c:pt idx="2514">
                  <c:v>13906</c:v>
                </c:pt>
                <c:pt idx="2515">
                  <c:v>13907</c:v>
                </c:pt>
                <c:pt idx="2516">
                  <c:v>13908</c:v>
                </c:pt>
                <c:pt idx="2517">
                  <c:v>13911</c:v>
                </c:pt>
                <c:pt idx="2518">
                  <c:v>13912</c:v>
                </c:pt>
                <c:pt idx="2519">
                  <c:v>13913</c:v>
                </c:pt>
                <c:pt idx="2520">
                  <c:v>13914</c:v>
                </c:pt>
                <c:pt idx="2521">
                  <c:v>13915</c:v>
                </c:pt>
                <c:pt idx="2522">
                  <c:v>13918</c:v>
                </c:pt>
                <c:pt idx="2523">
                  <c:v>13919</c:v>
                </c:pt>
                <c:pt idx="2524">
                  <c:v>13920</c:v>
                </c:pt>
                <c:pt idx="2525">
                  <c:v>13921</c:v>
                </c:pt>
                <c:pt idx="2526">
                  <c:v>13922</c:v>
                </c:pt>
                <c:pt idx="2527">
                  <c:v>13925</c:v>
                </c:pt>
                <c:pt idx="2528">
                  <c:v>13926</c:v>
                </c:pt>
                <c:pt idx="2529">
                  <c:v>13927</c:v>
                </c:pt>
                <c:pt idx="2530">
                  <c:v>13928</c:v>
                </c:pt>
                <c:pt idx="2531">
                  <c:v>13929</c:v>
                </c:pt>
                <c:pt idx="2532">
                  <c:v>13932</c:v>
                </c:pt>
                <c:pt idx="2533">
                  <c:v>13934</c:v>
                </c:pt>
                <c:pt idx="2534">
                  <c:v>13935</c:v>
                </c:pt>
                <c:pt idx="2535">
                  <c:v>13936</c:v>
                </c:pt>
                <c:pt idx="2536">
                  <c:v>13939</c:v>
                </c:pt>
                <c:pt idx="2537">
                  <c:v>13940</c:v>
                </c:pt>
                <c:pt idx="2538">
                  <c:v>13941</c:v>
                </c:pt>
                <c:pt idx="2539">
                  <c:v>13942</c:v>
                </c:pt>
                <c:pt idx="2540">
                  <c:v>13943</c:v>
                </c:pt>
                <c:pt idx="2541">
                  <c:v>13946</c:v>
                </c:pt>
                <c:pt idx="2542">
                  <c:v>13947</c:v>
                </c:pt>
                <c:pt idx="2543">
                  <c:v>13948</c:v>
                </c:pt>
                <c:pt idx="2544">
                  <c:v>13949</c:v>
                </c:pt>
                <c:pt idx="2545">
                  <c:v>13950</c:v>
                </c:pt>
                <c:pt idx="2546">
                  <c:v>13953</c:v>
                </c:pt>
                <c:pt idx="2547">
                  <c:v>13954</c:v>
                </c:pt>
                <c:pt idx="2548">
                  <c:v>13955</c:v>
                </c:pt>
                <c:pt idx="2549">
                  <c:v>13956</c:v>
                </c:pt>
                <c:pt idx="2550">
                  <c:v>13957</c:v>
                </c:pt>
                <c:pt idx="2551">
                  <c:v>13960</c:v>
                </c:pt>
                <c:pt idx="2552">
                  <c:v>13961</c:v>
                </c:pt>
                <c:pt idx="2553">
                  <c:v>13962</c:v>
                </c:pt>
                <c:pt idx="2554">
                  <c:v>13963</c:v>
                </c:pt>
                <c:pt idx="2555">
                  <c:v>13964</c:v>
                </c:pt>
                <c:pt idx="2556">
                  <c:v>13967</c:v>
                </c:pt>
                <c:pt idx="2557">
                  <c:v>13968</c:v>
                </c:pt>
                <c:pt idx="2558">
                  <c:v>13969</c:v>
                </c:pt>
                <c:pt idx="2559">
                  <c:v>13970</c:v>
                </c:pt>
                <c:pt idx="2560">
                  <c:v>13971</c:v>
                </c:pt>
                <c:pt idx="2561">
                  <c:v>13974</c:v>
                </c:pt>
                <c:pt idx="2562">
                  <c:v>13975</c:v>
                </c:pt>
                <c:pt idx="2563">
                  <c:v>13976</c:v>
                </c:pt>
                <c:pt idx="2564">
                  <c:v>13977</c:v>
                </c:pt>
                <c:pt idx="2565">
                  <c:v>13978</c:v>
                </c:pt>
                <c:pt idx="2566">
                  <c:v>13981</c:v>
                </c:pt>
                <c:pt idx="2567">
                  <c:v>13982</c:v>
                </c:pt>
                <c:pt idx="2568">
                  <c:v>13983</c:v>
                </c:pt>
                <c:pt idx="2569">
                  <c:v>13984</c:v>
                </c:pt>
                <c:pt idx="2570">
                  <c:v>13988</c:v>
                </c:pt>
                <c:pt idx="2571">
                  <c:v>13989</c:v>
                </c:pt>
                <c:pt idx="2572">
                  <c:v>13990</c:v>
                </c:pt>
                <c:pt idx="2573">
                  <c:v>13991</c:v>
                </c:pt>
                <c:pt idx="2574">
                  <c:v>13992</c:v>
                </c:pt>
                <c:pt idx="2575">
                  <c:v>13995</c:v>
                </c:pt>
                <c:pt idx="2576">
                  <c:v>13996</c:v>
                </c:pt>
                <c:pt idx="2577">
                  <c:v>13997</c:v>
                </c:pt>
                <c:pt idx="2578">
                  <c:v>13998</c:v>
                </c:pt>
                <c:pt idx="2579">
                  <c:v>13999</c:v>
                </c:pt>
                <c:pt idx="2580">
                  <c:v>14002</c:v>
                </c:pt>
                <c:pt idx="2581">
                  <c:v>14003</c:v>
                </c:pt>
                <c:pt idx="2582">
                  <c:v>14004</c:v>
                </c:pt>
                <c:pt idx="2583">
                  <c:v>14005</c:v>
                </c:pt>
                <c:pt idx="2584">
                  <c:v>14006</c:v>
                </c:pt>
                <c:pt idx="2585">
                  <c:v>14009</c:v>
                </c:pt>
                <c:pt idx="2586">
                  <c:v>14010</c:v>
                </c:pt>
                <c:pt idx="2587">
                  <c:v>14011</c:v>
                </c:pt>
                <c:pt idx="2588">
                  <c:v>14012</c:v>
                </c:pt>
                <c:pt idx="2589">
                  <c:v>14013</c:v>
                </c:pt>
                <c:pt idx="2590">
                  <c:v>14016</c:v>
                </c:pt>
                <c:pt idx="2591">
                  <c:v>14017</c:v>
                </c:pt>
                <c:pt idx="2592">
                  <c:v>14018</c:v>
                </c:pt>
                <c:pt idx="2593">
                  <c:v>14019</c:v>
                </c:pt>
                <c:pt idx="2594">
                  <c:v>14020</c:v>
                </c:pt>
                <c:pt idx="2595">
                  <c:v>14023</c:v>
                </c:pt>
                <c:pt idx="2596">
                  <c:v>14024</c:v>
                </c:pt>
                <c:pt idx="2597">
                  <c:v>14025</c:v>
                </c:pt>
                <c:pt idx="2598">
                  <c:v>14026</c:v>
                </c:pt>
                <c:pt idx="2599">
                  <c:v>14027</c:v>
                </c:pt>
                <c:pt idx="2600">
                  <c:v>14031</c:v>
                </c:pt>
                <c:pt idx="2601">
                  <c:v>14032</c:v>
                </c:pt>
                <c:pt idx="2602">
                  <c:v>14033</c:v>
                </c:pt>
                <c:pt idx="2603">
                  <c:v>14034</c:v>
                </c:pt>
                <c:pt idx="2604">
                  <c:v>14037</c:v>
                </c:pt>
                <c:pt idx="2605">
                  <c:v>14038</c:v>
                </c:pt>
                <c:pt idx="2606">
                  <c:v>14039</c:v>
                </c:pt>
                <c:pt idx="2607">
                  <c:v>14040</c:v>
                </c:pt>
                <c:pt idx="2608">
                  <c:v>14041</c:v>
                </c:pt>
                <c:pt idx="2609">
                  <c:v>14044</c:v>
                </c:pt>
                <c:pt idx="2610">
                  <c:v>14045</c:v>
                </c:pt>
                <c:pt idx="2611">
                  <c:v>14046</c:v>
                </c:pt>
                <c:pt idx="2612">
                  <c:v>14047</c:v>
                </c:pt>
                <c:pt idx="2613">
                  <c:v>14048</c:v>
                </c:pt>
                <c:pt idx="2614">
                  <c:v>14051</c:v>
                </c:pt>
                <c:pt idx="2615">
                  <c:v>14052</c:v>
                </c:pt>
                <c:pt idx="2616">
                  <c:v>14053</c:v>
                </c:pt>
                <c:pt idx="2617">
                  <c:v>14054</c:v>
                </c:pt>
                <c:pt idx="2618">
                  <c:v>14055</c:v>
                </c:pt>
                <c:pt idx="2619">
                  <c:v>14058</c:v>
                </c:pt>
                <c:pt idx="2620">
                  <c:v>14059</c:v>
                </c:pt>
                <c:pt idx="2621">
                  <c:v>14060</c:v>
                </c:pt>
                <c:pt idx="2622">
                  <c:v>14061</c:v>
                </c:pt>
                <c:pt idx="2623">
                  <c:v>14062</c:v>
                </c:pt>
                <c:pt idx="2624">
                  <c:v>14066</c:v>
                </c:pt>
                <c:pt idx="2625">
                  <c:v>14067</c:v>
                </c:pt>
                <c:pt idx="2626">
                  <c:v>14068</c:v>
                </c:pt>
                <c:pt idx="2627">
                  <c:v>14069</c:v>
                </c:pt>
                <c:pt idx="2628">
                  <c:v>14072</c:v>
                </c:pt>
                <c:pt idx="2629">
                  <c:v>14073</c:v>
                </c:pt>
                <c:pt idx="2630">
                  <c:v>14074</c:v>
                </c:pt>
                <c:pt idx="2631">
                  <c:v>14075</c:v>
                </c:pt>
                <c:pt idx="2632">
                  <c:v>14076</c:v>
                </c:pt>
                <c:pt idx="2633">
                  <c:v>14079</c:v>
                </c:pt>
                <c:pt idx="2634">
                  <c:v>14080</c:v>
                </c:pt>
                <c:pt idx="2635">
                  <c:v>14081</c:v>
                </c:pt>
                <c:pt idx="2636">
                  <c:v>14082</c:v>
                </c:pt>
                <c:pt idx="2637">
                  <c:v>14083</c:v>
                </c:pt>
                <c:pt idx="2638">
                  <c:v>14086</c:v>
                </c:pt>
                <c:pt idx="2639">
                  <c:v>14087</c:v>
                </c:pt>
                <c:pt idx="2640">
                  <c:v>14088</c:v>
                </c:pt>
                <c:pt idx="2641">
                  <c:v>14089</c:v>
                </c:pt>
                <c:pt idx="2642">
                  <c:v>14090</c:v>
                </c:pt>
                <c:pt idx="2643">
                  <c:v>14093</c:v>
                </c:pt>
                <c:pt idx="2644">
                  <c:v>14094</c:v>
                </c:pt>
                <c:pt idx="2645">
                  <c:v>14095</c:v>
                </c:pt>
                <c:pt idx="2646">
                  <c:v>14096</c:v>
                </c:pt>
                <c:pt idx="2647">
                  <c:v>14097</c:v>
                </c:pt>
                <c:pt idx="2648">
                  <c:v>14100</c:v>
                </c:pt>
                <c:pt idx="2649">
                  <c:v>14101</c:v>
                </c:pt>
                <c:pt idx="2650">
                  <c:v>14102</c:v>
                </c:pt>
                <c:pt idx="2651">
                  <c:v>14103</c:v>
                </c:pt>
                <c:pt idx="2652">
                  <c:v>14104</c:v>
                </c:pt>
                <c:pt idx="2653">
                  <c:v>14107</c:v>
                </c:pt>
                <c:pt idx="2654">
                  <c:v>14108</c:v>
                </c:pt>
                <c:pt idx="2655">
                  <c:v>14109</c:v>
                </c:pt>
                <c:pt idx="2656">
                  <c:v>14110</c:v>
                </c:pt>
                <c:pt idx="2657">
                  <c:v>14111</c:v>
                </c:pt>
                <c:pt idx="2658">
                  <c:v>14114</c:v>
                </c:pt>
                <c:pt idx="2659">
                  <c:v>14115</c:v>
                </c:pt>
                <c:pt idx="2660">
                  <c:v>14116</c:v>
                </c:pt>
                <c:pt idx="2661">
                  <c:v>14117</c:v>
                </c:pt>
                <c:pt idx="2662">
                  <c:v>14118</c:v>
                </c:pt>
                <c:pt idx="2663">
                  <c:v>14121</c:v>
                </c:pt>
                <c:pt idx="2664">
                  <c:v>14122</c:v>
                </c:pt>
                <c:pt idx="2665">
                  <c:v>14123</c:v>
                </c:pt>
                <c:pt idx="2666">
                  <c:v>14124</c:v>
                </c:pt>
                <c:pt idx="2667">
                  <c:v>14125</c:v>
                </c:pt>
                <c:pt idx="2668">
                  <c:v>14129</c:v>
                </c:pt>
                <c:pt idx="2669">
                  <c:v>14130</c:v>
                </c:pt>
                <c:pt idx="2670">
                  <c:v>14131</c:v>
                </c:pt>
                <c:pt idx="2671">
                  <c:v>14132</c:v>
                </c:pt>
                <c:pt idx="2672">
                  <c:v>14135</c:v>
                </c:pt>
                <c:pt idx="2673">
                  <c:v>14136</c:v>
                </c:pt>
                <c:pt idx="2674">
                  <c:v>14137</c:v>
                </c:pt>
                <c:pt idx="2675">
                  <c:v>14138</c:v>
                </c:pt>
                <c:pt idx="2676">
                  <c:v>14139</c:v>
                </c:pt>
                <c:pt idx="2677">
                  <c:v>14142</c:v>
                </c:pt>
                <c:pt idx="2678">
                  <c:v>14143</c:v>
                </c:pt>
                <c:pt idx="2679">
                  <c:v>14144</c:v>
                </c:pt>
                <c:pt idx="2680">
                  <c:v>14145</c:v>
                </c:pt>
                <c:pt idx="2681">
                  <c:v>14146</c:v>
                </c:pt>
                <c:pt idx="2682">
                  <c:v>14149</c:v>
                </c:pt>
                <c:pt idx="2683">
                  <c:v>14150</c:v>
                </c:pt>
                <c:pt idx="2684">
                  <c:v>14151</c:v>
                </c:pt>
                <c:pt idx="2685">
                  <c:v>14152</c:v>
                </c:pt>
                <c:pt idx="2686">
                  <c:v>14153</c:v>
                </c:pt>
                <c:pt idx="2687">
                  <c:v>14156</c:v>
                </c:pt>
                <c:pt idx="2688">
                  <c:v>14157</c:v>
                </c:pt>
                <c:pt idx="2689">
                  <c:v>14158</c:v>
                </c:pt>
                <c:pt idx="2690">
                  <c:v>14159</c:v>
                </c:pt>
                <c:pt idx="2691">
                  <c:v>14160</c:v>
                </c:pt>
                <c:pt idx="2692">
                  <c:v>14163</c:v>
                </c:pt>
                <c:pt idx="2693">
                  <c:v>14164</c:v>
                </c:pt>
                <c:pt idx="2694">
                  <c:v>14166</c:v>
                </c:pt>
                <c:pt idx="2695">
                  <c:v>14167</c:v>
                </c:pt>
                <c:pt idx="2696">
                  <c:v>14170</c:v>
                </c:pt>
                <c:pt idx="2697">
                  <c:v>14171</c:v>
                </c:pt>
                <c:pt idx="2698">
                  <c:v>14172</c:v>
                </c:pt>
                <c:pt idx="2699">
                  <c:v>14173</c:v>
                </c:pt>
                <c:pt idx="2700">
                  <c:v>14174</c:v>
                </c:pt>
                <c:pt idx="2701">
                  <c:v>14177</c:v>
                </c:pt>
                <c:pt idx="2702">
                  <c:v>14178</c:v>
                </c:pt>
                <c:pt idx="2703">
                  <c:v>14179</c:v>
                </c:pt>
                <c:pt idx="2704">
                  <c:v>14180</c:v>
                </c:pt>
                <c:pt idx="2705">
                  <c:v>14181</c:v>
                </c:pt>
                <c:pt idx="2706">
                  <c:v>14184</c:v>
                </c:pt>
                <c:pt idx="2707">
                  <c:v>14185</c:v>
                </c:pt>
                <c:pt idx="2708">
                  <c:v>14186</c:v>
                </c:pt>
                <c:pt idx="2709">
                  <c:v>14187</c:v>
                </c:pt>
                <c:pt idx="2710">
                  <c:v>14188</c:v>
                </c:pt>
                <c:pt idx="2711">
                  <c:v>14191</c:v>
                </c:pt>
                <c:pt idx="2712">
                  <c:v>14193</c:v>
                </c:pt>
                <c:pt idx="2713">
                  <c:v>14194</c:v>
                </c:pt>
                <c:pt idx="2714">
                  <c:v>14198</c:v>
                </c:pt>
                <c:pt idx="2715">
                  <c:v>14199</c:v>
                </c:pt>
                <c:pt idx="2716">
                  <c:v>14200</c:v>
                </c:pt>
                <c:pt idx="2717">
                  <c:v>14201</c:v>
                </c:pt>
                <c:pt idx="2718">
                  <c:v>14202</c:v>
                </c:pt>
                <c:pt idx="2719">
                  <c:v>14205</c:v>
                </c:pt>
                <c:pt idx="2720">
                  <c:v>14206</c:v>
                </c:pt>
                <c:pt idx="2721">
                  <c:v>14207</c:v>
                </c:pt>
                <c:pt idx="2722">
                  <c:v>14209</c:v>
                </c:pt>
                <c:pt idx="2723">
                  <c:v>14212</c:v>
                </c:pt>
                <c:pt idx="2724">
                  <c:v>14213</c:v>
                </c:pt>
                <c:pt idx="2725">
                  <c:v>14214</c:v>
                </c:pt>
                <c:pt idx="2726">
                  <c:v>14215</c:v>
                </c:pt>
                <c:pt idx="2727">
                  <c:v>14216</c:v>
                </c:pt>
                <c:pt idx="2728">
                  <c:v>14219</c:v>
                </c:pt>
                <c:pt idx="2729">
                  <c:v>14220</c:v>
                </c:pt>
                <c:pt idx="2730">
                  <c:v>14221</c:v>
                </c:pt>
                <c:pt idx="2731">
                  <c:v>14222</c:v>
                </c:pt>
                <c:pt idx="2732">
                  <c:v>14223</c:v>
                </c:pt>
                <c:pt idx="2733">
                  <c:v>14226</c:v>
                </c:pt>
                <c:pt idx="2734">
                  <c:v>14227</c:v>
                </c:pt>
                <c:pt idx="2735">
                  <c:v>14228</c:v>
                </c:pt>
                <c:pt idx="2736">
                  <c:v>14229</c:v>
                </c:pt>
                <c:pt idx="2737">
                  <c:v>14230</c:v>
                </c:pt>
                <c:pt idx="2738">
                  <c:v>14233</c:v>
                </c:pt>
                <c:pt idx="2739">
                  <c:v>14234</c:v>
                </c:pt>
                <c:pt idx="2740">
                  <c:v>14235</c:v>
                </c:pt>
                <c:pt idx="2741">
                  <c:v>14236</c:v>
                </c:pt>
                <c:pt idx="2742">
                  <c:v>14237</c:v>
                </c:pt>
                <c:pt idx="2743">
                  <c:v>14241</c:v>
                </c:pt>
                <c:pt idx="2744">
                  <c:v>14242</c:v>
                </c:pt>
                <c:pt idx="2745">
                  <c:v>14243</c:v>
                </c:pt>
                <c:pt idx="2746">
                  <c:v>14244</c:v>
                </c:pt>
                <c:pt idx="2747">
                  <c:v>14248</c:v>
                </c:pt>
                <c:pt idx="2748">
                  <c:v>14249</c:v>
                </c:pt>
                <c:pt idx="2749">
                  <c:v>14250</c:v>
                </c:pt>
                <c:pt idx="2750">
                  <c:v>14251</c:v>
                </c:pt>
                <c:pt idx="2751">
                  <c:v>14254</c:v>
                </c:pt>
                <c:pt idx="2752">
                  <c:v>14255</c:v>
                </c:pt>
                <c:pt idx="2753">
                  <c:v>14256</c:v>
                </c:pt>
                <c:pt idx="2754">
                  <c:v>14257</c:v>
                </c:pt>
                <c:pt idx="2755">
                  <c:v>14258</c:v>
                </c:pt>
                <c:pt idx="2756">
                  <c:v>14261</c:v>
                </c:pt>
                <c:pt idx="2757">
                  <c:v>14262</c:v>
                </c:pt>
                <c:pt idx="2758">
                  <c:v>14263</c:v>
                </c:pt>
                <c:pt idx="2759">
                  <c:v>14264</c:v>
                </c:pt>
                <c:pt idx="2760">
                  <c:v>14265</c:v>
                </c:pt>
                <c:pt idx="2761">
                  <c:v>14268</c:v>
                </c:pt>
                <c:pt idx="2762">
                  <c:v>14269</c:v>
                </c:pt>
                <c:pt idx="2763">
                  <c:v>14270</c:v>
                </c:pt>
                <c:pt idx="2764">
                  <c:v>14271</c:v>
                </c:pt>
                <c:pt idx="2765">
                  <c:v>14272</c:v>
                </c:pt>
                <c:pt idx="2766">
                  <c:v>14275</c:v>
                </c:pt>
                <c:pt idx="2767">
                  <c:v>14276</c:v>
                </c:pt>
                <c:pt idx="2768">
                  <c:v>14277</c:v>
                </c:pt>
                <c:pt idx="2769">
                  <c:v>14278</c:v>
                </c:pt>
                <c:pt idx="2770">
                  <c:v>14279</c:v>
                </c:pt>
                <c:pt idx="2771">
                  <c:v>14282</c:v>
                </c:pt>
                <c:pt idx="2772">
                  <c:v>14283</c:v>
                </c:pt>
                <c:pt idx="2773">
                  <c:v>14284</c:v>
                </c:pt>
                <c:pt idx="2774">
                  <c:v>14285</c:v>
                </c:pt>
                <c:pt idx="2775">
                  <c:v>14286</c:v>
                </c:pt>
                <c:pt idx="2776">
                  <c:v>14290</c:v>
                </c:pt>
                <c:pt idx="2777">
                  <c:v>14291</c:v>
                </c:pt>
                <c:pt idx="2778">
                  <c:v>14292</c:v>
                </c:pt>
                <c:pt idx="2779">
                  <c:v>14293</c:v>
                </c:pt>
                <c:pt idx="2780">
                  <c:v>14296</c:v>
                </c:pt>
                <c:pt idx="2781">
                  <c:v>14297</c:v>
                </c:pt>
                <c:pt idx="2782">
                  <c:v>14299</c:v>
                </c:pt>
                <c:pt idx="2783">
                  <c:v>14300</c:v>
                </c:pt>
                <c:pt idx="2784">
                  <c:v>14303</c:v>
                </c:pt>
                <c:pt idx="2785">
                  <c:v>14304</c:v>
                </c:pt>
                <c:pt idx="2786">
                  <c:v>14305</c:v>
                </c:pt>
                <c:pt idx="2787">
                  <c:v>14306</c:v>
                </c:pt>
                <c:pt idx="2788">
                  <c:v>14307</c:v>
                </c:pt>
                <c:pt idx="2789">
                  <c:v>14310</c:v>
                </c:pt>
                <c:pt idx="2790">
                  <c:v>14311</c:v>
                </c:pt>
                <c:pt idx="2791">
                  <c:v>14312</c:v>
                </c:pt>
                <c:pt idx="2792">
                  <c:v>14313</c:v>
                </c:pt>
                <c:pt idx="2793">
                  <c:v>14314</c:v>
                </c:pt>
                <c:pt idx="2794">
                  <c:v>14317</c:v>
                </c:pt>
                <c:pt idx="2795">
                  <c:v>14318</c:v>
                </c:pt>
                <c:pt idx="2796">
                  <c:v>14319</c:v>
                </c:pt>
                <c:pt idx="2797">
                  <c:v>14320</c:v>
                </c:pt>
                <c:pt idx="2798">
                  <c:v>14321</c:v>
                </c:pt>
                <c:pt idx="2799">
                  <c:v>14324</c:v>
                </c:pt>
                <c:pt idx="2800">
                  <c:v>14325</c:v>
                </c:pt>
                <c:pt idx="2801">
                  <c:v>14326</c:v>
                </c:pt>
                <c:pt idx="2802">
                  <c:v>14327</c:v>
                </c:pt>
                <c:pt idx="2803">
                  <c:v>14328</c:v>
                </c:pt>
                <c:pt idx="2804">
                  <c:v>14331</c:v>
                </c:pt>
                <c:pt idx="2805">
                  <c:v>14332</c:v>
                </c:pt>
                <c:pt idx="2806">
                  <c:v>14333</c:v>
                </c:pt>
                <c:pt idx="2807">
                  <c:v>14334</c:v>
                </c:pt>
                <c:pt idx="2808">
                  <c:v>14335</c:v>
                </c:pt>
                <c:pt idx="2809">
                  <c:v>14338</c:v>
                </c:pt>
                <c:pt idx="2810">
                  <c:v>14339</c:v>
                </c:pt>
                <c:pt idx="2811">
                  <c:v>14340</c:v>
                </c:pt>
                <c:pt idx="2812">
                  <c:v>14341</c:v>
                </c:pt>
                <c:pt idx="2813">
                  <c:v>14345</c:v>
                </c:pt>
                <c:pt idx="2814">
                  <c:v>14346</c:v>
                </c:pt>
                <c:pt idx="2815">
                  <c:v>14347</c:v>
                </c:pt>
                <c:pt idx="2816">
                  <c:v>14348</c:v>
                </c:pt>
                <c:pt idx="2817">
                  <c:v>14349</c:v>
                </c:pt>
                <c:pt idx="2818">
                  <c:v>14352</c:v>
                </c:pt>
                <c:pt idx="2819">
                  <c:v>14353</c:v>
                </c:pt>
                <c:pt idx="2820">
                  <c:v>14354</c:v>
                </c:pt>
                <c:pt idx="2821">
                  <c:v>14355</c:v>
                </c:pt>
                <c:pt idx="2822">
                  <c:v>14356</c:v>
                </c:pt>
                <c:pt idx="2823">
                  <c:v>14359</c:v>
                </c:pt>
                <c:pt idx="2824">
                  <c:v>14360</c:v>
                </c:pt>
                <c:pt idx="2825">
                  <c:v>14361</c:v>
                </c:pt>
                <c:pt idx="2826">
                  <c:v>14362</c:v>
                </c:pt>
                <c:pt idx="2827">
                  <c:v>14363</c:v>
                </c:pt>
                <c:pt idx="2828">
                  <c:v>14366</c:v>
                </c:pt>
                <c:pt idx="2829">
                  <c:v>14367</c:v>
                </c:pt>
                <c:pt idx="2830">
                  <c:v>14368</c:v>
                </c:pt>
                <c:pt idx="2831">
                  <c:v>14369</c:v>
                </c:pt>
                <c:pt idx="2832">
                  <c:v>14370</c:v>
                </c:pt>
                <c:pt idx="2833">
                  <c:v>14373</c:v>
                </c:pt>
                <c:pt idx="2834">
                  <c:v>14374</c:v>
                </c:pt>
                <c:pt idx="2835">
                  <c:v>14375</c:v>
                </c:pt>
                <c:pt idx="2836">
                  <c:v>14376</c:v>
                </c:pt>
                <c:pt idx="2837">
                  <c:v>14377</c:v>
                </c:pt>
                <c:pt idx="2838">
                  <c:v>14380</c:v>
                </c:pt>
                <c:pt idx="2839">
                  <c:v>14381</c:v>
                </c:pt>
                <c:pt idx="2840">
                  <c:v>14382</c:v>
                </c:pt>
                <c:pt idx="2841">
                  <c:v>14383</c:v>
                </c:pt>
                <c:pt idx="2842">
                  <c:v>14384</c:v>
                </c:pt>
                <c:pt idx="2843">
                  <c:v>14387</c:v>
                </c:pt>
                <c:pt idx="2844">
                  <c:v>14388</c:v>
                </c:pt>
                <c:pt idx="2845">
                  <c:v>14389</c:v>
                </c:pt>
                <c:pt idx="2846">
                  <c:v>14390</c:v>
                </c:pt>
                <c:pt idx="2847">
                  <c:v>14391</c:v>
                </c:pt>
                <c:pt idx="2848">
                  <c:v>14394</c:v>
                </c:pt>
                <c:pt idx="2849">
                  <c:v>14396</c:v>
                </c:pt>
                <c:pt idx="2850">
                  <c:v>14397</c:v>
                </c:pt>
                <c:pt idx="2851">
                  <c:v>14398</c:v>
                </c:pt>
                <c:pt idx="2852">
                  <c:v>14401</c:v>
                </c:pt>
                <c:pt idx="2853">
                  <c:v>14402</c:v>
                </c:pt>
                <c:pt idx="2854">
                  <c:v>14403</c:v>
                </c:pt>
                <c:pt idx="2855">
                  <c:v>14404</c:v>
                </c:pt>
                <c:pt idx="2856">
                  <c:v>14405</c:v>
                </c:pt>
                <c:pt idx="2857">
                  <c:v>14408</c:v>
                </c:pt>
                <c:pt idx="2858">
                  <c:v>14409</c:v>
                </c:pt>
                <c:pt idx="2859">
                  <c:v>14410</c:v>
                </c:pt>
                <c:pt idx="2860">
                  <c:v>14411</c:v>
                </c:pt>
                <c:pt idx="2861">
                  <c:v>14412</c:v>
                </c:pt>
                <c:pt idx="2862">
                  <c:v>14415</c:v>
                </c:pt>
                <c:pt idx="2863">
                  <c:v>14416</c:v>
                </c:pt>
                <c:pt idx="2864">
                  <c:v>14417</c:v>
                </c:pt>
                <c:pt idx="2865">
                  <c:v>14418</c:v>
                </c:pt>
                <c:pt idx="2866">
                  <c:v>14419</c:v>
                </c:pt>
                <c:pt idx="2867">
                  <c:v>14422</c:v>
                </c:pt>
                <c:pt idx="2868">
                  <c:v>14423</c:v>
                </c:pt>
                <c:pt idx="2869">
                  <c:v>14424</c:v>
                </c:pt>
                <c:pt idx="2870">
                  <c:v>14425</c:v>
                </c:pt>
                <c:pt idx="2871">
                  <c:v>14426</c:v>
                </c:pt>
                <c:pt idx="2872">
                  <c:v>14429</c:v>
                </c:pt>
                <c:pt idx="2873">
                  <c:v>14431</c:v>
                </c:pt>
                <c:pt idx="2874">
                  <c:v>14432</c:v>
                </c:pt>
                <c:pt idx="2875">
                  <c:v>14433</c:v>
                </c:pt>
                <c:pt idx="2876">
                  <c:v>14436</c:v>
                </c:pt>
                <c:pt idx="2877">
                  <c:v>14437</c:v>
                </c:pt>
                <c:pt idx="2878">
                  <c:v>14438</c:v>
                </c:pt>
                <c:pt idx="2879">
                  <c:v>14439</c:v>
                </c:pt>
                <c:pt idx="2880">
                  <c:v>14440</c:v>
                </c:pt>
                <c:pt idx="2881">
                  <c:v>14443</c:v>
                </c:pt>
                <c:pt idx="2882">
                  <c:v>14444</c:v>
                </c:pt>
                <c:pt idx="2883">
                  <c:v>14445</c:v>
                </c:pt>
                <c:pt idx="2884">
                  <c:v>14446</c:v>
                </c:pt>
                <c:pt idx="2885">
                  <c:v>14447</c:v>
                </c:pt>
                <c:pt idx="2886">
                  <c:v>14450</c:v>
                </c:pt>
                <c:pt idx="2887">
                  <c:v>14451</c:v>
                </c:pt>
                <c:pt idx="2888">
                  <c:v>14452</c:v>
                </c:pt>
                <c:pt idx="2889">
                  <c:v>14453</c:v>
                </c:pt>
                <c:pt idx="2890">
                  <c:v>14454</c:v>
                </c:pt>
                <c:pt idx="2891">
                  <c:v>14457</c:v>
                </c:pt>
                <c:pt idx="2892">
                  <c:v>14458</c:v>
                </c:pt>
                <c:pt idx="2893">
                  <c:v>14459</c:v>
                </c:pt>
                <c:pt idx="2894">
                  <c:v>14460</c:v>
                </c:pt>
                <c:pt idx="2895">
                  <c:v>14461</c:v>
                </c:pt>
                <c:pt idx="2896">
                  <c:v>14464</c:v>
                </c:pt>
                <c:pt idx="2897">
                  <c:v>14465</c:v>
                </c:pt>
                <c:pt idx="2898">
                  <c:v>14466</c:v>
                </c:pt>
                <c:pt idx="2899">
                  <c:v>14467</c:v>
                </c:pt>
                <c:pt idx="2900">
                  <c:v>14468</c:v>
                </c:pt>
                <c:pt idx="2901">
                  <c:v>14471</c:v>
                </c:pt>
                <c:pt idx="2902">
                  <c:v>14472</c:v>
                </c:pt>
                <c:pt idx="2903">
                  <c:v>14473</c:v>
                </c:pt>
                <c:pt idx="2904">
                  <c:v>14474</c:v>
                </c:pt>
                <c:pt idx="2905">
                  <c:v>14475</c:v>
                </c:pt>
                <c:pt idx="2906">
                  <c:v>14478</c:v>
                </c:pt>
                <c:pt idx="2907">
                  <c:v>14479</c:v>
                </c:pt>
                <c:pt idx="2908">
                  <c:v>14480</c:v>
                </c:pt>
                <c:pt idx="2909">
                  <c:v>14481</c:v>
                </c:pt>
                <c:pt idx="2910">
                  <c:v>14482</c:v>
                </c:pt>
                <c:pt idx="2911">
                  <c:v>14485</c:v>
                </c:pt>
                <c:pt idx="2912">
                  <c:v>14486</c:v>
                </c:pt>
                <c:pt idx="2913">
                  <c:v>14487</c:v>
                </c:pt>
                <c:pt idx="2914">
                  <c:v>14488</c:v>
                </c:pt>
                <c:pt idx="2915">
                  <c:v>14489</c:v>
                </c:pt>
                <c:pt idx="2916">
                  <c:v>14493</c:v>
                </c:pt>
                <c:pt idx="2917">
                  <c:v>14494</c:v>
                </c:pt>
                <c:pt idx="2918">
                  <c:v>14495</c:v>
                </c:pt>
                <c:pt idx="2919">
                  <c:v>14496</c:v>
                </c:pt>
                <c:pt idx="2920">
                  <c:v>14499</c:v>
                </c:pt>
                <c:pt idx="2921">
                  <c:v>14500</c:v>
                </c:pt>
                <c:pt idx="2922">
                  <c:v>14501</c:v>
                </c:pt>
                <c:pt idx="2923">
                  <c:v>14502</c:v>
                </c:pt>
                <c:pt idx="2924">
                  <c:v>14503</c:v>
                </c:pt>
                <c:pt idx="2925">
                  <c:v>14506</c:v>
                </c:pt>
                <c:pt idx="2926">
                  <c:v>14507</c:v>
                </c:pt>
                <c:pt idx="2927">
                  <c:v>14508</c:v>
                </c:pt>
                <c:pt idx="2928">
                  <c:v>14509</c:v>
                </c:pt>
                <c:pt idx="2929">
                  <c:v>14510</c:v>
                </c:pt>
                <c:pt idx="2930">
                  <c:v>14513</c:v>
                </c:pt>
                <c:pt idx="2931">
                  <c:v>14514</c:v>
                </c:pt>
                <c:pt idx="2932">
                  <c:v>14515</c:v>
                </c:pt>
                <c:pt idx="2933">
                  <c:v>14516</c:v>
                </c:pt>
                <c:pt idx="2934">
                  <c:v>14517</c:v>
                </c:pt>
                <c:pt idx="2935">
                  <c:v>14520</c:v>
                </c:pt>
                <c:pt idx="2936">
                  <c:v>14521</c:v>
                </c:pt>
                <c:pt idx="2937">
                  <c:v>14522</c:v>
                </c:pt>
                <c:pt idx="2938">
                  <c:v>14523</c:v>
                </c:pt>
                <c:pt idx="2939">
                  <c:v>14524</c:v>
                </c:pt>
                <c:pt idx="2940">
                  <c:v>14527</c:v>
                </c:pt>
                <c:pt idx="2941">
                  <c:v>14528</c:v>
                </c:pt>
                <c:pt idx="2942">
                  <c:v>14529</c:v>
                </c:pt>
                <c:pt idx="2943">
                  <c:v>14531</c:v>
                </c:pt>
                <c:pt idx="2944">
                  <c:v>14534</c:v>
                </c:pt>
                <c:pt idx="2945">
                  <c:v>14535</c:v>
                </c:pt>
                <c:pt idx="2946">
                  <c:v>14536</c:v>
                </c:pt>
                <c:pt idx="2947">
                  <c:v>14537</c:v>
                </c:pt>
                <c:pt idx="2948">
                  <c:v>14538</c:v>
                </c:pt>
                <c:pt idx="2949">
                  <c:v>14541</c:v>
                </c:pt>
                <c:pt idx="2950">
                  <c:v>14542</c:v>
                </c:pt>
                <c:pt idx="2951">
                  <c:v>14543</c:v>
                </c:pt>
                <c:pt idx="2952">
                  <c:v>14544</c:v>
                </c:pt>
                <c:pt idx="2953">
                  <c:v>14545</c:v>
                </c:pt>
                <c:pt idx="2954">
                  <c:v>14548</c:v>
                </c:pt>
                <c:pt idx="2955">
                  <c:v>14549</c:v>
                </c:pt>
                <c:pt idx="2956">
                  <c:v>14550</c:v>
                </c:pt>
                <c:pt idx="2957">
                  <c:v>14551</c:v>
                </c:pt>
                <c:pt idx="2958">
                  <c:v>14552</c:v>
                </c:pt>
                <c:pt idx="2959">
                  <c:v>14555</c:v>
                </c:pt>
                <c:pt idx="2960">
                  <c:v>14557</c:v>
                </c:pt>
                <c:pt idx="2961">
                  <c:v>14558</c:v>
                </c:pt>
                <c:pt idx="2962">
                  <c:v>14559</c:v>
                </c:pt>
                <c:pt idx="2963">
                  <c:v>14562</c:v>
                </c:pt>
                <c:pt idx="2964">
                  <c:v>14563</c:v>
                </c:pt>
                <c:pt idx="2965">
                  <c:v>14564</c:v>
                </c:pt>
                <c:pt idx="2966">
                  <c:v>14565</c:v>
                </c:pt>
                <c:pt idx="2967">
                  <c:v>14566</c:v>
                </c:pt>
                <c:pt idx="2968">
                  <c:v>14569</c:v>
                </c:pt>
                <c:pt idx="2969">
                  <c:v>14570</c:v>
                </c:pt>
                <c:pt idx="2970">
                  <c:v>14571</c:v>
                </c:pt>
                <c:pt idx="2971">
                  <c:v>14573</c:v>
                </c:pt>
                <c:pt idx="2972">
                  <c:v>14576</c:v>
                </c:pt>
                <c:pt idx="2973">
                  <c:v>14577</c:v>
                </c:pt>
                <c:pt idx="2974">
                  <c:v>14578</c:v>
                </c:pt>
                <c:pt idx="2975">
                  <c:v>14579</c:v>
                </c:pt>
                <c:pt idx="2976">
                  <c:v>14580</c:v>
                </c:pt>
                <c:pt idx="2977">
                  <c:v>14583</c:v>
                </c:pt>
                <c:pt idx="2978">
                  <c:v>14584</c:v>
                </c:pt>
                <c:pt idx="2979">
                  <c:v>14585</c:v>
                </c:pt>
                <c:pt idx="2980">
                  <c:v>14586</c:v>
                </c:pt>
                <c:pt idx="2981">
                  <c:v>14587</c:v>
                </c:pt>
                <c:pt idx="2982">
                  <c:v>14590</c:v>
                </c:pt>
                <c:pt idx="2983">
                  <c:v>14591</c:v>
                </c:pt>
                <c:pt idx="2984">
                  <c:v>14592</c:v>
                </c:pt>
                <c:pt idx="2985">
                  <c:v>14593</c:v>
                </c:pt>
                <c:pt idx="2986">
                  <c:v>14594</c:v>
                </c:pt>
                <c:pt idx="2987">
                  <c:v>14597</c:v>
                </c:pt>
                <c:pt idx="2988">
                  <c:v>14598</c:v>
                </c:pt>
                <c:pt idx="2989">
                  <c:v>14599</c:v>
                </c:pt>
                <c:pt idx="2990">
                  <c:v>14600</c:v>
                </c:pt>
                <c:pt idx="2991">
                  <c:v>14601</c:v>
                </c:pt>
                <c:pt idx="2992">
                  <c:v>14605</c:v>
                </c:pt>
                <c:pt idx="2993">
                  <c:v>14606</c:v>
                </c:pt>
                <c:pt idx="2994">
                  <c:v>14607</c:v>
                </c:pt>
                <c:pt idx="2995">
                  <c:v>14608</c:v>
                </c:pt>
                <c:pt idx="2996">
                  <c:v>14612</c:v>
                </c:pt>
                <c:pt idx="2997">
                  <c:v>14613</c:v>
                </c:pt>
                <c:pt idx="2998">
                  <c:v>14614</c:v>
                </c:pt>
                <c:pt idx="2999">
                  <c:v>14615</c:v>
                </c:pt>
                <c:pt idx="3000">
                  <c:v>14618</c:v>
                </c:pt>
                <c:pt idx="3001">
                  <c:v>14619</c:v>
                </c:pt>
                <c:pt idx="3002">
                  <c:v>14620</c:v>
                </c:pt>
                <c:pt idx="3003">
                  <c:v>14621</c:v>
                </c:pt>
                <c:pt idx="3004">
                  <c:v>14622</c:v>
                </c:pt>
                <c:pt idx="3005">
                  <c:v>14625</c:v>
                </c:pt>
                <c:pt idx="3006">
                  <c:v>14626</c:v>
                </c:pt>
                <c:pt idx="3007">
                  <c:v>14627</c:v>
                </c:pt>
                <c:pt idx="3008">
                  <c:v>14628</c:v>
                </c:pt>
                <c:pt idx="3009">
                  <c:v>14629</c:v>
                </c:pt>
                <c:pt idx="3010">
                  <c:v>14632</c:v>
                </c:pt>
                <c:pt idx="3011">
                  <c:v>14633</c:v>
                </c:pt>
                <c:pt idx="3012">
                  <c:v>14634</c:v>
                </c:pt>
                <c:pt idx="3013">
                  <c:v>14635</c:v>
                </c:pt>
                <c:pt idx="3014">
                  <c:v>14636</c:v>
                </c:pt>
                <c:pt idx="3015">
                  <c:v>14639</c:v>
                </c:pt>
                <c:pt idx="3016">
                  <c:v>14640</c:v>
                </c:pt>
                <c:pt idx="3017">
                  <c:v>14641</c:v>
                </c:pt>
                <c:pt idx="3018">
                  <c:v>14642</c:v>
                </c:pt>
                <c:pt idx="3019">
                  <c:v>14643</c:v>
                </c:pt>
                <c:pt idx="3020">
                  <c:v>14646</c:v>
                </c:pt>
                <c:pt idx="3021">
                  <c:v>14647</c:v>
                </c:pt>
                <c:pt idx="3022">
                  <c:v>14648</c:v>
                </c:pt>
                <c:pt idx="3023">
                  <c:v>14649</c:v>
                </c:pt>
                <c:pt idx="3024">
                  <c:v>14650</c:v>
                </c:pt>
                <c:pt idx="3025">
                  <c:v>14654</c:v>
                </c:pt>
                <c:pt idx="3026">
                  <c:v>14655</c:v>
                </c:pt>
                <c:pt idx="3027">
                  <c:v>14656</c:v>
                </c:pt>
                <c:pt idx="3028">
                  <c:v>14657</c:v>
                </c:pt>
                <c:pt idx="3029">
                  <c:v>14660</c:v>
                </c:pt>
                <c:pt idx="3030">
                  <c:v>14661</c:v>
                </c:pt>
                <c:pt idx="3031">
                  <c:v>14662</c:v>
                </c:pt>
                <c:pt idx="3032">
                  <c:v>14664</c:v>
                </c:pt>
                <c:pt idx="3033">
                  <c:v>14667</c:v>
                </c:pt>
                <c:pt idx="3034">
                  <c:v>14668</c:v>
                </c:pt>
                <c:pt idx="3035">
                  <c:v>14669</c:v>
                </c:pt>
                <c:pt idx="3036">
                  <c:v>14670</c:v>
                </c:pt>
                <c:pt idx="3037">
                  <c:v>14671</c:v>
                </c:pt>
                <c:pt idx="3038">
                  <c:v>14674</c:v>
                </c:pt>
                <c:pt idx="3039">
                  <c:v>14675</c:v>
                </c:pt>
                <c:pt idx="3040">
                  <c:v>14676</c:v>
                </c:pt>
                <c:pt idx="3041">
                  <c:v>14677</c:v>
                </c:pt>
                <c:pt idx="3042">
                  <c:v>14678</c:v>
                </c:pt>
                <c:pt idx="3043">
                  <c:v>14681</c:v>
                </c:pt>
                <c:pt idx="3044">
                  <c:v>14682</c:v>
                </c:pt>
                <c:pt idx="3045">
                  <c:v>14683</c:v>
                </c:pt>
                <c:pt idx="3046">
                  <c:v>14684</c:v>
                </c:pt>
                <c:pt idx="3047">
                  <c:v>14685</c:v>
                </c:pt>
                <c:pt idx="3048">
                  <c:v>14688</c:v>
                </c:pt>
                <c:pt idx="3049">
                  <c:v>14689</c:v>
                </c:pt>
                <c:pt idx="3050">
                  <c:v>14690</c:v>
                </c:pt>
                <c:pt idx="3051">
                  <c:v>14691</c:v>
                </c:pt>
                <c:pt idx="3052">
                  <c:v>14695</c:v>
                </c:pt>
                <c:pt idx="3053">
                  <c:v>14696</c:v>
                </c:pt>
                <c:pt idx="3054">
                  <c:v>14697</c:v>
                </c:pt>
                <c:pt idx="3055">
                  <c:v>14698</c:v>
                </c:pt>
                <c:pt idx="3056">
                  <c:v>14699</c:v>
                </c:pt>
                <c:pt idx="3057">
                  <c:v>14702</c:v>
                </c:pt>
                <c:pt idx="3058">
                  <c:v>14703</c:v>
                </c:pt>
                <c:pt idx="3059">
                  <c:v>14704</c:v>
                </c:pt>
                <c:pt idx="3060">
                  <c:v>14705</c:v>
                </c:pt>
                <c:pt idx="3061">
                  <c:v>14706</c:v>
                </c:pt>
                <c:pt idx="3062">
                  <c:v>14709</c:v>
                </c:pt>
                <c:pt idx="3063">
                  <c:v>14710</c:v>
                </c:pt>
                <c:pt idx="3064">
                  <c:v>14711</c:v>
                </c:pt>
                <c:pt idx="3065">
                  <c:v>14712</c:v>
                </c:pt>
                <c:pt idx="3066">
                  <c:v>14713</c:v>
                </c:pt>
                <c:pt idx="3067">
                  <c:v>14716</c:v>
                </c:pt>
                <c:pt idx="3068">
                  <c:v>14717</c:v>
                </c:pt>
                <c:pt idx="3069">
                  <c:v>14718</c:v>
                </c:pt>
                <c:pt idx="3070">
                  <c:v>14719</c:v>
                </c:pt>
                <c:pt idx="3071">
                  <c:v>14720</c:v>
                </c:pt>
                <c:pt idx="3072">
                  <c:v>14723</c:v>
                </c:pt>
                <c:pt idx="3073">
                  <c:v>14724</c:v>
                </c:pt>
                <c:pt idx="3074">
                  <c:v>14725</c:v>
                </c:pt>
                <c:pt idx="3075">
                  <c:v>14726</c:v>
                </c:pt>
                <c:pt idx="3076">
                  <c:v>14727</c:v>
                </c:pt>
                <c:pt idx="3077">
                  <c:v>14730</c:v>
                </c:pt>
                <c:pt idx="3078">
                  <c:v>14731</c:v>
                </c:pt>
                <c:pt idx="3079">
                  <c:v>14732</c:v>
                </c:pt>
                <c:pt idx="3080">
                  <c:v>14733</c:v>
                </c:pt>
                <c:pt idx="3081">
                  <c:v>14734</c:v>
                </c:pt>
                <c:pt idx="3082">
                  <c:v>14737</c:v>
                </c:pt>
                <c:pt idx="3083">
                  <c:v>14738</c:v>
                </c:pt>
                <c:pt idx="3084">
                  <c:v>14739</c:v>
                </c:pt>
                <c:pt idx="3085">
                  <c:v>14740</c:v>
                </c:pt>
                <c:pt idx="3086">
                  <c:v>14741</c:v>
                </c:pt>
                <c:pt idx="3087">
                  <c:v>14744</c:v>
                </c:pt>
                <c:pt idx="3088">
                  <c:v>14745</c:v>
                </c:pt>
                <c:pt idx="3089">
                  <c:v>14746</c:v>
                </c:pt>
                <c:pt idx="3090">
                  <c:v>14747</c:v>
                </c:pt>
                <c:pt idx="3091">
                  <c:v>14748</c:v>
                </c:pt>
                <c:pt idx="3092">
                  <c:v>14751</c:v>
                </c:pt>
                <c:pt idx="3093">
                  <c:v>14752</c:v>
                </c:pt>
                <c:pt idx="3094">
                  <c:v>14753</c:v>
                </c:pt>
                <c:pt idx="3095">
                  <c:v>14754</c:v>
                </c:pt>
                <c:pt idx="3096">
                  <c:v>14755</c:v>
                </c:pt>
                <c:pt idx="3097">
                  <c:v>14758</c:v>
                </c:pt>
                <c:pt idx="3098">
                  <c:v>14759</c:v>
                </c:pt>
                <c:pt idx="3099">
                  <c:v>14760</c:v>
                </c:pt>
                <c:pt idx="3100">
                  <c:v>14762</c:v>
                </c:pt>
                <c:pt idx="3101">
                  <c:v>14765</c:v>
                </c:pt>
                <c:pt idx="3102">
                  <c:v>14766</c:v>
                </c:pt>
                <c:pt idx="3103">
                  <c:v>14767</c:v>
                </c:pt>
                <c:pt idx="3104">
                  <c:v>14768</c:v>
                </c:pt>
                <c:pt idx="3105">
                  <c:v>14769</c:v>
                </c:pt>
                <c:pt idx="3106">
                  <c:v>14772</c:v>
                </c:pt>
                <c:pt idx="3107">
                  <c:v>14773</c:v>
                </c:pt>
                <c:pt idx="3108">
                  <c:v>14774</c:v>
                </c:pt>
                <c:pt idx="3109">
                  <c:v>14775</c:v>
                </c:pt>
                <c:pt idx="3110">
                  <c:v>14776</c:v>
                </c:pt>
                <c:pt idx="3111">
                  <c:v>14779</c:v>
                </c:pt>
                <c:pt idx="3112">
                  <c:v>14780</c:v>
                </c:pt>
                <c:pt idx="3113">
                  <c:v>14781</c:v>
                </c:pt>
                <c:pt idx="3114">
                  <c:v>14782</c:v>
                </c:pt>
                <c:pt idx="3115">
                  <c:v>14783</c:v>
                </c:pt>
                <c:pt idx="3116">
                  <c:v>14786</c:v>
                </c:pt>
                <c:pt idx="3117">
                  <c:v>14787</c:v>
                </c:pt>
                <c:pt idx="3118">
                  <c:v>14788</c:v>
                </c:pt>
                <c:pt idx="3119">
                  <c:v>14789</c:v>
                </c:pt>
                <c:pt idx="3120">
                  <c:v>14790</c:v>
                </c:pt>
                <c:pt idx="3121">
                  <c:v>14793</c:v>
                </c:pt>
                <c:pt idx="3122">
                  <c:v>14794</c:v>
                </c:pt>
                <c:pt idx="3123">
                  <c:v>14795</c:v>
                </c:pt>
                <c:pt idx="3124">
                  <c:v>14797</c:v>
                </c:pt>
                <c:pt idx="3125">
                  <c:v>14800</c:v>
                </c:pt>
                <c:pt idx="3126">
                  <c:v>14801</c:v>
                </c:pt>
                <c:pt idx="3127">
                  <c:v>14802</c:v>
                </c:pt>
                <c:pt idx="3128">
                  <c:v>14803</c:v>
                </c:pt>
                <c:pt idx="3129">
                  <c:v>14804</c:v>
                </c:pt>
                <c:pt idx="3130">
                  <c:v>14807</c:v>
                </c:pt>
                <c:pt idx="3131">
                  <c:v>14808</c:v>
                </c:pt>
                <c:pt idx="3132">
                  <c:v>14809</c:v>
                </c:pt>
                <c:pt idx="3133">
                  <c:v>14810</c:v>
                </c:pt>
                <c:pt idx="3134">
                  <c:v>14811</c:v>
                </c:pt>
                <c:pt idx="3135">
                  <c:v>14814</c:v>
                </c:pt>
                <c:pt idx="3136">
                  <c:v>14815</c:v>
                </c:pt>
                <c:pt idx="3137">
                  <c:v>14816</c:v>
                </c:pt>
                <c:pt idx="3138">
                  <c:v>14817</c:v>
                </c:pt>
                <c:pt idx="3139">
                  <c:v>14818</c:v>
                </c:pt>
                <c:pt idx="3140">
                  <c:v>14821</c:v>
                </c:pt>
                <c:pt idx="3141">
                  <c:v>14822</c:v>
                </c:pt>
                <c:pt idx="3142">
                  <c:v>14823</c:v>
                </c:pt>
                <c:pt idx="3143">
                  <c:v>14824</c:v>
                </c:pt>
                <c:pt idx="3144">
                  <c:v>14825</c:v>
                </c:pt>
                <c:pt idx="3145">
                  <c:v>14828</c:v>
                </c:pt>
                <c:pt idx="3146">
                  <c:v>14829</c:v>
                </c:pt>
                <c:pt idx="3147">
                  <c:v>14830</c:v>
                </c:pt>
                <c:pt idx="3148">
                  <c:v>14831</c:v>
                </c:pt>
                <c:pt idx="3149">
                  <c:v>14832</c:v>
                </c:pt>
                <c:pt idx="3150">
                  <c:v>14835</c:v>
                </c:pt>
                <c:pt idx="3151">
                  <c:v>14836</c:v>
                </c:pt>
                <c:pt idx="3152">
                  <c:v>14837</c:v>
                </c:pt>
                <c:pt idx="3153">
                  <c:v>14838</c:v>
                </c:pt>
                <c:pt idx="3154">
                  <c:v>14839</c:v>
                </c:pt>
                <c:pt idx="3155">
                  <c:v>14842</c:v>
                </c:pt>
                <c:pt idx="3156">
                  <c:v>14843</c:v>
                </c:pt>
                <c:pt idx="3157">
                  <c:v>14844</c:v>
                </c:pt>
                <c:pt idx="3158">
                  <c:v>14845</c:v>
                </c:pt>
                <c:pt idx="3159">
                  <c:v>14846</c:v>
                </c:pt>
                <c:pt idx="3160">
                  <c:v>14849</c:v>
                </c:pt>
                <c:pt idx="3161">
                  <c:v>14850</c:v>
                </c:pt>
                <c:pt idx="3162">
                  <c:v>14851</c:v>
                </c:pt>
                <c:pt idx="3163">
                  <c:v>14852</c:v>
                </c:pt>
                <c:pt idx="3164">
                  <c:v>14853</c:v>
                </c:pt>
                <c:pt idx="3165">
                  <c:v>14857</c:v>
                </c:pt>
                <c:pt idx="3166">
                  <c:v>14858</c:v>
                </c:pt>
                <c:pt idx="3167">
                  <c:v>14859</c:v>
                </c:pt>
                <c:pt idx="3168">
                  <c:v>14860</c:v>
                </c:pt>
                <c:pt idx="3169">
                  <c:v>14863</c:v>
                </c:pt>
                <c:pt idx="3170">
                  <c:v>14864</c:v>
                </c:pt>
                <c:pt idx="3171">
                  <c:v>14865</c:v>
                </c:pt>
                <c:pt idx="3172">
                  <c:v>14866</c:v>
                </c:pt>
                <c:pt idx="3173">
                  <c:v>14867</c:v>
                </c:pt>
                <c:pt idx="3174">
                  <c:v>14870</c:v>
                </c:pt>
                <c:pt idx="3175">
                  <c:v>14871</c:v>
                </c:pt>
                <c:pt idx="3176">
                  <c:v>14872</c:v>
                </c:pt>
                <c:pt idx="3177">
                  <c:v>14873</c:v>
                </c:pt>
                <c:pt idx="3178">
                  <c:v>14874</c:v>
                </c:pt>
                <c:pt idx="3179">
                  <c:v>14877</c:v>
                </c:pt>
                <c:pt idx="3180">
                  <c:v>14878</c:v>
                </c:pt>
                <c:pt idx="3181">
                  <c:v>14879</c:v>
                </c:pt>
                <c:pt idx="3182">
                  <c:v>14880</c:v>
                </c:pt>
                <c:pt idx="3183">
                  <c:v>14881</c:v>
                </c:pt>
                <c:pt idx="3184">
                  <c:v>14884</c:v>
                </c:pt>
                <c:pt idx="3185">
                  <c:v>14885</c:v>
                </c:pt>
                <c:pt idx="3186">
                  <c:v>14886</c:v>
                </c:pt>
                <c:pt idx="3187">
                  <c:v>14887</c:v>
                </c:pt>
                <c:pt idx="3188">
                  <c:v>14888</c:v>
                </c:pt>
                <c:pt idx="3189">
                  <c:v>14891</c:v>
                </c:pt>
                <c:pt idx="3190">
                  <c:v>14892</c:v>
                </c:pt>
                <c:pt idx="3191">
                  <c:v>14893</c:v>
                </c:pt>
                <c:pt idx="3192">
                  <c:v>14894</c:v>
                </c:pt>
                <c:pt idx="3193">
                  <c:v>14895</c:v>
                </c:pt>
                <c:pt idx="3194">
                  <c:v>14898</c:v>
                </c:pt>
                <c:pt idx="3195">
                  <c:v>14899</c:v>
                </c:pt>
                <c:pt idx="3196">
                  <c:v>14900</c:v>
                </c:pt>
                <c:pt idx="3197">
                  <c:v>14901</c:v>
                </c:pt>
                <c:pt idx="3198">
                  <c:v>14902</c:v>
                </c:pt>
                <c:pt idx="3199">
                  <c:v>14905</c:v>
                </c:pt>
                <c:pt idx="3200">
                  <c:v>14906</c:v>
                </c:pt>
                <c:pt idx="3201">
                  <c:v>14907</c:v>
                </c:pt>
                <c:pt idx="3202">
                  <c:v>14908</c:v>
                </c:pt>
                <c:pt idx="3203">
                  <c:v>14909</c:v>
                </c:pt>
                <c:pt idx="3204">
                  <c:v>14912</c:v>
                </c:pt>
                <c:pt idx="3205">
                  <c:v>14913</c:v>
                </c:pt>
                <c:pt idx="3206">
                  <c:v>14914</c:v>
                </c:pt>
                <c:pt idx="3207">
                  <c:v>14915</c:v>
                </c:pt>
                <c:pt idx="3208">
                  <c:v>14916</c:v>
                </c:pt>
                <c:pt idx="3209">
                  <c:v>14919</c:v>
                </c:pt>
                <c:pt idx="3210">
                  <c:v>14921</c:v>
                </c:pt>
                <c:pt idx="3211">
                  <c:v>14922</c:v>
                </c:pt>
                <c:pt idx="3212">
                  <c:v>14923</c:v>
                </c:pt>
                <c:pt idx="3213">
                  <c:v>14927</c:v>
                </c:pt>
                <c:pt idx="3214">
                  <c:v>14928</c:v>
                </c:pt>
                <c:pt idx="3215">
                  <c:v>14929</c:v>
                </c:pt>
                <c:pt idx="3216">
                  <c:v>14930</c:v>
                </c:pt>
                <c:pt idx="3217">
                  <c:v>14933</c:v>
                </c:pt>
                <c:pt idx="3218">
                  <c:v>14934</c:v>
                </c:pt>
                <c:pt idx="3219">
                  <c:v>14935</c:v>
                </c:pt>
                <c:pt idx="3220">
                  <c:v>14937</c:v>
                </c:pt>
                <c:pt idx="3221">
                  <c:v>14940</c:v>
                </c:pt>
                <c:pt idx="3222">
                  <c:v>14941</c:v>
                </c:pt>
                <c:pt idx="3223">
                  <c:v>14942</c:v>
                </c:pt>
                <c:pt idx="3224">
                  <c:v>14943</c:v>
                </c:pt>
                <c:pt idx="3225">
                  <c:v>14944</c:v>
                </c:pt>
                <c:pt idx="3226">
                  <c:v>14947</c:v>
                </c:pt>
                <c:pt idx="3227">
                  <c:v>14948</c:v>
                </c:pt>
                <c:pt idx="3228">
                  <c:v>14949</c:v>
                </c:pt>
                <c:pt idx="3229">
                  <c:v>14950</c:v>
                </c:pt>
                <c:pt idx="3230">
                  <c:v>14951</c:v>
                </c:pt>
                <c:pt idx="3231">
                  <c:v>14954</c:v>
                </c:pt>
                <c:pt idx="3232">
                  <c:v>14955</c:v>
                </c:pt>
                <c:pt idx="3233">
                  <c:v>14956</c:v>
                </c:pt>
                <c:pt idx="3234">
                  <c:v>14957</c:v>
                </c:pt>
                <c:pt idx="3235">
                  <c:v>14958</c:v>
                </c:pt>
                <c:pt idx="3236">
                  <c:v>14961</c:v>
                </c:pt>
                <c:pt idx="3237">
                  <c:v>14962</c:v>
                </c:pt>
                <c:pt idx="3238">
                  <c:v>14963</c:v>
                </c:pt>
                <c:pt idx="3239">
                  <c:v>14964</c:v>
                </c:pt>
                <c:pt idx="3240">
                  <c:v>14965</c:v>
                </c:pt>
                <c:pt idx="3241">
                  <c:v>14968</c:v>
                </c:pt>
                <c:pt idx="3242">
                  <c:v>14969</c:v>
                </c:pt>
                <c:pt idx="3243">
                  <c:v>14971</c:v>
                </c:pt>
                <c:pt idx="3244">
                  <c:v>14972</c:v>
                </c:pt>
                <c:pt idx="3245">
                  <c:v>14975</c:v>
                </c:pt>
                <c:pt idx="3246">
                  <c:v>14976</c:v>
                </c:pt>
                <c:pt idx="3247">
                  <c:v>14978</c:v>
                </c:pt>
                <c:pt idx="3248">
                  <c:v>14979</c:v>
                </c:pt>
                <c:pt idx="3249">
                  <c:v>14982</c:v>
                </c:pt>
                <c:pt idx="3250">
                  <c:v>14983</c:v>
                </c:pt>
                <c:pt idx="3251">
                  <c:v>14984</c:v>
                </c:pt>
                <c:pt idx="3252">
                  <c:v>14985</c:v>
                </c:pt>
                <c:pt idx="3253">
                  <c:v>14986</c:v>
                </c:pt>
                <c:pt idx="3254">
                  <c:v>14989</c:v>
                </c:pt>
                <c:pt idx="3255">
                  <c:v>14990</c:v>
                </c:pt>
                <c:pt idx="3256">
                  <c:v>14991</c:v>
                </c:pt>
                <c:pt idx="3257">
                  <c:v>14992</c:v>
                </c:pt>
                <c:pt idx="3258">
                  <c:v>14993</c:v>
                </c:pt>
                <c:pt idx="3259">
                  <c:v>14996</c:v>
                </c:pt>
                <c:pt idx="3260">
                  <c:v>14997</c:v>
                </c:pt>
                <c:pt idx="3261">
                  <c:v>14998</c:v>
                </c:pt>
                <c:pt idx="3262">
                  <c:v>14999</c:v>
                </c:pt>
                <c:pt idx="3263">
                  <c:v>15000</c:v>
                </c:pt>
                <c:pt idx="3264">
                  <c:v>15003</c:v>
                </c:pt>
                <c:pt idx="3265">
                  <c:v>15004</c:v>
                </c:pt>
                <c:pt idx="3266">
                  <c:v>15005</c:v>
                </c:pt>
                <c:pt idx="3267">
                  <c:v>15006</c:v>
                </c:pt>
                <c:pt idx="3268">
                  <c:v>15007</c:v>
                </c:pt>
                <c:pt idx="3269">
                  <c:v>15010</c:v>
                </c:pt>
                <c:pt idx="3270">
                  <c:v>15011</c:v>
                </c:pt>
                <c:pt idx="3271">
                  <c:v>15012</c:v>
                </c:pt>
                <c:pt idx="3272">
                  <c:v>15013</c:v>
                </c:pt>
                <c:pt idx="3273">
                  <c:v>15014</c:v>
                </c:pt>
                <c:pt idx="3274">
                  <c:v>15017</c:v>
                </c:pt>
                <c:pt idx="3275">
                  <c:v>15018</c:v>
                </c:pt>
                <c:pt idx="3276">
                  <c:v>15020</c:v>
                </c:pt>
                <c:pt idx="3277">
                  <c:v>15021</c:v>
                </c:pt>
                <c:pt idx="3278">
                  <c:v>15024</c:v>
                </c:pt>
                <c:pt idx="3279">
                  <c:v>15025</c:v>
                </c:pt>
                <c:pt idx="3280">
                  <c:v>15026</c:v>
                </c:pt>
                <c:pt idx="3281">
                  <c:v>15027</c:v>
                </c:pt>
                <c:pt idx="3282">
                  <c:v>15028</c:v>
                </c:pt>
                <c:pt idx="3283">
                  <c:v>15031</c:v>
                </c:pt>
                <c:pt idx="3284">
                  <c:v>15032</c:v>
                </c:pt>
                <c:pt idx="3285">
                  <c:v>15033</c:v>
                </c:pt>
                <c:pt idx="3286">
                  <c:v>15034</c:v>
                </c:pt>
                <c:pt idx="3287">
                  <c:v>15035</c:v>
                </c:pt>
                <c:pt idx="3288">
                  <c:v>15038</c:v>
                </c:pt>
                <c:pt idx="3289">
                  <c:v>15039</c:v>
                </c:pt>
                <c:pt idx="3290">
                  <c:v>15040</c:v>
                </c:pt>
                <c:pt idx="3291">
                  <c:v>15041</c:v>
                </c:pt>
                <c:pt idx="3292">
                  <c:v>15042</c:v>
                </c:pt>
                <c:pt idx="3293">
                  <c:v>15045</c:v>
                </c:pt>
                <c:pt idx="3294">
                  <c:v>15046</c:v>
                </c:pt>
                <c:pt idx="3295">
                  <c:v>15047</c:v>
                </c:pt>
                <c:pt idx="3296">
                  <c:v>15048</c:v>
                </c:pt>
                <c:pt idx="3297">
                  <c:v>15049</c:v>
                </c:pt>
                <c:pt idx="3298">
                  <c:v>15052</c:v>
                </c:pt>
                <c:pt idx="3299">
                  <c:v>15053</c:v>
                </c:pt>
                <c:pt idx="3300">
                  <c:v>15054</c:v>
                </c:pt>
                <c:pt idx="3301">
                  <c:v>15055</c:v>
                </c:pt>
                <c:pt idx="3302">
                  <c:v>15056</c:v>
                </c:pt>
                <c:pt idx="3303">
                  <c:v>15059</c:v>
                </c:pt>
                <c:pt idx="3304">
                  <c:v>15060</c:v>
                </c:pt>
                <c:pt idx="3305">
                  <c:v>15061</c:v>
                </c:pt>
                <c:pt idx="3306">
                  <c:v>15062</c:v>
                </c:pt>
                <c:pt idx="3307">
                  <c:v>15063</c:v>
                </c:pt>
                <c:pt idx="3308">
                  <c:v>15066</c:v>
                </c:pt>
                <c:pt idx="3309">
                  <c:v>15067</c:v>
                </c:pt>
                <c:pt idx="3310">
                  <c:v>15068</c:v>
                </c:pt>
                <c:pt idx="3311">
                  <c:v>15069</c:v>
                </c:pt>
                <c:pt idx="3312">
                  <c:v>15070</c:v>
                </c:pt>
                <c:pt idx="3313">
                  <c:v>15073</c:v>
                </c:pt>
                <c:pt idx="3314">
                  <c:v>15074</c:v>
                </c:pt>
                <c:pt idx="3315">
                  <c:v>15075</c:v>
                </c:pt>
                <c:pt idx="3316">
                  <c:v>15076</c:v>
                </c:pt>
                <c:pt idx="3317">
                  <c:v>15080</c:v>
                </c:pt>
                <c:pt idx="3318">
                  <c:v>15081</c:v>
                </c:pt>
                <c:pt idx="3319">
                  <c:v>15082</c:v>
                </c:pt>
                <c:pt idx="3320">
                  <c:v>15083</c:v>
                </c:pt>
                <c:pt idx="3321">
                  <c:v>15084</c:v>
                </c:pt>
                <c:pt idx="3322">
                  <c:v>15087</c:v>
                </c:pt>
                <c:pt idx="3323">
                  <c:v>15088</c:v>
                </c:pt>
                <c:pt idx="3324">
                  <c:v>15089</c:v>
                </c:pt>
                <c:pt idx="3325">
                  <c:v>15090</c:v>
                </c:pt>
                <c:pt idx="3326">
                  <c:v>15091</c:v>
                </c:pt>
                <c:pt idx="3327">
                  <c:v>15094</c:v>
                </c:pt>
                <c:pt idx="3328">
                  <c:v>15095</c:v>
                </c:pt>
                <c:pt idx="3329">
                  <c:v>15096</c:v>
                </c:pt>
                <c:pt idx="3330">
                  <c:v>15097</c:v>
                </c:pt>
                <c:pt idx="3331">
                  <c:v>15098</c:v>
                </c:pt>
                <c:pt idx="3332">
                  <c:v>15101</c:v>
                </c:pt>
                <c:pt idx="3333">
                  <c:v>15102</c:v>
                </c:pt>
                <c:pt idx="3334">
                  <c:v>15103</c:v>
                </c:pt>
                <c:pt idx="3335">
                  <c:v>15104</c:v>
                </c:pt>
                <c:pt idx="3336">
                  <c:v>15105</c:v>
                </c:pt>
                <c:pt idx="3337">
                  <c:v>15108</c:v>
                </c:pt>
                <c:pt idx="3338">
                  <c:v>15109</c:v>
                </c:pt>
                <c:pt idx="3339">
                  <c:v>15110</c:v>
                </c:pt>
                <c:pt idx="3340">
                  <c:v>15111</c:v>
                </c:pt>
                <c:pt idx="3341">
                  <c:v>15112</c:v>
                </c:pt>
                <c:pt idx="3342">
                  <c:v>15115</c:v>
                </c:pt>
                <c:pt idx="3343">
                  <c:v>15116</c:v>
                </c:pt>
                <c:pt idx="3344">
                  <c:v>15117</c:v>
                </c:pt>
                <c:pt idx="3345">
                  <c:v>15118</c:v>
                </c:pt>
                <c:pt idx="3346">
                  <c:v>15119</c:v>
                </c:pt>
                <c:pt idx="3347">
                  <c:v>15122</c:v>
                </c:pt>
                <c:pt idx="3348">
                  <c:v>15123</c:v>
                </c:pt>
                <c:pt idx="3349">
                  <c:v>15124</c:v>
                </c:pt>
                <c:pt idx="3350">
                  <c:v>15125</c:v>
                </c:pt>
                <c:pt idx="3351">
                  <c:v>15129</c:v>
                </c:pt>
                <c:pt idx="3352">
                  <c:v>15130</c:v>
                </c:pt>
                <c:pt idx="3353">
                  <c:v>15131</c:v>
                </c:pt>
                <c:pt idx="3354">
                  <c:v>15132</c:v>
                </c:pt>
                <c:pt idx="3355">
                  <c:v>15133</c:v>
                </c:pt>
                <c:pt idx="3356">
                  <c:v>15136</c:v>
                </c:pt>
                <c:pt idx="3357">
                  <c:v>15137</c:v>
                </c:pt>
                <c:pt idx="3358">
                  <c:v>15138</c:v>
                </c:pt>
                <c:pt idx="3359">
                  <c:v>15139</c:v>
                </c:pt>
                <c:pt idx="3360">
                  <c:v>15140</c:v>
                </c:pt>
                <c:pt idx="3361">
                  <c:v>15143</c:v>
                </c:pt>
                <c:pt idx="3362">
                  <c:v>15144</c:v>
                </c:pt>
                <c:pt idx="3363">
                  <c:v>15145</c:v>
                </c:pt>
                <c:pt idx="3364">
                  <c:v>15146</c:v>
                </c:pt>
                <c:pt idx="3365">
                  <c:v>15147</c:v>
                </c:pt>
                <c:pt idx="3366">
                  <c:v>15150</c:v>
                </c:pt>
                <c:pt idx="3367">
                  <c:v>15151</c:v>
                </c:pt>
                <c:pt idx="3368">
                  <c:v>15152</c:v>
                </c:pt>
                <c:pt idx="3369">
                  <c:v>15153</c:v>
                </c:pt>
                <c:pt idx="3370">
                  <c:v>15154</c:v>
                </c:pt>
                <c:pt idx="3371">
                  <c:v>15157</c:v>
                </c:pt>
                <c:pt idx="3372">
                  <c:v>15158</c:v>
                </c:pt>
                <c:pt idx="3373">
                  <c:v>15159</c:v>
                </c:pt>
                <c:pt idx="3374">
                  <c:v>15160</c:v>
                </c:pt>
                <c:pt idx="3375">
                  <c:v>15164</c:v>
                </c:pt>
                <c:pt idx="3376">
                  <c:v>15165</c:v>
                </c:pt>
                <c:pt idx="3377">
                  <c:v>15166</c:v>
                </c:pt>
                <c:pt idx="3378">
                  <c:v>15167</c:v>
                </c:pt>
                <c:pt idx="3379">
                  <c:v>15168</c:v>
                </c:pt>
                <c:pt idx="3380">
                  <c:v>15171</c:v>
                </c:pt>
                <c:pt idx="3381">
                  <c:v>15172</c:v>
                </c:pt>
                <c:pt idx="3382">
                  <c:v>15173</c:v>
                </c:pt>
                <c:pt idx="3383">
                  <c:v>15174</c:v>
                </c:pt>
                <c:pt idx="3384">
                  <c:v>15175</c:v>
                </c:pt>
                <c:pt idx="3385">
                  <c:v>15178</c:v>
                </c:pt>
                <c:pt idx="3386">
                  <c:v>15179</c:v>
                </c:pt>
                <c:pt idx="3387">
                  <c:v>15180</c:v>
                </c:pt>
                <c:pt idx="3388">
                  <c:v>15181</c:v>
                </c:pt>
                <c:pt idx="3389">
                  <c:v>15182</c:v>
                </c:pt>
                <c:pt idx="3390">
                  <c:v>15185</c:v>
                </c:pt>
                <c:pt idx="3391">
                  <c:v>15186</c:v>
                </c:pt>
                <c:pt idx="3392">
                  <c:v>15187</c:v>
                </c:pt>
                <c:pt idx="3393">
                  <c:v>15188</c:v>
                </c:pt>
                <c:pt idx="3394">
                  <c:v>15189</c:v>
                </c:pt>
                <c:pt idx="3395">
                  <c:v>15192</c:v>
                </c:pt>
                <c:pt idx="3396">
                  <c:v>15193</c:v>
                </c:pt>
                <c:pt idx="3397">
                  <c:v>15194</c:v>
                </c:pt>
                <c:pt idx="3398">
                  <c:v>15195</c:v>
                </c:pt>
                <c:pt idx="3399">
                  <c:v>15196</c:v>
                </c:pt>
                <c:pt idx="3400">
                  <c:v>15199</c:v>
                </c:pt>
                <c:pt idx="3401">
                  <c:v>15200</c:v>
                </c:pt>
                <c:pt idx="3402">
                  <c:v>15201</c:v>
                </c:pt>
                <c:pt idx="3403">
                  <c:v>15202</c:v>
                </c:pt>
                <c:pt idx="3404">
                  <c:v>15203</c:v>
                </c:pt>
                <c:pt idx="3405">
                  <c:v>15206</c:v>
                </c:pt>
                <c:pt idx="3406">
                  <c:v>15207</c:v>
                </c:pt>
                <c:pt idx="3407">
                  <c:v>15208</c:v>
                </c:pt>
                <c:pt idx="3408">
                  <c:v>15209</c:v>
                </c:pt>
                <c:pt idx="3409">
                  <c:v>15210</c:v>
                </c:pt>
                <c:pt idx="3410">
                  <c:v>15213</c:v>
                </c:pt>
                <c:pt idx="3411">
                  <c:v>15214</c:v>
                </c:pt>
                <c:pt idx="3412">
                  <c:v>15215</c:v>
                </c:pt>
                <c:pt idx="3413">
                  <c:v>15216</c:v>
                </c:pt>
                <c:pt idx="3414">
                  <c:v>15217</c:v>
                </c:pt>
                <c:pt idx="3415">
                  <c:v>15221</c:v>
                </c:pt>
                <c:pt idx="3416">
                  <c:v>15222</c:v>
                </c:pt>
                <c:pt idx="3417">
                  <c:v>15223</c:v>
                </c:pt>
                <c:pt idx="3418">
                  <c:v>15224</c:v>
                </c:pt>
                <c:pt idx="3419">
                  <c:v>15227</c:v>
                </c:pt>
                <c:pt idx="3420">
                  <c:v>15228</c:v>
                </c:pt>
                <c:pt idx="3421">
                  <c:v>15229</c:v>
                </c:pt>
                <c:pt idx="3422">
                  <c:v>15230</c:v>
                </c:pt>
                <c:pt idx="3423">
                  <c:v>15231</c:v>
                </c:pt>
                <c:pt idx="3424">
                  <c:v>15234</c:v>
                </c:pt>
                <c:pt idx="3425">
                  <c:v>15235</c:v>
                </c:pt>
                <c:pt idx="3426">
                  <c:v>15236</c:v>
                </c:pt>
                <c:pt idx="3427">
                  <c:v>15237</c:v>
                </c:pt>
                <c:pt idx="3428">
                  <c:v>15238</c:v>
                </c:pt>
                <c:pt idx="3429">
                  <c:v>15241</c:v>
                </c:pt>
                <c:pt idx="3430">
                  <c:v>15242</c:v>
                </c:pt>
                <c:pt idx="3431">
                  <c:v>15243</c:v>
                </c:pt>
                <c:pt idx="3432">
                  <c:v>15244</c:v>
                </c:pt>
                <c:pt idx="3433">
                  <c:v>15245</c:v>
                </c:pt>
                <c:pt idx="3434">
                  <c:v>15248</c:v>
                </c:pt>
                <c:pt idx="3435">
                  <c:v>15249</c:v>
                </c:pt>
                <c:pt idx="3436">
                  <c:v>15250</c:v>
                </c:pt>
                <c:pt idx="3437">
                  <c:v>15251</c:v>
                </c:pt>
                <c:pt idx="3438">
                  <c:v>15252</c:v>
                </c:pt>
                <c:pt idx="3439">
                  <c:v>15255</c:v>
                </c:pt>
                <c:pt idx="3440">
                  <c:v>15256</c:v>
                </c:pt>
                <c:pt idx="3441">
                  <c:v>15257</c:v>
                </c:pt>
                <c:pt idx="3442">
                  <c:v>15258</c:v>
                </c:pt>
                <c:pt idx="3443">
                  <c:v>15259</c:v>
                </c:pt>
                <c:pt idx="3444">
                  <c:v>15263</c:v>
                </c:pt>
                <c:pt idx="3445">
                  <c:v>15264</c:v>
                </c:pt>
                <c:pt idx="3446">
                  <c:v>15265</c:v>
                </c:pt>
                <c:pt idx="3447">
                  <c:v>15266</c:v>
                </c:pt>
                <c:pt idx="3448">
                  <c:v>15269</c:v>
                </c:pt>
                <c:pt idx="3449">
                  <c:v>15270</c:v>
                </c:pt>
                <c:pt idx="3450">
                  <c:v>15271</c:v>
                </c:pt>
                <c:pt idx="3451">
                  <c:v>15272</c:v>
                </c:pt>
                <c:pt idx="3452">
                  <c:v>15273</c:v>
                </c:pt>
                <c:pt idx="3453">
                  <c:v>15276</c:v>
                </c:pt>
                <c:pt idx="3454">
                  <c:v>15277</c:v>
                </c:pt>
                <c:pt idx="3455">
                  <c:v>15278</c:v>
                </c:pt>
                <c:pt idx="3456">
                  <c:v>15279</c:v>
                </c:pt>
                <c:pt idx="3457">
                  <c:v>15280</c:v>
                </c:pt>
                <c:pt idx="3458">
                  <c:v>15283</c:v>
                </c:pt>
                <c:pt idx="3459">
                  <c:v>15285</c:v>
                </c:pt>
                <c:pt idx="3460">
                  <c:v>15286</c:v>
                </c:pt>
                <c:pt idx="3461">
                  <c:v>15287</c:v>
                </c:pt>
                <c:pt idx="3462">
                  <c:v>15290</c:v>
                </c:pt>
                <c:pt idx="3463">
                  <c:v>15292</c:v>
                </c:pt>
                <c:pt idx="3464">
                  <c:v>15293</c:v>
                </c:pt>
                <c:pt idx="3465">
                  <c:v>15294</c:v>
                </c:pt>
                <c:pt idx="3466">
                  <c:v>15297</c:v>
                </c:pt>
                <c:pt idx="3467">
                  <c:v>15298</c:v>
                </c:pt>
                <c:pt idx="3468">
                  <c:v>15299</c:v>
                </c:pt>
                <c:pt idx="3469">
                  <c:v>15301</c:v>
                </c:pt>
                <c:pt idx="3470">
                  <c:v>15304</c:v>
                </c:pt>
                <c:pt idx="3471">
                  <c:v>15305</c:v>
                </c:pt>
                <c:pt idx="3472">
                  <c:v>15306</c:v>
                </c:pt>
                <c:pt idx="3473">
                  <c:v>15307</c:v>
                </c:pt>
                <c:pt idx="3474">
                  <c:v>15308</c:v>
                </c:pt>
                <c:pt idx="3475">
                  <c:v>15311</c:v>
                </c:pt>
                <c:pt idx="3476">
                  <c:v>15312</c:v>
                </c:pt>
                <c:pt idx="3477">
                  <c:v>15313</c:v>
                </c:pt>
                <c:pt idx="3478">
                  <c:v>15314</c:v>
                </c:pt>
                <c:pt idx="3479">
                  <c:v>15315</c:v>
                </c:pt>
                <c:pt idx="3480">
                  <c:v>15318</c:v>
                </c:pt>
                <c:pt idx="3481">
                  <c:v>15319</c:v>
                </c:pt>
                <c:pt idx="3482">
                  <c:v>15320</c:v>
                </c:pt>
                <c:pt idx="3483">
                  <c:v>15321</c:v>
                </c:pt>
                <c:pt idx="3484">
                  <c:v>15322</c:v>
                </c:pt>
                <c:pt idx="3485">
                  <c:v>15325</c:v>
                </c:pt>
                <c:pt idx="3486">
                  <c:v>15326</c:v>
                </c:pt>
                <c:pt idx="3487">
                  <c:v>15327</c:v>
                </c:pt>
                <c:pt idx="3488">
                  <c:v>15328</c:v>
                </c:pt>
                <c:pt idx="3489">
                  <c:v>15329</c:v>
                </c:pt>
                <c:pt idx="3490">
                  <c:v>15332</c:v>
                </c:pt>
                <c:pt idx="3491">
                  <c:v>15333</c:v>
                </c:pt>
                <c:pt idx="3492">
                  <c:v>15334</c:v>
                </c:pt>
                <c:pt idx="3493">
                  <c:v>15336</c:v>
                </c:pt>
                <c:pt idx="3494">
                  <c:v>15339</c:v>
                </c:pt>
                <c:pt idx="3495">
                  <c:v>15340</c:v>
                </c:pt>
                <c:pt idx="3496">
                  <c:v>15341</c:v>
                </c:pt>
                <c:pt idx="3497">
                  <c:v>15343</c:v>
                </c:pt>
                <c:pt idx="3498">
                  <c:v>15346</c:v>
                </c:pt>
                <c:pt idx="3499">
                  <c:v>15347</c:v>
                </c:pt>
                <c:pt idx="3500">
                  <c:v>15348</c:v>
                </c:pt>
                <c:pt idx="3501">
                  <c:v>15349</c:v>
                </c:pt>
                <c:pt idx="3502">
                  <c:v>15350</c:v>
                </c:pt>
                <c:pt idx="3503">
                  <c:v>15353</c:v>
                </c:pt>
                <c:pt idx="3504">
                  <c:v>15354</c:v>
                </c:pt>
                <c:pt idx="3505">
                  <c:v>15355</c:v>
                </c:pt>
                <c:pt idx="3506">
                  <c:v>15356</c:v>
                </c:pt>
                <c:pt idx="3507">
                  <c:v>15357</c:v>
                </c:pt>
                <c:pt idx="3508">
                  <c:v>15360</c:v>
                </c:pt>
                <c:pt idx="3509">
                  <c:v>15361</c:v>
                </c:pt>
                <c:pt idx="3510">
                  <c:v>15362</c:v>
                </c:pt>
                <c:pt idx="3511">
                  <c:v>15363</c:v>
                </c:pt>
                <c:pt idx="3512">
                  <c:v>15364</c:v>
                </c:pt>
                <c:pt idx="3513">
                  <c:v>15367</c:v>
                </c:pt>
                <c:pt idx="3514">
                  <c:v>15368</c:v>
                </c:pt>
                <c:pt idx="3515">
                  <c:v>15369</c:v>
                </c:pt>
                <c:pt idx="3516">
                  <c:v>15370</c:v>
                </c:pt>
                <c:pt idx="3517">
                  <c:v>15371</c:v>
                </c:pt>
                <c:pt idx="3518">
                  <c:v>15374</c:v>
                </c:pt>
                <c:pt idx="3519">
                  <c:v>15375</c:v>
                </c:pt>
                <c:pt idx="3520">
                  <c:v>15376</c:v>
                </c:pt>
                <c:pt idx="3521">
                  <c:v>15377</c:v>
                </c:pt>
                <c:pt idx="3522">
                  <c:v>15378</c:v>
                </c:pt>
                <c:pt idx="3523">
                  <c:v>15381</c:v>
                </c:pt>
                <c:pt idx="3524">
                  <c:v>15382</c:v>
                </c:pt>
                <c:pt idx="3525">
                  <c:v>15383</c:v>
                </c:pt>
                <c:pt idx="3526">
                  <c:v>15385</c:v>
                </c:pt>
                <c:pt idx="3527">
                  <c:v>15388</c:v>
                </c:pt>
                <c:pt idx="3528">
                  <c:v>15389</c:v>
                </c:pt>
                <c:pt idx="3529">
                  <c:v>15390</c:v>
                </c:pt>
                <c:pt idx="3530">
                  <c:v>15391</c:v>
                </c:pt>
                <c:pt idx="3531">
                  <c:v>15392</c:v>
                </c:pt>
                <c:pt idx="3532">
                  <c:v>15396</c:v>
                </c:pt>
                <c:pt idx="3533">
                  <c:v>15397</c:v>
                </c:pt>
                <c:pt idx="3534">
                  <c:v>15398</c:v>
                </c:pt>
                <c:pt idx="3535">
                  <c:v>15399</c:v>
                </c:pt>
                <c:pt idx="3536">
                  <c:v>15402</c:v>
                </c:pt>
                <c:pt idx="3537">
                  <c:v>15403</c:v>
                </c:pt>
                <c:pt idx="3538">
                  <c:v>15404</c:v>
                </c:pt>
                <c:pt idx="3539">
                  <c:v>15405</c:v>
                </c:pt>
                <c:pt idx="3540">
                  <c:v>15406</c:v>
                </c:pt>
                <c:pt idx="3541">
                  <c:v>15409</c:v>
                </c:pt>
                <c:pt idx="3542">
                  <c:v>15410</c:v>
                </c:pt>
                <c:pt idx="3543">
                  <c:v>15411</c:v>
                </c:pt>
                <c:pt idx="3544">
                  <c:v>15412</c:v>
                </c:pt>
                <c:pt idx="3545">
                  <c:v>15413</c:v>
                </c:pt>
                <c:pt idx="3546">
                  <c:v>15416</c:v>
                </c:pt>
                <c:pt idx="3547">
                  <c:v>15417</c:v>
                </c:pt>
                <c:pt idx="3548">
                  <c:v>15418</c:v>
                </c:pt>
                <c:pt idx="3549">
                  <c:v>15419</c:v>
                </c:pt>
                <c:pt idx="3550">
                  <c:v>15420</c:v>
                </c:pt>
                <c:pt idx="3551">
                  <c:v>15423</c:v>
                </c:pt>
                <c:pt idx="3552">
                  <c:v>15424</c:v>
                </c:pt>
                <c:pt idx="3553">
                  <c:v>15425</c:v>
                </c:pt>
                <c:pt idx="3554">
                  <c:v>15426</c:v>
                </c:pt>
                <c:pt idx="3555">
                  <c:v>15427</c:v>
                </c:pt>
                <c:pt idx="3556">
                  <c:v>15430</c:v>
                </c:pt>
                <c:pt idx="3557">
                  <c:v>15431</c:v>
                </c:pt>
                <c:pt idx="3558">
                  <c:v>15432</c:v>
                </c:pt>
                <c:pt idx="3559">
                  <c:v>15433</c:v>
                </c:pt>
                <c:pt idx="3560">
                  <c:v>15437</c:v>
                </c:pt>
                <c:pt idx="3561">
                  <c:v>15438</c:v>
                </c:pt>
                <c:pt idx="3562">
                  <c:v>15439</c:v>
                </c:pt>
                <c:pt idx="3563">
                  <c:v>15440</c:v>
                </c:pt>
                <c:pt idx="3564">
                  <c:v>15441</c:v>
                </c:pt>
                <c:pt idx="3565">
                  <c:v>15444</c:v>
                </c:pt>
                <c:pt idx="3566">
                  <c:v>15445</c:v>
                </c:pt>
                <c:pt idx="3567">
                  <c:v>15446</c:v>
                </c:pt>
                <c:pt idx="3568">
                  <c:v>15447</c:v>
                </c:pt>
                <c:pt idx="3569">
                  <c:v>15448</c:v>
                </c:pt>
                <c:pt idx="3570">
                  <c:v>15451</c:v>
                </c:pt>
                <c:pt idx="3571">
                  <c:v>15452</c:v>
                </c:pt>
                <c:pt idx="3572">
                  <c:v>15453</c:v>
                </c:pt>
                <c:pt idx="3573">
                  <c:v>15454</c:v>
                </c:pt>
                <c:pt idx="3574">
                  <c:v>15455</c:v>
                </c:pt>
                <c:pt idx="3575">
                  <c:v>15458</c:v>
                </c:pt>
                <c:pt idx="3576">
                  <c:v>15459</c:v>
                </c:pt>
                <c:pt idx="3577">
                  <c:v>15460</c:v>
                </c:pt>
                <c:pt idx="3578">
                  <c:v>15461</c:v>
                </c:pt>
                <c:pt idx="3579">
                  <c:v>15462</c:v>
                </c:pt>
                <c:pt idx="3580">
                  <c:v>15465</c:v>
                </c:pt>
                <c:pt idx="3581">
                  <c:v>15466</c:v>
                </c:pt>
                <c:pt idx="3582">
                  <c:v>15467</c:v>
                </c:pt>
                <c:pt idx="3583">
                  <c:v>15468</c:v>
                </c:pt>
                <c:pt idx="3584">
                  <c:v>15469</c:v>
                </c:pt>
                <c:pt idx="3585">
                  <c:v>15472</c:v>
                </c:pt>
                <c:pt idx="3586">
                  <c:v>15473</c:v>
                </c:pt>
                <c:pt idx="3587">
                  <c:v>15474</c:v>
                </c:pt>
                <c:pt idx="3588">
                  <c:v>15475</c:v>
                </c:pt>
                <c:pt idx="3589">
                  <c:v>15476</c:v>
                </c:pt>
                <c:pt idx="3590">
                  <c:v>15479</c:v>
                </c:pt>
                <c:pt idx="3591">
                  <c:v>15480</c:v>
                </c:pt>
                <c:pt idx="3592">
                  <c:v>15481</c:v>
                </c:pt>
                <c:pt idx="3593">
                  <c:v>15482</c:v>
                </c:pt>
                <c:pt idx="3594">
                  <c:v>15483</c:v>
                </c:pt>
                <c:pt idx="3595">
                  <c:v>15486</c:v>
                </c:pt>
                <c:pt idx="3596">
                  <c:v>15487</c:v>
                </c:pt>
                <c:pt idx="3597">
                  <c:v>15488</c:v>
                </c:pt>
                <c:pt idx="3598">
                  <c:v>15489</c:v>
                </c:pt>
                <c:pt idx="3599">
                  <c:v>15490</c:v>
                </c:pt>
                <c:pt idx="3600">
                  <c:v>15493</c:v>
                </c:pt>
                <c:pt idx="3601">
                  <c:v>15494</c:v>
                </c:pt>
                <c:pt idx="3602">
                  <c:v>15495</c:v>
                </c:pt>
                <c:pt idx="3603">
                  <c:v>15496</c:v>
                </c:pt>
                <c:pt idx="3604">
                  <c:v>15497</c:v>
                </c:pt>
                <c:pt idx="3605">
                  <c:v>15500</c:v>
                </c:pt>
                <c:pt idx="3606">
                  <c:v>15501</c:v>
                </c:pt>
                <c:pt idx="3607">
                  <c:v>15502</c:v>
                </c:pt>
                <c:pt idx="3608">
                  <c:v>15503</c:v>
                </c:pt>
                <c:pt idx="3609">
                  <c:v>15504</c:v>
                </c:pt>
                <c:pt idx="3610">
                  <c:v>15507</c:v>
                </c:pt>
                <c:pt idx="3611">
                  <c:v>15508</c:v>
                </c:pt>
                <c:pt idx="3612">
                  <c:v>15509</c:v>
                </c:pt>
                <c:pt idx="3613">
                  <c:v>15510</c:v>
                </c:pt>
                <c:pt idx="3614">
                  <c:v>15511</c:v>
                </c:pt>
                <c:pt idx="3615">
                  <c:v>15514</c:v>
                </c:pt>
                <c:pt idx="3616">
                  <c:v>15515</c:v>
                </c:pt>
                <c:pt idx="3617">
                  <c:v>15516</c:v>
                </c:pt>
                <c:pt idx="3618">
                  <c:v>15517</c:v>
                </c:pt>
                <c:pt idx="3619">
                  <c:v>15518</c:v>
                </c:pt>
                <c:pt idx="3620">
                  <c:v>15521</c:v>
                </c:pt>
                <c:pt idx="3621">
                  <c:v>15522</c:v>
                </c:pt>
                <c:pt idx="3622">
                  <c:v>15523</c:v>
                </c:pt>
                <c:pt idx="3623">
                  <c:v>15524</c:v>
                </c:pt>
                <c:pt idx="3624">
                  <c:v>15525</c:v>
                </c:pt>
                <c:pt idx="3625">
                  <c:v>15528</c:v>
                </c:pt>
                <c:pt idx="3626">
                  <c:v>15529</c:v>
                </c:pt>
                <c:pt idx="3627">
                  <c:v>15530</c:v>
                </c:pt>
                <c:pt idx="3628">
                  <c:v>15531</c:v>
                </c:pt>
                <c:pt idx="3629">
                  <c:v>15532</c:v>
                </c:pt>
                <c:pt idx="3630">
                  <c:v>15535</c:v>
                </c:pt>
                <c:pt idx="3631">
                  <c:v>15536</c:v>
                </c:pt>
                <c:pt idx="3632">
                  <c:v>15537</c:v>
                </c:pt>
                <c:pt idx="3633">
                  <c:v>15538</c:v>
                </c:pt>
                <c:pt idx="3634">
                  <c:v>15539</c:v>
                </c:pt>
                <c:pt idx="3635">
                  <c:v>15542</c:v>
                </c:pt>
                <c:pt idx="3636">
                  <c:v>15543</c:v>
                </c:pt>
                <c:pt idx="3637">
                  <c:v>15544</c:v>
                </c:pt>
                <c:pt idx="3638">
                  <c:v>15545</c:v>
                </c:pt>
                <c:pt idx="3639">
                  <c:v>15546</c:v>
                </c:pt>
                <c:pt idx="3640">
                  <c:v>15549</c:v>
                </c:pt>
                <c:pt idx="3641">
                  <c:v>15550</c:v>
                </c:pt>
                <c:pt idx="3642">
                  <c:v>15551</c:v>
                </c:pt>
                <c:pt idx="3643">
                  <c:v>15552</c:v>
                </c:pt>
                <c:pt idx="3644">
                  <c:v>15553</c:v>
                </c:pt>
                <c:pt idx="3645">
                  <c:v>15556</c:v>
                </c:pt>
                <c:pt idx="3646">
                  <c:v>15557</c:v>
                </c:pt>
                <c:pt idx="3647">
                  <c:v>15558</c:v>
                </c:pt>
                <c:pt idx="3648">
                  <c:v>15559</c:v>
                </c:pt>
                <c:pt idx="3649">
                  <c:v>15560</c:v>
                </c:pt>
                <c:pt idx="3650">
                  <c:v>15563</c:v>
                </c:pt>
                <c:pt idx="3651">
                  <c:v>15564</c:v>
                </c:pt>
                <c:pt idx="3652">
                  <c:v>15565</c:v>
                </c:pt>
                <c:pt idx="3653">
                  <c:v>15566</c:v>
                </c:pt>
                <c:pt idx="3654">
                  <c:v>15567</c:v>
                </c:pt>
                <c:pt idx="3655">
                  <c:v>15570</c:v>
                </c:pt>
                <c:pt idx="3656">
                  <c:v>15571</c:v>
                </c:pt>
                <c:pt idx="3657">
                  <c:v>15572</c:v>
                </c:pt>
                <c:pt idx="3658">
                  <c:v>15573</c:v>
                </c:pt>
                <c:pt idx="3659">
                  <c:v>15574</c:v>
                </c:pt>
                <c:pt idx="3660">
                  <c:v>15577</c:v>
                </c:pt>
                <c:pt idx="3661">
                  <c:v>15578</c:v>
                </c:pt>
                <c:pt idx="3662">
                  <c:v>15579</c:v>
                </c:pt>
                <c:pt idx="3663">
                  <c:v>15580</c:v>
                </c:pt>
                <c:pt idx="3664">
                  <c:v>15581</c:v>
                </c:pt>
                <c:pt idx="3665">
                  <c:v>15584</c:v>
                </c:pt>
                <c:pt idx="3666">
                  <c:v>15585</c:v>
                </c:pt>
                <c:pt idx="3667">
                  <c:v>15586</c:v>
                </c:pt>
                <c:pt idx="3668">
                  <c:v>15587</c:v>
                </c:pt>
                <c:pt idx="3669">
                  <c:v>15588</c:v>
                </c:pt>
                <c:pt idx="3670">
                  <c:v>15592</c:v>
                </c:pt>
                <c:pt idx="3671">
                  <c:v>15593</c:v>
                </c:pt>
                <c:pt idx="3672">
                  <c:v>15594</c:v>
                </c:pt>
                <c:pt idx="3673">
                  <c:v>15595</c:v>
                </c:pt>
                <c:pt idx="3674">
                  <c:v>15598</c:v>
                </c:pt>
                <c:pt idx="3675">
                  <c:v>15599</c:v>
                </c:pt>
                <c:pt idx="3676">
                  <c:v>15600</c:v>
                </c:pt>
                <c:pt idx="3677">
                  <c:v>15601</c:v>
                </c:pt>
                <c:pt idx="3678">
                  <c:v>15602</c:v>
                </c:pt>
                <c:pt idx="3679">
                  <c:v>15605</c:v>
                </c:pt>
                <c:pt idx="3680">
                  <c:v>15606</c:v>
                </c:pt>
                <c:pt idx="3681">
                  <c:v>15607</c:v>
                </c:pt>
                <c:pt idx="3682">
                  <c:v>15608</c:v>
                </c:pt>
                <c:pt idx="3683">
                  <c:v>15609</c:v>
                </c:pt>
                <c:pt idx="3684">
                  <c:v>15612</c:v>
                </c:pt>
                <c:pt idx="3685">
                  <c:v>15613</c:v>
                </c:pt>
                <c:pt idx="3686">
                  <c:v>15614</c:v>
                </c:pt>
                <c:pt idx="3687">
                  <c:v>15615</c:v>
                </c:pt>
                <c:pt idx="3688">
                  <c:v>15616</c:v>
                </c:pt>
                <c:pt idx="3689">
                  <c:v>15619</c:v>
                </c:pt>
                <c:pt idx="3690">
                  <c:v>15620</c:v>
                </c:pt>
                <c:pt idx="3691">
                  <c:v>15621</c:v>
                </c:pt>
                <c:pt idx="3692">
                  <c:v>15622</c:v>
                </c:pt>
                <c:pt idx="3693">
                  <c:v>15623</c:v>
                </c:pt>
                <c:pt idx="3694">
                  <c:v>15627</c:v>
                </c:pt>
                <c:pt idx="3695">
                  <c:v>15628</c:v>
                </c:pt>
                <c:pt idx="3696">
                  <c:v>15629</c:v>
                </c:pt>
                <c:pt idx="3697">
                  <c:v>15630</c:v>
                </c:pt>
                <c:pt idx="3698">
                  <c:v>15633</c:v>
                </c:pt>
                <c:pt idx="3699">
                  <c:v>15634</c:v>
                </c:pt>
                <c:pt idx="3700">
                  <c:v>15635</c:v>
                </c:pt>
                <c:pt idx="3701">
                  <c:v>15636</c:v>
                </c:pt>
                <c:pt idx="3702">
                  <c:v>15637</c:v>
                </c:pt>
                <c:pt idx="3703">
                  <c:v>15640</c:v>
                </c:pt>
                <c:pt idx="3704">
                  <c:v>15641</c:v>
                </c:pt>
                <c:pt idx="3705">
                  <c:v>15642</c:v>
                </c:pt>
                <c:pt idx="3706">
                  <c:v>15643</c:v>
                </c:pt>
                <c:pt idx="3707">
                  <c:v>15644</c:v>
                </c:pt>
                <c:pt idx="3708">
                  <c:v>15647</c:v>
                </c:pt>
                <c:pt idx="3709">
                  <c:v>15649</c:v>
                </c:pt>
                <c:pt idx="3710">
                  <c:v>15650</c:v>
                </c:pt>
                <c:pt idx="3711">
                  <c:v>15651</c:v>
                </c:pt>
                <c:pt idx="3712">
                  <c:v>15654</c:v>
                </c:pt>
                <c:pt idx="3713">
                  <c:v>15655</c:v>
                </c:pt>
                <c:pt idx="3714">
                  <c:v>15657</c:v>
                </c:pt>
                <c:pt idx="3715">
                  <c:v>15658</c:v>
                </c:pt>
                <c:pt idx="3716">
                  <c:v>15661</c:v>
                </c:pt>
                <c:pt idx="3717">
                  <c:v>15662</c:v>
                </c:pt>
                <c:pt idx="3718">
                  <c:v>15663</c:v>
                </c:pt>
                <c:pt idx="3719">
                  <c:v>15664</c:v>
                </c:pt>
                <c:pt idx="3720">
                  <c:v>15665</c:v>
                </c:pt>
                <c:pt idx="3721">
                  <c:v>15668</c:v>
                </c:pt>
                <c:pt idx="3722">
                  <c:v>15669</c:v>
                </c:pt>
                <c:pt idx="3723">
                  <c:v>15670</c:v>
                </c:pt>
                <c:pt idx="3724">
                  <c:v>15672</c:v>
                </c:pt>
                <c:pt idx="3725">
                  <c:v>15675</c:v>
                </c:pt>
                <c:pt idx="3726">
                  <c:v>15676</c:v>
                </c:pt>
                <c:pt idx="3727">
                  <c:v>15677</c:v>
                </c:pt>
                <c:pt idx="3728">
                  <c:v>15678</c:v>
                </c:pt>
                <c:pt idx="3729">
                  <c:v>15679</c:v>
                </c:pt>
                <c:pt idx="3730">
                  <c:v>15682</c:v>
                </c:pt>
                <c:pt idx="3731">
                  <c:v>15683</c:v>
                </c:pt>
                <c:pt idx="3732">
                  <c:v>15684</c:v>
                </c:pt>
                <c:pt idx="3733">
                  <c:v>15685</c:v>
                </c:pt>
                <c:pt idx="3734">
                  <c:v>15686</c:v>
                </c:pt>
                <c:pt idx="3735">
                  <c:v>15689</c:v>
                </c:pt>
                <c:pt idx="3736">
                  <c:v>15690</c:v>
                </c:pt>
                <c:pt idx="3737">
                  <c:v>15691</c:v>
                </c:pt>
                <c:pt idx="3738">
                  <c:v>15692</c:v>
                </c:pt>
                <c:pt idx="3739">
                  <c:v>15693</c:v>
                </c:pt>
                <c:pt idx="3740">
                  <c:v>15696</c:v>
                </c:pt>
                <c:pt idx="3741">
                  <c:v>15697</c:v>
                </c:pt>
                <c:pt idx="3742">
                  <c:v>15698</c:v>
                </c:pt>
                <c:pt idx="3743">
                  <c:v>15699</c:v>
                </c:pt>
                <c:pt idx="3744">
                  <c:v>15703</c:v>
                </c:pt>
                <c:pt idx="3745">
                  <c:v>15704</c:v>
                </c:pt>
                <c:pt idx="3746">
                  <c:v>15705</c:v>
                </c:pt>
                <c:pt idx="3747">
                  <c:v>15706</c:v>
                </c:pt>
                <c:pt idx="3748">
                  <c:v>15710</c:v>
                </c:pt>
                <c:pt idx="3749">
                  <c:v>15711</c:v>
                </c:pt>
                <c:pt idx="3750">
                  <c:v>15712</c:v>
                </c:pt>
                <c:pt idx="3751">
                  <c:v>15713</c:v>
                </c:pt>
                <c:pt idx="3752">
                  <c:v>15714</c:v>
                </c:pt>
                <c:pt idx="3753">
                  <c:v>15717</c:v>
                </c:pt>
                <c:pt idx="3754">
                  <c:v>15718</c:v>
                </c:pt>
                <c:pt idx="3755">
                  <c:v>15719</c:v>
                </c:pt>
                <c:pt idx="3756">
                  <c:v>15720</c:v>
                </c:pt>
                <c:pt idx="3757">
                  <c:v>15721</c:v>
                </c:pt>
                <c:pt idx="3758">
                  <c:v>15724</c:v>
                </c:pt>
                <c:pt idx="3759">
                  <c:v>15725</c:v>
                </c:pt>
                <c:pt idx="3760">
                  <c:v>15726</c:v>
                </c:pt>
                <c:pt idx="3761">
                  <c:v>15727</c:v>
                </c:pt>
                <c:pt idx="3762">
                  <c:v>15728</c:v>
                </c:pt>
                <c:pt idx="3763">
                  <c:v>15731</c:v>
                </c:pt>
                <c:pt idx="3764">
                  <c:v>15732</c:v>
                </c:pt>
                <c:pt idx="3765">
                  <c:v>15733</c:v>
                </c:pt>
                <c:pt idx="3766">
                  <c:v>15734</c:v>
                </c:pt>
                <c:pt idx="3767">
                  <c:v>15735</c:v>
                </c:pt>
                <c:pt idx="3768">
                  <c:v>15738</c:v>
                </c:pt>
                <c:pt idx="3769">
                  <c:v>15739</c:v>
                </c:pt>
                <c:pt idx="3770">
                  <c:v>15740</c:v>
                </c:pt>
                <c:pt idx="3771">
                  <c:v>15741</c:v>
                </c:pt>
                <c:pt idx="3772">
                  <c:v>15742</c:v>
                </c:pt>
                <c:pt idx="3773">
                  <c:v>15745</c:v>
                </c:pt>
                <c:pt idx="3774">
                  <c:v>15746</c:v>
                </c:pt>
                <c:pt idx="3775">
                  <c:v>15747</c:v>
                </c:pt>
                <c:pt idx="3776">
                  <c:v>15748</c:v>
                </c:pt>
                <c:pt idx="3777">
                  <c:v>15752</c:v>
                </c:pt>
                <c:pt idx="3778">
                  <c:v>15753</c:v>
                </c:pt>
                <c:pt idx="3779">
                  <c:v>15754</c:v>
                </c:pt>
                <c:pt idx="3780">
                  <c:v>15755</c:v>
                </c:pt>
                <c:pt idx="3781">
                  <c:v>15756</c:v>
                </c:pt>
                <c:pt idx="3782">
                  <c:v>15760</c:v>
                </c:pt>
                <c:pt idx="3783">
                  <c:v>15761</c:v>
                </c:pt>
                <c:pt idx="3784">
                  <c:v>15762</c:v>
                </c:pt>
                <c:pt idx="3785">
                  <c:v>15763</c:v>
                </c:pt>
                <c:pt idx="3786">
                  <c:v>15766</c:v>
                </c:pt>
                <c:pt idx="3787">
                  <c:v>15767</c:v>
                </c:pt>
                <c:pt idx="3788">
                  <c:v>15768</c:v>
                </c:pt>
                <c:pt idx="3789">
                  <c:v>15769</c:v>
                </c:pt>
                <c:pt idx="3790">
                  <c:v>15770</c:v>
                </c:pt>
                <c:pt idx="3791">
                  <c:v>15773</c:v>
                </c:pt>
                <c:pt idx="3792">
                  <c:v>15774</c:v>
                </c:pt>
                <c:pt idx="3793">
                  <c:v>15775</c:v>
                </c:pt>
                <c:pt idx="3794">
                  <c:v>15776</c:v>
                </c:pt>
                <c:pt idx="3795">
                  <c:v>15777</c:v>
                </c:pt>
                <c:pt idx="3796">
                  <c:v>15780</c:v>
                </c:pt>
                <c:pt idx="3797">
                  <c:v>15781</c:v>
                </c:pt>
                <c:pt idx="3798">
                  <c:v>15782</c:v>
                </c:pt>
                <c:pt idx="3799">
                  <c:v>15783</c:v>
                </c:pt>
                <c:pt idx="3800">
                  <c:v>15784</c:v>
                </c:pt>
                <c:pt idx="3801">
                  <c:v>15787</c:v>
                </c:pt>
                <c:pt idx="3802">
                  <c:v>15788</c:v>
                </c:pt>
                <c:pt idx="3803">
                  <c:v>15789</c:v>
                </c:pt>
                <c:pt idx="3804">
                  <c:v>15790</c:v>
                </c:pt>
                <c:pt idx="3805">
                  <c:v>15791</c:v>
                </c:pt>
                <c:pt idx="3806">
                  <c:v>15794</c:v>
                </c:pt>
                <c:pt idx="3807">
                  <c:v>15795</c:v>
                </c:pt>
                <c:pt idx="3808">
                  <c:v>15796</c:v>
                </c:pt>
                <c:pt idx="3809">
                  <c:v>15797</c:v>
                </c:pt>
                <c:pt idx="3810">
                  <c:v>15798</c:v>
                </c:pt>
                <c:pt idx="3811">
                  <c:v>15801</c:v>
                </c:pt>
                <c:pt idx="3812">
                  <c:v>15802</c:v>
                </c:pt>
                <c:pt idx="3813">
                  <c:v>15803</c:v>
                </c:pt>
                <c:pt idx="3814">
                  <c:v>15804</c:v>
                </c:pt>
                <c:pt idx="3815">
                  <c:v>15805</c:v>
                </c:pt>
                <c:pt idx="3816">
                  <c:v>15808</c:v>
                </c:pt>
                <c:pt idx="3817">
                  <c:v>15809</c:v>
                </c:pt>
                <c:pt idx="3818">
                  <c:v>15810</c:v>
                </c:pt>
                <c:pt idx="3819">
                  <c:v>15811</c:v>
                </c:pt>
                <c:pt idx="3820">
                  <c:v>15812</c:v>
                </c:pt>
                <c:pt idx="3821">
                  <c:v>15815</c:v>
                </c:pt>
                <c:pt idx="3822">
                  <c:v>15816</c:v>
                </c:pt>
                <c:pt idx="3823">
                  <c:v>15817</c:v>
                </c:pt>
                <c:pt idx="3824">
                  <c:v>15818</c:v>
                </c:pt>
                <c:pt idx="3825">
                  <c:v>15822</c:v>
                </c:pt>
                <c:pt idx="3826">
                  <c:v>15823</c:v>
                </c:pt>
                <c:pt idx="3827">
                  <c:v>15824</c:v>
                </c:pt>
                <c:pt idx="3828">
                  <c:v>15825</c:v>
                </c:pt>
                <c:pt idx="3829">
                  <c:v>15826</c:v>
                </c:pt>
                <c:pt idx="3830">
                  <c:v>15829</c:v>
                </c:pt>
                <c:pt idx="3831">
                  <c:v>15830</c:v>
                </c:pt>
                <c:pt idx="3832">
                  <c:v>15831</c:v>
                </c:pt>
                <c:pt idx="3833">
                  <c:v>15832</c:v>
                </c:pt>
                <c:pt idx="3834">
                  <c:v>15833</c:v>
                </c:pt>
                <c:pt idx="3835">
                  <c:v>15836</c:v>
                </c:pt>
                <c:pt idx="3836">
                  <c:v>15837</c:v>
                </c:pt>
                <c:pt idx="3837">
                  <c:v>15838</c:v>
                </c:pt>
                <c:pt idx="3838">
                  <c:v>15839</c:v>
                </c:pt>
                <c:pt idx="3839">
                  <c:v>15840</c:v>
                </c:pt>
                <c:pt idx="3840">
                  <c:v>15843</c:v>
                </c:pt>
                <c:pt idx="3841">
                  <c:v>15844</c:v>
                </c:pt>
                <c:pt idx="3842">
                  <c:v>15845</c:v>
                </c:pt>
                <c:pt idx="3843">
                  <c:v>15846</c:v>
                </c:pt>
                <c:pt idx="3844">
                  <c:v>15847</c:v>
                </c:pt>
                <c:pt idx="3845">
                  <c:v>15850</c:v>
                </c:pt>
                <c:pt idx="3846">
                  <c:v>15851</c:v>
                </c:pt>
                <c:pt idx="3847">
                  <c:v>15852</c:v>
                </c:pt>
                <c:pt idx="3848">
                  <c:v>15853</c:v>
                </c:pt>
                <c:pt idx="3849">
                  <c:v>15854</c:v>
                </c:pt>
                <c:pt idx="3850">
                  <c:v>15858</c:v>
                </c:pt>
                <c:pt idx="3851">
                  <c:v>15859</c:v>
                </c:pt>
                <c:pt idx="3852">
                  <c:v>15860</c:v>
                </c:pt>
                <c:pt idx="3853">
                  <c:v>15861</c:v>
                </c:pt>
                <c:pt idx="3854">
                  <c:v>15864</c:v>
                </c:pt>
                <c:pt idx="3855">
                  <c:v>15865</c:v>
                </c:pt>
                <c:pt idx="3856">
                  <c:v>15866</c:v>
                </c:pt>
                <c:pt idx="3857">
                  <c:v>15867</c:v>
                </c:pt>
                <c:pt idx="3858">
                  <c:v>15868</c:v>
                </c:pt>
                <c:pt idx="3859">
                  <c:v>15871</c:v>
                </c:pt>
                <c:pt idx="3860">
                  <c:v>15872</c:v>
                </c:pt>
                <c:pt idx="3861">
                  <c:v>15873</c:v>
                </c:pt>
                <c:pt idx="3862">
                  <c:v>15874</c:v>
                </c:pt>
                <c:pt idx="3863">
                  <c:v>15875</c:v>
                </c:pt>
                <c:pt idx="3864">
                  <c:v>15878</c:v>
                </c:pt>
                <c:pt idx="3865">
                  <c:v>15879</c:v>
                </c:pt>
                <c:pt idx="3866">
                  <c:v>15880</c:v>
                </c:pt>
                <c:pt idx="3867">
                  <c:v>15881</c:v>
                </c:pt>
                <c:pt idx="3868">
                  <c:v>15882</c:v>
                </c:pt>
                <c:pt idx="3869">
                  <c:v>15885</c:v>
                </c:pt>
                <c:pt idx="3870">
                  <c:v>15886</c:v>
                </c:pt>
                <c:pt idx="3871">
                  <c:v>15887</c:v>
                </c:pt>
                <c:pt idx="3872">
                  <c:v>15888</c:v>
                </c:pt>
                <c:pt idx="3873">
                  <c:v>15889</c:v>
                </c:pt>
                <c:pt idx="3874">
                  <c:v>15893</c:v>
                </c:pt>
                <c:pt idx="3875">
                  <c:v>15894</c:v>
                </c:pt>
                <c:pt idx="3876">
                  <c:v>15895</c:v>
                </c:pt>
                <c:pt idx="3877">
                  <c:v>15896</c:v>
                </c:pt>
                <c:pt idx="3878">
                  <c:v>15899</c:v>
                </c:pt>
                <c:pt idx="3879">
                  <c:v>15900</c:v>
                </c:pt>
                <c:pt idx="3880">
                  <c:v>15901</c:v>
                </c:pt>
                <c:pt idx="3881">
                  <c:v>15902</c:v>
                </c:pt>
                <c:pt idx="3882">
                  <c:v>15903</c:v>
                </c:pt>
                <c:pt idx="3883">
                  <c:v>15906</c:v>
                </c:pt>
                <c:pt idx="3884">
                  <c:v>15907</c:v>
                </c:pt>
                <c:pt idx="3885">
                  <c:v>15908</c:v>
                </c:pt>
                <c:pt idx="3886">
                  <c:v>15909</c:v>
                </c:pt>
                <c:pt idx="3887">
                  <c:v>15910</c:v>
                </c:pt>
                <c:pt idx="3888">
                  <c:v>15913</c:v>
                </c:pt>
                <c:pt idx="3889">
                  <c:v>15914</c:v>
                </c:pt>
                <c:pt idx="3890">
                  <c:v>15915</c:v>
                </c:pt>
                <c:pt idx="3891">
                  <c:v>15916</c:v>
                </c:pt>
                <c:pt idx="3892">
                  <c:v>15917</c:v>
                </c:pt>
                <c:pt idx="3893">
                  <c:v>15920</c:v>
                </c:pt>
                <c:pt idx="3894">
                  <c:v>15921</c:v>
                </c:pt>
                <c:pt idx="3895">
                  <c:v>15922</c:v>
                </c:pt>
                <c:pt idx="3896">
                  <c:v>15923</c:v>
                </c:pt>
                <c:pt idx="3897">
                  <c:v>15924</c:v>
                </c:pt>
                <c:pt idx="3898">
                  <c:v>15927</c:v>
                </c:pt>
                <c:pt idx="3899">
                  <c:v>15928</c:v>
                </c:pt>
                <c:pt idx="3900">
                  <c:v>15929</c:v>
                </c:pt>
                <c:pt idx="3901">
                  <c:v>15930</c:v>
                </c:pt>
                <c:pt idx="3902">
                  <c:v>15931</c:v>
                </c:pt>
                <c:pt idx="3903">
                  <c:v>15934</c:v>
                </c:pt>
                <c:pt idx="3904">
                  <c:v>15935</c:v>
                </c:pt>
                <c:pt idx="3905">
                  <c:v>15936</c:v>
                </c:pt>
                <c:pt idx="3906">
                  <c:v>15937</c:v>
                </c:pt>
                <c:pt idx="3907">
                  <c:v>15938</c:v>
                </c:pt>
                <c:pt idx="3908">
                  <c:v>15941</c:v>
                </c:pt>
                <c:pt idx="3909">
                  <c:v>15942</c:v>
                </c:pt>
                <c:pt idx="3910">
                  <c:v>15943</c:v>
                </c:pt>
                <c:pt idx="3911">
                  <c:v>15944</c:v>
                </c:pt>
                <c:pt idx="3912">
                  <c:v>15945</c:v>
                </c:pt>
                <c:pt idx="3913">
                  <c:v>15948</c:v>
                </c:pt>
                <c:pt idx="3914">
                  <c:v>15949</c:v>
                </c:pt>
                <c:pt idx="3915">
                  <c:v>15950</c:v>
                </c:pt>
                <c:pt idx="3916">
                  <c:v>15951</c:v>
                </c:pt>
                <c:pt idx="3917">
                  <c:v>15952</c:v>
                </c:pt>
                <c:pt idx="3918">
                  <c:v>15956</c:v>
                </c:pt>
                <c:pt idx="3919">
                  <c:v>15957</c:v>
                </c:pt>
                <c:pt idx="3920">
                  <c:v>15958</c:v>
                </c:pt>
                <c:pt idx="3921">
                  <c:v>15959</c:v>
                </c:pt>
                <c:pt idx="3922">
                  <c:v>15962</c:v>
                </c:pt>
                <c:pt idx="3923">
                  <c:v>15963</c:v>
                </c:pt>
                <c:pt idx="3924">
                  <c:v>15964</c:v>
                </c:pt>
                <c:pt idx="3925">
                  <c:v>15965</c:v>
                </c:pt>
                <c:pt idx="3926">
                  <c:v>15966</c:v>
                </c:pt>
                <c:pt idx="3927">
                  <c:v>15969</c:v>
                </c:pt>
                <c:pt idx="3928">
                  <c:v>15970</c:v>
                </c:pt>
                <c:pt idx="3929">
                  <c:v>15971</c:v>
                </c:pt>
                <c:pt idx="3930">
                  <c:v>15972</c:v>
                </c:pt>
                <c:pt idx="3931">
                  <c:v>15973</c:v>
                </c:pt>
                <c:pt idx="3932">
                  <c:v>15976</c:v>
                </c:pt>
                <c:pt idx="3933">
                  <c:v>15977</c:v>
                </c:pt>
                <c:pt idx="3934">
                  <c:v>15978</c:v>
                </c:pt>
                <c:pt idx="3935">
                  <c:v>15979</c:v>
                </c:pt>
                <c:pt idx="3936">
                  <c:v>15980</c:v>
                </c:pt>
                <c:pt idx="3937">
                  <c:v>15983</c:v>
                </c:pt>
                <c:pt idx="3938">
                  <c:v>15984</c:v>
                </c:pt>
                <c:pt idx="3939">
                  <c:v>15985</c:v>
                </c:pt>
                <c:pt idx="3940">
                  <c:v>15986</c:v>
                </c:pt>
                <c:pt idx="3941">
                  <c:v>15987</c:v>
                </c:pt>
                <c:pt idx="3942">
                  <c:v>15990</c:v>
                </c:pt>
                <c:pt idx="3943">
                  <c:v>15992</c:v>
                </c:pt>
                <c:pt idx="3944">
                  <c:v>15993</c:v>
                </c:pt>
                <c:pt idx="3945">
                  <c:v>15994</c:v>
                </c:pt>
                <c:pt idx="3946">
                  <c:v>15997</c:v>
                </c:pt>
                <c:pt idx="3947">
                  <c:v>15998</c:v>
                </c:pt>
                <c:pt idx="3948">
                  <c:v>15999</c:v>
                </c:pt>
                <c:pt idx="3949">
                  <c:v>16000</c:v>
                </c:pt>
                <c:pt idx="3950">
                  <c:v>16001</c:v>
                </c:pt>
                <c:pt idx="3951">
                  <c:v>16004</c:v>
                </c:pt>
                <c:pt idx="3952">
                  <c:v>16005</c:v>
                </c:pt>
                <c:pt idx="3953">
                  <c:v>16006</c:v>
                </c:pt>
                <c:pt idx="3954">
                  <c:v>16007</c:v>
                </c:pt>
                <c:pt idx="3955">
                  <c:v>16008</c:v>
                </c:pt>
                <c:pt idx="3956">
                  <c:v>16011</c:v>
                </c:pt>
                <c:pt idx="3957">
                  <c:v>16013</c:v>
                </c:pt>
                <c:pt idx="3958">
                  <c:v>16014</c:v>
                </c:pt>
                <c:pt idx="3959">
                  <c:v>16015</c:v>
                </c:pt>
                <c:pt idx="3960">
                  <c:v>16018</c:v>
                </c:pt>
                <c:pt idx="3961">
                  <c:v>16019</c:v>
                </c:pt>
                <c:pt idx="3962">
                  <c:v>16020</c:v>
                </c:pt>
                <c:pt idx="3963">
                  <c:v>16022</c:v>
                </c:pt>
                <c:pt idx="3964">
                  <c:v>16025</c:v>
                </c:pt>
                <c:pt idx="3965">
                  <c:v>16026</c:v>
                </c:pt>
                <c:pt idx="3966">
                  <c:v>16027</c:v>
                </c:pt>
                <c:pt idx="3967">
                  <c:v>16028</c:v>
                </c:pt>
                <c:pt idx="3968">
                  <c:v>16029</c:v>
                </c:pt>
                <c:pt idx="3969">
                  <c:v>16032</c:v>
                </c:pt>
                <c:pt idx="3970">
                  <c:v>16033</c:v>
                </c:pt>
                <c:pt idx="3971">
                  <c:v>16034</c:v>
                </c:pt>
                <c:pt idx="3972">
                  <c:v>16036</c:v>
                </c:pt>
                <c:pt idx="3973">
                  <c:v>16039</c:v>
                </c:pt>
                <c:pt idx="3974">
                  <c:v>16040</c:v>
                </c:pt>
                <c:pt idx="3975">
                  <c:v>16041</c:v>
                </c:pt>
                <c:pt idx="3976">
                  <c:v>16042</c:v>
                </c:pt>
                <c:pt idx="3977">
                  <c:v>16043</c:v>
                </c:pt>
                <c:pt idx="3978">
                  <c:v>16046</c:v>
                </c:pt>
                <c:pt idx="3979">
                  <c:v>16047</c:v>
                </c:pt>
                <c:pt idx="3980">
                  <c:v>16048</c:v>
                </c:pt>
                <c:pt idx="3981">
                  <c:v>16049</c:v>
                </c:pt>
                <c:pt idx="3982">
                  <c:v>16050</c:v>
                </c:pt>
                <c:pt idx="3983">
                  <c:v>16053</c:v>
                </c:pt>
                <c:pt idx="3984">
                  <c:v>16054</c:v>
                </c:pt>
                <c:pt idx="3985">
                  <c:v>16055</c:v>
                </c:pt>
                <c:pt idx="3986">
                  <c:v>16056</c:v>
                </c:pt>
                <c:pt idx="3987">
                  <c:v>16057</c:v>
                </c:pt>
                <c:pt idx="3988">
                  <c:v>16060</c:v>
                </c:pt>
                <c:pt idx="3989">
                  <c:v>16061</c:v>
                </c:pt>
                <c:pt idx="3990">
                  <c:v>16062</c:v>
                </c:pt>
                <c:pt idx="3991">
                  <c:v>16063</c:v>
                </c:pt>
                <c:pt idx="3992">
                  <c:v>16064</c:v>
                </c:pt>
                <c:pt idx="3993">
                  <c:v>16067</c:v>
                </c:pt>
                <c:pt idx="3994">
                  <c:v>16068</c:v>
                </c:pt>
                <c:pt idx="3995">
                  <c:v>16069</c:v>
                </c:pt>
                <c:pt idx="3996">
                  <c:v>16070</c:v>
                </c:pt>
                <c:pt idx="3997">
                  <c:v>16071</c:v>
                </c:pt>
                <c:pt idx="3998">
                  <c:v>16074</c:v>
                </c:pt>
                <c:pt idx="3999">
                  <c:v>16075</c:v>
                </c:pt>
                <c:pt idx="4000">
                  <c:v>16076</c:v>
                </c:pt>
                <c:pt idx="4001">
                  <c:v>16077</c:v>
                </c:pt>
                <c:pt idx="4002">
                  <c:v>16078</c:v>
                </c:pt>
                <c:pt idx="4003">
                  <c:v>16081</c:v>
                </c:pt>
                <c:pt idx="4004">
                  <c:v>16082</c:v>
                </c:pt>
                <c:pt idx="4005">
                  <c:v>16083</c:v>
                </c:pt>
                <c:pt idx="4006">
                  <c:v>16084</c:v>
                </c:pt>
                <c:pt idx="4007">
                  <c:v>16085</c:v>
                </c:pt>
                <c:pt idx="4008">
                  <c:v>16088</c:v>
                </c:pt>
                <c:pt idx="4009">
                  <c:v>16089</c:v>
                </c:pt>
                <c:pt idx="4010">
                  <c:v>16090</c:v>
                </c:pt>
                <c:pt idx="4011">
                  <c:v>16091</c:v>
                </c:pt>
                <c:pt idx="4012">
                  <c:v>16092</c:v>
                </c:pt>
                <c:pt idx="4013">
                  <c:v>16095</c:v>
                </c:pt>
                <c:pt idx="4014">
                  <c:v>16096</c:v>
                </c:pt>
                <c:pt idx="4015">
                  <c:v>16097</c:v>
                </c:pt>
                <c:pt idx="4016">
                  <c:v>16098</c:v>
                </c:pt>
                <c:pt idx="4017">
                  <c:v>16099</c:v>
                </c:pt>
                <c:pt idx="4018">
                  <c:v>16102</c:v>
                </c:pt>
                <c:pt idx="4019">
                  <c:v>16103</c:v>
                </c:pt>
                <c:pt idx="4020">
                  <c:v>16104</c:v>
                </c:pt>
                <c:pt idx="4021">
                  <c:v>16105</c:v>
                </c:pt>
                <c:pt idx="4022">
                  <c:v>16106</c:v>
                </c:pt>
                <c:pt idx="4023">
                  <c:v>16109</c:v>
                </c:pt>
                <c:pt idx="4024">
                  <c:v>16110</c:v>
                </c:pt>
                <c:pt idx="4025">
                  <c:v>16111</c:v>
                </c:pt>
                <c:pt idx="4026">
                  <c:v>16112</c:v>
                </c:pt>
                <c:pt idx="4027">
                  <c:v>16113</c:v>
                </c:pt>
                <c:pt idx="4028">
                  <c:v>16116</c:v>
                </c:pt>
                <c:pt idx="4029">
                  <c:v>16117</c:v>
                </c:pt>
                <c:pt idx="4030">
                  <c:v>16118</c:v>
                </c:pt>
                <c:pt idx="4031">
                  <c:v>16119</c:v>
                </c:pt>
                <c:pt idx="4032">
                  <c:v>16120</c:v>
                </c:pt>
                <c:pt idx="4033">
                  <c:v>16123</c:v>
                </c:pt>
                <c:pt idx="4034">
                  <c:v>16125</c:v>
                </c:pt>
                <c:pt idx="4035">
                  <c:v>16126</c:v>
                </c:pt>
                <c:pt idx="4036">
                  <c:v>16127</c:v>
                </c:pt>
                <c:pt idx="4037">
                  <c:v>16130</c:v>
                </c:pt>
                <c:pt idx="4038">
                  <c:v>16131</c:v>
                </c:pt>
                <c:pt idx="4039">
                  <c:v>16132</c:v>
                </c:pt>
                <c:pt idx="4040">
                  <c:v>16133</c:v>
                </c:pt>
                <c:pt idx="4041">
                  <c:v>16134</c:v>
                </c:pt>
                <c:pt idx="4042">
                  <c:v>16137</c:v>
                </c:pt>
                <c:pt idx="4043">
                  <c:v>16138</c:v>
                </c:pt>
                <c:pt idx="4044">
                  <c:v>16139</c:v>
                </c:pt>
                <c:pt idx="4045">
                  <c:v>16140</c:v>
                </c:pt>
                <c:pt idx="4046">
                  <c:v>16141</c:v>
                </c:pt>
                <c:pt idx="4047">
                  <c:v>16144</c:v>
                </c:pt>
                <c:pt idx="4048">
                  <c:v>16145</c:v>
                </c:pt>
                <c:pt idx="4049">
                  <c:v>16146</c:v>
                </c:pt>
                <c:pt idx="4050">
                  <c:v>16147</c:v>
                </c:pt>
                <c:pt idx="4051">
                  <c:v>16148</c:v>
                </c:pt>
                <c:pt idx="4052">
                  <c:v>16151</c:v>
                </c:pt>
                <c:pt idx="4053">
                  <c:v>16152</c:v>
                </c:pt>
                <c:pt idx="4054">
                  <c:v>16153</c:v>
                </c:pt>
                <c:pt idx="4055">
                  <c:v>16154</c:v>
                </c:pt>
                <c:pt idx="4056">
                  <c:v>16155</c:v>
                </c:pt>
                <c:pt idx="4057">
                  <c:v>16158</c:v>
                </c:pt>
                <c:pt idx="4058">
                  <c:v>16159</c:v>
                </c:pt>
                <c:pt idx="4059">
                  <c:v>16160</c:v>
                </c:pt>
                <c:pt idx="4060">
                  <c:v>16161</c:v>
                </c:pt>
                <c:pt idx="4061">
                  <c:v>16162</c:v>
                </c:pt>
                <c:pt idx="4062">
                  <c:v>16165</c:v>
                </c:pt>
                <c:pt idx="4063">
                  <c:v>16166</c:v>
                </c:pt>
                <c:pt idx="4064">
                  <c:v>16167</c:v>
                </c:pt>
                <c:pt idx="4065">
                  <c:v>16168</c:v>
                </c:pt>
                <c:pt idx="4066">
                  <c:v>16172</c:v>
                </c:pt>
                <c:pt idx="4067">
                  <c:v>16173</c:v>
                </c:pt>
                <c:pt idx="4068">
                  <c:v>16174</c:v>
                </c:pt>
                <c:pt idx="4069">
                  <c:v>16175</c:v>
                </c:pt>
                <c:pt idx="4070">
                  <c:v>16176</c:v>
                </c:pt>
                <c:pt idx="4071">
                  <c:v>16179</c:v>
                </c:pt>
                <c:pt idx="4072">
                  <c:v>16180</c:v>
                </c:pt>
                <c:pt idx="4073">
                  <c:v>16181</c:v>
                </c:pt>
                <c:pt idx="4074">
                  <c:v>16182</c:v>
                </c:pt>
                <c:pt idx="4075">
                  <c:v>16183</c:v>
                </c:pt>
                <c:pt idx="4076">
                  <c:v>16186</c:v>
                </c:pt>
                <c:pt idx="4077">
                  <c:v>16187</c:v>
                </c:pt>
                <c:pt idx="4078">
                  <c:v>16188</c:v>
                </c:pt>
                <c:pt idx="4079">
                  <c:v>16189</c:v>
                </c:pt>
                <c:pt idx="4080">
                  <c:v>16190</c:v>
                </c:pt>
                <c:pt idx="4081">
                  <c:v>16193</c:v>
                </c:pt>
                <c:pt idx="4082">
                  <c:v>16194</c:v>
                </c:pt>
                <c:pt idx="4083">
                  <c:v>16195</c:v>
                </c:pt>
                <c:pt idx="4084">
                  <c:v>16196</c:v>
                </c:pt>
                <c:pt idx="4085">
                  <c:v>16197</c:v>
                </c:pt>
                <c:pt idx="4086">
                  <c:v>16200</c:v>
                </c:pt>
                <c:pt idx="4087">
                  <c:v>16201</c:v>
                </c:pt>
                <c:pt idx="4088">
                  <c:v>16202</c:v>
                </c:pt>
                <c:pt idx="4089">
                  <c:v>16203</c:v>
                </c:pt>
                <c:pt idx="4090">
                  <c:v>16204</c:v>
                </c:pt>
                <c:pt idx="4091">
                  <c:v>16207</c:v>
                </c:pt>
                <c:pt idx="4092">
                  <c:v>16208</c:v>
                </c:pt>
                <c:pt idx="4093">
                  <c:v>16209</c:v>
                </c:pt>
                <c:pt idx="4094">
                  <c:v>16210</c:v>
                </c:pt>
                <c:pt idx="4095">
                  <c:v>16211</c:v>
                </c:pt>
                <c:pt idx="4096">
                  <c:v>16214</c:v>
                </c:pt>
                <c:pt idx="4097">
                  <c:v>16215</c:v>
                </c:pt>
                <c:pt idx="4098">
                  <c:v>16216</c:v>
                </c:pt>
                <c:pt idx="4099">
                  <c:v>16217</c:v>
                </c:pt>
                <c:pt idx="4100">
                  <c:v>16218</c:v>
                </c:pt>
                <c:pt idx="4101">
                  <c:v>16221</c:v>
                </c:pt>
                <c:pt idx="4102">
                  <c:v>16223</c:v>
                </c:pt>
                <c:pt idx="4103">
                  <c:v>16224</c:v>
                </c:pt>
                <c:pt idx="4104">
                  <c:v>16225</c:v>
                </c:pt>
                <c:pt idx="4105">
                  <c:v>16228</c:v>
                </c:pt>
                <c:pt idx="4106">
                  <c:v>16229</c:v>
                </c:pt>
                <c:pt idx="4107">
                  <c:v>16230</c:v>
                </c:pt>
                <c:pt idx="4108">
                  <c:v>16231</c:v>
                </c:pt>
                <c:pt idx="4109">
                  <c:v>16232</c:v>
                </c:pt>
                <c:pt idx="4110">
                  <c:v>16235</c:v>
                </c:pt>
                <c:pt idx="4111">
                  <c:v>16236</c:v>
                </c:pt>
                <c:pt idx="4112">
                  <c:v>16237</c:v>
                </c:pt>
                <c:pt idx="4113">
                  <c:v>16238</c:v>
                </c:pt>
                <c:pt idx="4114">
                  <c:v>16239</c:v>
                </c:pt>
                <c:pt idx="4115">
                  <c:v>16242</c:v>
                </c:pt>
                <c:pt idx="4116">
                  <c:v>16243</c:v>
                </c:pt>
                <c:pt idx="4117">
                  <c:v>16244</c:v>
                </c:pt>
                <c:pt idx="4118">
                  <c:v>16245</c:v>
                </c:pt>
                <c:pt idx="4119">
                  <c:v>16246</c:v>
                </c:pt>
                <c:pt idx="4120">
                  <c:v>16249</c:v>
                </c:pt>
                <c:pt idx="4121">
                  <c:v>16250</c:v>
                </c:pt>
                <c:pt idx="4122">
                  <c:v>16251</c:v>
                </c:pt>
                <c:pt idx="4123">
                  <c:v>16252</c:v>
                </c:pt>
                <c:pt idx="4124">
                  <c:v>16253</c:v>
                </c:pt>
                <c:pt idx="4125">
                  <c:v>16256</c:v>
                </c:pt>
                <c:pt idx="4126">
                  <c:v>16258</c:v>
                </c:pt>
                <c:pt idx="4127">
                  <c:v>16259</c:v>
                </c:pt>
                <c:pt idx="4128">
                  <c:v>16260</c:v>
                </c:pt>
                <c:pt idx="4129">
                  <c:v>16263</c:v>
                </c:pt>
                <c:pt idx="4130">
                  <c:v>16264</c:v>
                </c:pt>
                <c:pt idx="4131">
                  <c:v>16265</c:v>
                </c:pt>
                <c:pt idx="4132">
                  <c:v>16266</c:v>
                </c:pt>
                <c:pt idx="4133">
                  <c:v>16267</c:v>
                </c:pt>
                <c:pt idx="4134">
                  <c:v>16270</c:v>
                </c:pt>
                <c:pt idx="4135">
                  <c:v>16271</c:v>
                </c:pt>
                <c:pt idx="4136">
                  <c:v>16272</c:v>
                </c:pt>
                <c:pt idx="4137">
                  <c:v>16273</c:v>
                </c:pt>
                <c:pt idx="4138">
                  <c:v>16274</c:v>
                </c:pt>
                <c:pt idx="4139">
                  <c:v>16277</c:v>
                </c:pt>
                <c:pt idx="4140">
                  <c:v>16278</c:v>
                </c:pt>
                <c:pt idx="4141">
                  <c:v>16279</c:v>
                </c:pt>
                <c:pt idx="4142">
                  <c:v>16280</c:v>
                </c:pt>
                <c:pt idx="4143">
                  <c:v>16281</c:v>
                </c:pt>
                <c:pt idx="4144">
                  <c:v>16284</c:v>
                </c:pt>
                <c:pt idx="4145">
                  <c:v>16285</c:v>
                </c:pt>
                <c:pt idx="4146">
                  <c:v>16286</c:v>
                </c:pt>
                <c:pt idx="4147">
                  <c:v>16287</c:v>
                </c:pt>
                <c:pt idx="4148">
                  <c:v>16288</c:v>
                </c:pt>
                <c:pt idx="4149">
                  <c:v>16291</c:v>
                </c:pt>
                <c:pt idx="4150">
                  <c:v>16292</c:v>
                </c:pt>
                <c:pt idx="4151">
                  <c:v>16293</c:v>
                </c:pt>
                <c:pt idx="4152">
                  <c:v>16294</c:v>
                </c:pt>
                <c:pt idx="4153">
                  <c:v>16295</c:v>
                </c:pt>
                <c:pt idx="4154">
                  <c:v>16298</c:v>
                </c:pt>
                <c:pt idx="4155">
                  <c:v>16299</c:v>
                </c:pt>
                <c:pt idx="4156">
                  <c:v>16300</c:v>
                </c:pt>
                <c:pt idx="4157">
                  <c:v>16301</c:v>
                </c:pt>
                <c:pt idx="4158">
                  <c:v>16302</c:v>
                </c:pt>
                <c:pt idx="4159">
                  <c:v>16305</c:v>
                </c:pt>
                <c:pt idx="4160">
                  <c:v>16306</c:v>
                </c:pt>
                <c:pt idx="4161">
                  <c:v>16307</c:v>
                </c:pt>
                <c:pt idx="4162">
                  <c:v>16308</c:v>
                </c:pt>
                <c:pt idx="4163">
                  <c:v>16309</c:v>
                </c:pt>
                <c:pt idx="4164">
                  <c:v>16312</c:v>
                </c:pt>
                <c:pt idx="4165">
                  <c:v>16313</c:v>
                </c:pt>
                <c:pt idx="4166">
                  <c:v>16314</c:v>
                </c:pt>
                <c:pt idx="4167">
                  <c:v>16315</c:v>
                </c:pt>
                <c:pt idx="4168">
                  <c:v>16316</c:v>
                </c:pt>
                <c:pt idx="4169">
                  <c:v>16320</c:v>
                </c:pt>
                <c:pt idx="4170">
                  <c:v>16321</c:v>
                </c:pt>
                <c:pt idx="4171">
                  <c:v>16322</c:v>
                </c:pt>
                <c:pt idx="4172">
                  <c:v>16323</c:v>
                </c:pt>
                <c:pt idx="4173">
                  <c:v>16326</c:v>
                </c:pt>
                <c:pt idx="4174">
                  <c:v>16327</c:v>
                </c:pt>
                <c:pt idx="4175">
                  <c:v>16328</c:v>
                </c:pt>
                <c:pt idx="4176">
                  <c:v>16329</c:v>
                </c:pt>
                <c:pt idx="4177">
                  <c:v>16330</c:v>
                </c:pt>
                <c:pt idx="4178">
                  <c:v>16333</c:v>
                </c:pt>
                <c:pt idx="4179">
                  <c:v>16334</c:v>
                </c:pt>
                <c:pt idx="4180">
                  <c:v>16335</c:v>
                </c:pt>
                <c:pt idx="4181">
                  <c:v>16336</c:v>
                </c:pt>
                <c:pt idx="4182">
                  <c:v>16337</c:v>
                </c:pt>
                <c:pt idx="4183">
                  <c:v>16340</c:v>
                </c:pt>
                <c:pt idx="4184">
                  <c:v>16341</c:v>
                </c:pt>
                <c:pt idx="4185">
                  <c:v>16342</c:v>
                </c:pt>
                <c:pt idx="4186">
                  <c:v>16343</c:v>
                </c:pt>
                <c:pt idx="4187">
                  <c:v>16344</c:v>
                </c:pt>
                <c:pt idx="4188">
                  <c:v>16347</c:v>
                </c:pt>
                <c:pt idx="4189">
                  <c:v>16348</c:v>
                </c:pt>
                <c:pt idx="4190">
                  <c:v>16349</c:v>
                </c:pt>
                <c:pt idx="4191">
                  <c:v>16350</c:v>
                </c:pt>
                <c:pt idx="4192">
                  <c:v>16351</c:v>
                </c:pt>
                <c:pt idx="4193">
                  <c:v>16354</c:v>
                </c:pt>
                <c:pt idx="4194">
                  <c:v>16355</c:v>
                </c:pt>
                <c:pt idx="4195">
                  <c:v>16356</c:v>
                </c:pt>
                <c:pt idx="4196">
                  <c:v>16358</c:v>
                </c:pt>
                <c:pt idx="4197">
                  <c:v>16361</c:v>
                </c:pt>
                <c:pt idx="4198">
                  <c:v>16362</c:v>
                </c:pt>
                <c:pt idx="4199">
                  <c:v>16363</c:v>
                </c:pt>
                <c:pt idx="4200">
                  <c:v>16364</c:v>
                </c:pt>
                <c:pt idx="4201">
                  <c:v>16365</c:v>
                </c:pt>
                <c:pt idx="4202">
                  <c:v>16368</c:v>
                </c:pt>
                <c:pt idx="4203">
                  <c:v>16369</c:v>
                </c:pt>
                <c:pt idx="4204">
                  <c:v>16370</c:v>
                </c:pt>
                <c:pt idx="4205">
                  <c:v>16371</c:v>
                </c:pt>
                <c:pt idx="4206">
                  <c:v>16372</c:v>
                </c:pt>
                <c:pt idx="4207">
                  <c:v>16375</c:v>
                </c:pt>
                <c:pt idx="4208">
                  <c:v>16376</c:v>
                </c:pt>
                <c:pt idx="4209">
                  <c:v>16377</c:v>
                </c:pt>
                <c:pt idx="4210">
                  <c:v>16378</c:v>
                </c:pt>
                <c:pt idx="4211">
                  <c:v>16379</c:v>
                </c:pt>
                <c:pt idx="4212">
                  <c:v>16382</c:v>
                </c:pt>
                <c:pt idx="4213">
                  <c:v>16384</c:v>
                </c:pt>
                <c:pt idx="4214">
                  <c:v>16385</c:v>
                </c:pt>
                <c:pt idx="4215">
                  <c:v>16386</c:v>
                </c:pt>
                <c:pt idx="4216">
                  <c:v>16389</c:v>
                </c:pt>
                <c:pt idx="4217">
                  <c:v>16390</c:v>
                </c:pt>
                <c:pt idx="4218">
                  <c:v>16391</c:v>
                </c:pt>
                <c:pt idx="4219">
                  <c:v>16392</c:v>
                </c:pt>
                <c:pt idx="4220">
                  <c:v>16393</c:v>
                </c:pt>
                <c:pt idx="4221">
                  <c:v>16396</c:v>
                </c:pt>
                <c:pt idx="4222">
                  <c:v>16397</c:v>
                </c:pt>
                <c:pt idx="4223">
                  <c:v>16398</c:v>
                </c:pt>
                <c:pt idx="4224">
                  <c:v>16400</c:v>
                </c:pt>
                <c:pt idx="4225">
                  <c:v>16403</c:v>
                </c:pt>
                <c:pt idx="4226">
                  <c:v>16404</c:v>
                </c:pt>
                <c:pt idx="4227">
                  <c:v>16405</c:v>
                </c:pt>
                <c:pt idx="4228">
                  <c:v>16406</c:v>
                </c:pt>
                <c:pt idx="4229">
                  <c:v>16407</c:v>
                </c:pt>
                <c:pt idx="4230">
                  <c:v>16410</c:v>
                </c:pt>
                <c:pt idx="4231">
                  <c:v>16411</c:v>
                </c:pt>
                <c:pt idx="4232">
                  <c:v>16412</c:v>
                </c:pt>
                <c:pt idx="4233">
                  <c:v>16413</c:v>
                </c:pt>
                <c:pt idx="4234">
                  <c:v>16414</c:v>
                </c:pt>
                <c:pt idx="4235">
                  <c:v>16417</c:v>
                </c:pt>
                <c:pt idx="4236">
                  <c:v>16418</c:v>
                </c:pt>
                <c:pt idx="4237">
                  <c:v>16419</c:v>
                </c:pt>
                <c:pt idx="4238">
                  <c:v>16420</c:v>
                </c:pt>
                <c:pt idx="4239">
                  <c:v>16421</c:v>
                </c:pt>
                <c:pt idx="4240">
                  <c:v>16424</c:v>
                </c:pt>
                <c:pt idx="4241">
                  <c:v>16425</c:v>
                </c:pt>
                <c:pt idx="4242">
                  <c:v>16426</c:v>
                </c:pt>
                <c:pt idx="4243">
                  <c:v>16427</c:v>
                </c:pt>
                <c:pt idx="4244">
                  <c:v>16428</c:v>
                </c:pt>
                <c:pt idx="4245">
                  <c:v>16432</c:v>
                </c:pt>
                <c:pt idx="4246">
                  <c:v>16433</c:v>
                </c:pt>
                <c:pt idx="4247">
                  <c:v>16434</c:v>
                </c:pt>
                <c:pt idx="4248">
                  <c:v>16435</c:v>
                </c:pt>
                <c:pt idx="4249">
                  <c:v>16439</c:v>
                </c:pt>
                <c:pt idx="4250">
                  <c:v>16440</c:v>
                </c:pt>
                <c:pt idx="4251">
                  <c:v>16441</c:v>
                </c:pt>
                <c:pt idx="4252">
                  <c:v>16442</c:v>
                </c:pt>
                <c:pt idx="4253">
                  <c:v>16445</c:v>
                </c:pt>
                <c:pt idx="4254">
                  <c:v>16446</c:v>
                </c:pt>
                <c:pt idx="4255">
                  <c:v>16447</c:v>
                </c:pt>
                <c:pt idx="4256">
                  <c:v>16448</c:v>
                </c:pt>
                <c:pt idx="4257">
                  <c:v>16449</c:v>
                </c:pt>
                <c:pt idx="4258">
                  <c:v>16452</c:v>
                </c:pt>
                <c:pt idx="4259">
                  <c:v>16453</c:v>
                </c:pt>
                <c:pt idx="4260">
                  <c:v>16454</c:v>
                </c:pt>
                <c:pt idx="4261">
                  <c:v>16455</c:v>
                </c:pt>
                <c:pt idx="4262">
                  <c:v>16456</c:v>
                </c:pt>
                <c:pt idx="4263">
                  <c:v>16459</c:v>
                </c:pt>
                <c:pt idx="4264">
                  <c:v>16460</c:v>
                </c:pt>
                <c:pt idx="4265">
                  <c:v>16461</c:v>
                </c:pt>
                <c:pt idx="4266">
                  <c:v>16462</c:v>
                </c:pt>
                <c:pt idx="4267">
                  <c:v>16463</c:v>
                </c:pt>
                <c:pt idx="4268">
                  <c:v>16466</c:v>
                </c:pt>
                <c:pt idx="4269">
                  <c:v>16467</c:v>
                </c:pt>
                <c:pt idx="4270">
                  <c:v>16468</c:v>
                </c:pt>
                <c:pt idx="4271">
                  <c:v>16469</c:v>
                </c:pt>
                <c:pt idx="4272">
                  <c:v>16470</c:v>
                </c:pt>
                <c:pt idx="4273">
                  <c:v>16473</c:v>
                </c:pt>
                <c:pt idx="4274">
                  <c:v>16474</c:v>
                </c:pt>
                <c:pt idx="4275">
                  <c:v>16475</c:v>
                </c:pt>
                <c:pt idx="4276">
                  <c:v>16476</c:v>
                </c:pt>
                <c:pt idx="4277">
                  <c:v>16477</c:v>
                </c:pt>
                <c:pt idx="4278">
                  <c:v>16481</c:v>
                </c:pt>
                <c:pt idx="4279">
                  <c:v>16482</c:v>
                </c:pt>
                <c:pt idx="4280">
                  <c:v>16483</c:v>
                </c:pt>
                <c:pt idx="4281">
                  <c:v>16484</c:v>
                </c:pt>
                <c:pt idx="4282">
                  <c:v>16487</c:v>
                </c:pt>
                <c:pt idx="4283">
                  <c:v>16488</c:v>
                </c:pt>
                <c:pt idx="4284">
                  <c:v>16489</c:v>
                </c:pt>
                <c:pt idx="4285">
                  <c:v>16491</c:v>
                </c:pt>
                <c:pt idx="4286">
                  <c:v>16494</c:v>
                </c:pt>
                <c:pt idx="4287">
                  <c:v>16495</c:v>
                </c:pt>
                <c:pt idx="4288">
                  <c:v>16496</c:v>
                </c:pt>
                <c:pt idx="4289">
                  <c:v>16497</c:v>
                </c:pt>
                <c:pt idx="4290">
                  <c:v>16498</c:v>
                </c:pt>
                <c:pt idx="4291">
                  <c:v>16501</c:v>
                </c:pt>
                <c:pt idx="4292">
                  <c:v>16502</c:v>
                </c:pt>
                <c:pt idx="4293">
                  <c:v>16503</c:v>
                </c:pt>
                <c:pt idx="4294">
                  <c:v>16504</c:v>
                </c:pt>
                <c:pt idx="4295">
                  <c:v>16505</c:v>
                </c:pt>
                <c:pt idx="4296">
                  <c:v>16508</c:v>
                </c:pt>
                <c:pt idx="4297">
                  <c:v>16509</c:v>
                </c:pt>
                <c:pt idx="4298">
                  <c:v>16510</c:v>
                </c:pt>
                <c:pt idx="4299">
                  <c:v>16511</c:v>
                </c:pt>
                <c:pt idx="4300">
                  <c:v>16512</c:v>
                </c:pt>
                <c:pt idx="4301">
                  <c:v>16515</c:v>
                </c:pt>
                <c:pt idx="4302">
                  <c:v>16516</c:v>
                </c:pt>
                <c:pt idx="4303">
                  <c:v>16517</c:v>
                </c:pt>
                <c:pt idx="4304">
                  <c:v>16518</c:v>
                </c:pt>
                <c:pt idx="4305">
                  <c:v>16519</c:v>
                </c:pt>
                <c:pt idx="4306">
                  <c:v>16522</c:v>
                </c:pt>
                <c:pt idx="4307">
                  <c:v>16523</c:v>
                </c:pt>
                <c:pt idx="4308">
                  <c:v>16524</c:v>
                </c:pt>
                <c:pt idx="4309">
                  <c:v>16525</c:v>
                </c:pt>
                <c:pt idx="4310">
                  <c:v>16529</c:v>
                </c:pt>
                <c:pt idx="4311">
                  <c:v>16530</c:v>
                </c:pt>
                <c:pt idx="4312">
                  <c:v>16531</c:v>
                </c:pt>
                <c:pt idx="4313">
                  <c:v>16532</c:v>
                </c:pt>
                <c:pt idx="4314">
                  <c:v>16533</c:v>
                </c:pt>
                <c:pt idx="4315">
                  <c:v>16536</c:v>
                </c:pt>
                <c:pt idx="4316">
                  <c:v>16537</c:v>
                </c:pt>
                <c:pt idx="4317">
                  <c:v>16538</c:v>
                </c:pt>
                <c:pt idx="4318">
                  <c:v>16539</c:v>
                </c:pt>
                <c:pt idx="4319">
                  <c:v>16540</c:v>
                </c:pt>
                <c:pt idx="4320">
                  <c:v>16543</c:v>
                </c:pt>
                <c:pt idx="4321">
                  <c:v>16544</c:v>
                </c:pt>
                <c:pt idx="4322">
                  <c:v>16545</c:v>
                </c:pt>
                <c:pt idx="4323">
                  <c:v>16546</c:v>
                </c:pt>
                <c:pt idx="4324">
                  <c:v>16547</c:v>
                </c:pt>
                <c:pt idx="4325">
                  <c:v>16550</c:v>
                </c:pt>
                <c:pt idx="4326">
                  <c:v>16551</c:v>
                </c:pt>
                <c:pt idx="4327">
                  <c:v>16552</c:v>
                </c:pt>
                <c:pt idx="4328">
                  <c:v>16553</c:v>
                </c:pt>
                <c:pt idx="4329">
                  <c:v>16554</c:v>
                </c:pt>
                <c:pt idx="4330">
                  <c:v>16557</c:v>
                </c:pt>
                <c:pt idx="4331">
                  <c:v>16558</c:v>
                </c:pt>
                <c:pt idx="4332">
                  <c:v>16559</c:v>
                </c:pt>
                <c:pt idx="4333">
                  <c:v>16560</c:v>
                </c:pt>
                <c:pt idx="4334">
                  <c:v>16561</c:v>
                </c:pt>
                <c:pt idx="4335">
                  <c:v>16564</c:v>
                </c:pt>
                <c:pt idx="4336">
                  <c:v>16565</c:v>
                </c:pt>
                <c:pt idx="4337">
                  <c:v>16566</c:v>
                </c:pt>
                <c:pt idx="4338">
                  <c:v>16567</c:v>
                </c:pt>
                <c:pt idx="4339">
                  <c:v>16568</c:v>
                </c:pt>
                <c:pt idx="4340">
                  <c:v>16571</c:v>
                </c:pt>
                <c:pt idx="4341">
                  <c:v>16572</c:v>
                </c:pt>
                <c:pt idx="4342">
                  <c:v>16573</c:v>
                </c:pt>
                <c:pt idx="4343">
                  <c:v>16574</c:v>
                </c:pt>
                <c:pt idx="4344">
                  <c:v>16575</c:v>
                </c:pt>
                <c:pt idx="4345">
                  <c:v>16578</c:v>
                </c:pt>
                <c:pt idx="4346">
                  <c:v>16579</c:v>
                </c:pt>
                <c:pt idx="4347">
                  <c:v>16580</c:v>
                </c:pt>
                <c:pt idx="4348">
                  <c:v>16581</c:v>
                </c:pt>
                <c:pt idx="4349">
                  <c:v>16582</c:v>
                </c:pt>
                <c:pt idx="4350">
                  <c:v>16585</c:v>
                </c:pt>
                <c:pt idx="4351">
                  <c:v>16586</c:v>
                </c:pt>
                <c:pt idx="4352">
                  <c:v>16588</c:v>
                </c:pt>
                <c:pt idx="4353">
                  <c:v>16589</c:v>
                </c:pt>
                <c:pt idx="4354">
                  <c:v>16592</c:v>
                </c:pt>
                <c:pt idx="4355">
                  <c:v>16593</c:v>
                </c:pt>
                <c:pt idx="4356">
                  <c:v>16594</c:v>
                </c:pt>
                <c:pt idx="4357">
                  <c:v>16595</c:v>
                </c:pt>
                <c:pt idx="4358">
                  <c:v>16596</c:v>
                </c:pt>
                <c:pt idx="4359">
                  <c:v>16599</c:v>
                </c:pt>
                <c:pt idx="4360">
                  <c:v>16600</c:v>
                </c:pt>
                <c:pt idx="4361">
                  <c:v>16601</c:v>
                </c:pt>
                <c:pt idx="4362">
                  <c:v>16602</c:v>
                </c:pt>
                <c:pt idx="4363">
                  <c:v>16603</c:v>
                </c:pt>
                <c:pt idx="4364">
                  <c:v>16606</c:v>
                </c:pt>
                <c:pt idx="4365">
                  <c:v>16607</c:v>
                </c:pt>
                <c:pt idx="4366">
                  <c:v>16608</c:v>
                </c:pt>
                <c:pt idx="4367">
                  <c:v>16609</c:v>
                </c:pt>
                <c:pt idx="4368">
                  <c:v>16610</c:v>
                </c:pt>
                <c:pt idx="4369">
                  <c:v>16613</c:v>
                </c:pt>
                <c:pt idx="4370">
                  <c:v>16614</c:v>
                </c:pt>
                <c:pt idx="4371">
                  <c:v>16615</c:v>
                </c:pt>
                <c:pt idx="4372">
                  <c:v>16616</c:v>
                </c:pt>
                <c:pt idx="4373">
                  <c:v>16617</c:v>
                </c:pt>
                <c:pt idx="4374">
                  <c:v>16620</c:v>
                </c:pt>
                <c:pt idx="4375">
                  <c:v>16621</c:v>
                </c:pt>
                <c:pt idx="4376">
                  <c:v>16623</c:v>
                </c:pt>
                <c:pt idx="4377">
                  <c:v>16624</c:v>
                </c:pt>
                <c:pt idx="4378">
                  <c:v>16627</c:v>
                </c:pt>
                <c:pt idx="4379">
                  <c:v>16628</c:v>
                </c:pt>
                <c:pt idx="4380">
                  <c:v>16629</c:v>
                </c:pt>
                <c:pt idx="4381">
                  <c:v>16630</c:v>
                </c:pt>
                <c:pt idx="4382">
                  <c:v>16631</c:v>
                </c:pt>
                <c:pt idx="4383">
                  <c:v>16634</c:v>
                </c:pt>
                <c:pt idx="4384">
                  <c:v>16635</c:v>
                </c:pt>
                <c:pt idx="4385">
                  <c:v>16636</c:v>
                </c:pt>
                <c:pt idx="4386">
                  <c:v>16637</c:v>
                </c:pt>
                <c:pt idx="4387">
                  <c:v>16638</c:v>
                </c:pt>
                <c:pt idx="4388">
                  <c:v>16641</c:v>
                </c:pt>
                <c:pt idx="4389">
                  <c:v>16642</c:v>
                </c:pt>
                <c:pt idx="4390">
                  <c:v>16643</c:v>
                </c:pt>
                <c:pt idx="4391">
                  <c:v>16644</c:v>
                </c:pt>
                <c:pt idx="4392">
                  <c:v>16645</c:v>
                </c:pt>
                <c:pt idx="4393">
                  <c:v>16648</c:v>
                </c:pt>
                <c:pt idx="4394">
                  <c:v>16649</c:v>
                </c:pt>
                <c:pt idx="4395">
                  <c:v>16650</c:v>
                </c:pt>
                <c:pt idx="4396">
                  <c:v>16651</c:v>
                </c:pt>
                <c:pt idx="4397">
                  <c:v>16652</c:v>
                </c:pt>
                <c:pt idx="4398">
                  <c:v>16655</c:v>
                </c:pt>
                <c:pt idx="4399">
                  <c:v>16656</c:v>
                </c:pt>
                <c:pt idx="4400">
                  <c:v>16657</c:v>
                </c:pt>
                <c:pt idx="4401">
                  <c:v>16658</c:v>
                </c:pt>
                <c:pt idx="4402">
                  <c:v>16659</c:v>
                </c:pt>
                <c:pt idx="4403">
                  <c:v>16662</c:v>
                </c:pt>
                <c:pt idx="4404">
                  <c:v>16663</c:v>
                </c:pt>
                <c:pt idx="4405">
                  <c:v>16666</c:v>
                </c:pt>
                <c:pt idx="4406">
                  <c:v>16669</c:v>
                </c:pt>
                <c:pt idx="4407">
                  <c:v>16670</c:v>
                </c:pt>
                <c:pt idx="4408">
                  <c:v>16671</c:v>
                </c:pt>
                <c:pt idx="4409">
                  <c:v>16672</c:v>
                </c:pt>
                <c:pt idx="4410">
                  <c:v>16673</c:v>
                </c:pt>
                <c:pt idx="4411">
                  <c:v>16676</c:v>
                </c:pt>
                <c:pt idx="4412">
                  <c:v>16677</c:v>
                </c:pt>
                <c:pt idx="4413">
                  <c:v>16678</c:v>
                </c:pt>
                <c:pt idx="4414">
                  <c:v>16679</c:v>
                </c:pt>
                <c:pt idx="4415">
                  <c:v>16680</c:v>
                </c:pt>
                <c:pt idx="4416">
                  <c:v>16684</c:v>
                </c:pt>
                <c:pt idx="4417">
                  <c:v>16685</c:v>
                </c:pt>
                <c:pt idx="4418">
                  <c:v>16686</c:v>
                </c:pt>
                <c:pt idx="4419">
                  <c:v>16687</c:v>
                </c:pt>
                <c:pt idx="4420">
                  <c:v>16690</c:v>
                </c:pt>
                <c:pt idx="4421">
                  <c:v>16691</c:v>
                </c:pt>
                <c:pt idx="4422">
                  <c:v>16692</c:v>
                </c:pt>
                <c:pt idx="4423">
                  <c:v>16693</c:v>
                </c:pt>
                <c:pt idx="4424">
                  <c:v>16694</c:v>
                </c:pt>
                <c:pt idx="4425">
                  <c:v>16697</c:v>
                </c:pt>
                <c:pt idx="4426">
                  <c:v>16698</c:v>
                </c:pt>
                <c:pt idx="4427">
                  <c:v>16699</c:v>
                </c:pt>
                <c:pt idx="4428">
                  <c:v>16700</c:v>
                </c:pt>
                <c:pt idx="4429">
                  <c:v>16701</c:v>
                </c:pt>
                <c:pt idx="4430">
                  <c:v>16704</c:v>
                </c:pt>
                <c:pt idx="4431">
                  <c:v>16705</c:v>
                </c:pt>
                <c:pt idx="4432">
                  <c:v>16706</c:v>
                </c:pt>
                <c:pt idx="4433">
                  <c:v>16707</c:v>
                </c:pt>
                <c:pt idx="4434">
                  <c:v>16708</c:v>
                </c:pt>
                <c:pt idx="4435">
                  <c:v>16711</c:v>
                </c:pt>
                <c:pt idx="4436">
                  <c:v>16712</c:v>
                </c:pt>
                <c:pt idx="4437">
                  <c:v>16713</c:v>
                </c:pt>
                <c:pt idx="4438">
                  <c:v>16714</c:v>
                </c:pt>
                <c:pt idx="4439">
                  <c:v>16715</c:v>
                </c:pt>
                <c:pt idx="4440">
                  <c:v>16718</c:v>
                </c:pt>
                <c:pt idx="4441">
                  <c:v>16719</c:v>
                </c:pt>
                <c:pt idx="4442">
                  <c:v>16720</c:v>
                </c:pt>
                <c:pt idx="4443">
                  <c:v>16721</c:v>
                </c:pt>
                <c:pt idx="4444">
                  <c:v>16725</c:v>
                </c:pt>
                <c:pt idx="4445">
                  <c:v>16726</c:v>
                </c:pt>
                <c:pt idx="4446">
                  <c:v>16727</c:v>
                </c:pt>
                <c:pt idx="4447">
                  <c:v>16728</c:v>
                </c:pt>
                <c:pt idx="4448">
                  <c:v>16729</c:v>
                </c:pt>
                <c:pt idx="4449">
                  <c:v>16732</c:v>
                </c:pt>
                <c:pt idx="4450">
                  <c:v>16733</c:v>
                </c:pt>
                <c:pt idx="4451">
                  <c:v>16734</c:v>
                </c:pt>
                <c:pt idx="4452">
                  <c:v>16735</c:v>
                </c:pt>
                <c:pt idx="4453">
                  <c:v>16736</c:v>
                </c:pt>
                <c:pt idx="4454">
                  <c:v>16739</c:v>
                </c:pt>
                <c:pt idx="4455">
                  <c:v>16740</c:v>
                </c:pt>
                <c:pt idx="4456">
                  <c:v>16741</c:v>
                </c:pt>
                <c:pt idx="4457">
                  <c:v>16742</c:v>
                </c:pt>
                <c:pt idx="4458">
                  <c:v>16743</c:v>
                </c:pt>
                <c:pt idx="4459">
                  <c:v>16746</c:v>
                </c:pt>
                <c:pt idx="4460">
                  <c:v>16748</c:v>
                </c:pt>
                <c:pt idx="4461">
                  <c:v>16749</c:v>
                </c:pt>
                <c:pt idx="4462">
                  <c:v>16750</c:v>
                </c:pt>
                <c:pt idx="4463">
                  <c:v>16754</c:v>
                </c:pt>
                <c:pt idx="4464">
                  <c:v>16755</c:v>
                </c:pt>
                <c:pt idx="4465">
                  <c:v>16756</c:v>
                </c:pt>
                <c:pt idx="4466">
                  <c:v>16757</c:v>
                </c:pt>
                <c:pt idx="4467">
                  <c:v>16760</c:v>
                </c:pt>
                <c:pt idx="4468">
                  <c:v>16761</c:v>
                </c:pt>
                <c:pt idx="4469">
                  <c:v>16762</c:v>
                </c:pt>
                <c:pt idx="4470">
                  <c:v>16764</c:v>
                </c:pt>
                <c:pt idx="4471">
                  <c:v>16767</c:v>
                </c:pt>
                <c:pt idx="4472">
                  <c:v>16768</c:v>
                </c:pt>
                <c:pt idx="4473">
                  <c:v>16769</c:v>
                </c:pt>
                <c:pt idx="4474">
                  <c:v>16770</c:v>
                </c:pt>
                <c:pt idx="4475">
                  <c:v>16771</c:v>
                </c:pt>
                <c:pt idx="4476">
                  <c:v>16774</c:v>
                </c:pt>
                <c:pt idx="4477">
                  <c:v>16775</c:v>
                </c:pt>
                <c:pt idx="4478">
                  <c:v>16776</c:v>
                </c:pt>
                <c:pt idx="4479">
                  <c:v>16777</c:v>
                </c:pt>
                <c:pt idx="4480">
                  <c:v>16778</c:v>
                </c:pt>
                <c:pt idx="4481">
                  <c:v>16781</c:v>
                </c:pt>
                <c:pt idx="4482">
                  <c:v>16782</c:v>
                </c:pt>
                <c:pt idx="4483">
                  <c:v>16783</c:v>
                </c:pt>
                <c:pt idx="4484">
                  <c:v>16784</c:v>
                </c:pt>
                <c:pt idx="4485">
                  <c:v>16785</c:v>
                </c:pt>
                <c:pt idx="4486">
                  <c:v>16788</c:v>
                </c:pt>
                <c:pt idx="4487">
                  <c:v>16789</c:v>
                </c:pt>
                <c:pt idx="4488">
                  <c:v>16790</c:v>
                </c:pt>
                <c:pt idx="4489">
                  <c:v>16791</c:v>
                </c:pt>
                <c:pt idx="4490">
                  <c:v>16792</c:v>
                </c:pt>
                <c:pt idx="4491">
                  <c:v>16797</c:v>
                </c:pt>
                <c:pt idx="4492">
                  <c:v>16798</c:v>
                </c:pt>
                <c:pt idx="4493">
                  <c:v>16799</c:v>
                </c:pt>
                <c:pt idx="4494">
                  <c:v>16802</c:v>
                </c:pt>
                <c:pt idx="4495">
                  <c:v>16804</c:v>
                </c:pt>
                <c:pt idx="4496">
                  <c:v>16805</c:v>
                </c:pt>
                <c:pt idx="4497">
                  <c:v>16806</c:v>
                </c:pt>
                <c:pt idx="4498">
                  <c:v>16809</c:v>
                </c:pt>
                <c:pt idx="4499">
                  <c:v>16810</c:v>
                </c:pt>
                <c:pt idx="4500">
                  <c:v>16811</c:v>
                </c:pt>
                <c:pt idx="4501">
                  <c:v>16812</c:v>
                </c:pt>
                <c:pt idx="4502">
                  <c:v>16813</c:v>
                </c:pt>
                <c:pt idx="4503">
                  <c:v>16816</c:v>
                </c:pt>
                <c:pt idx="4504">
                  <c:v>16817</c:v>
                </c:pt>
                <c:pt idx="4505">
                  <c:v>16818</c:v>
                </c:pt>
                <c:pt idx="4506">
                  <c:v>16819</c:v>
                </c:pt>
                <c:pt idx="4507">
                  <c:v>16820</c:v>
                </c:pt>
                <c:pt idx="4508">
                  <c:v>16823</c:v>
                </c:pt>
                <c:pt idx="4509">
                  <c:v>16824</c:v>
                </c:pt>
                <c:pt idx="4510">
                  <c:v>16825</c:v>
                </c:pt>
                <c:pt idx="4511">
                  <c:v>16826</c:v>
                </c:pt>
                <c:pt idx="4512">
                  <c:v>16827</c:v>
                </c:pt>
                <c:pt idx="4513">
                  <c:v>16830</c:v>
                </c:pt>
                <c:pt idx="4514">
                  <c:v>16831</c:v>
                </c:pt>
                <c:pt idx="4515">
                  <c:v>16832</c:v>
                </c:pt>
                <c:pt idx="4516">
                  <c:v>16833</c:v>
                </c:pt>
                <c:pt idx="4517">
                  <c:v>16834</c:v>
                </c:pt>
                <c:pt idx="4518">
                  <c:v>16837</c:v>
                </c:pt>
                <c:pt idx="4519">
                  <c:v>16838</c:v>
                </c:pt>
                <c:pt idx="4520">
                  <c:v>16839</c:v>
                </c:pt>
                <c:pt idx="4521">
                  <c:v>16840</c:v>
                </c:pt>
                <c:pt idx="4522">
                  <c:v>16841</c:v>
                </c:pt>
                <c:pt idx="4523">
                  <c:v>16844</c:v>
                </c:pt>
                <c:pt idx="4524">
                  <c:v>16846</c:v>
                </c:pt>
                <c:pt idx="4525">
                  <c:v>16847</c:v>
                </c:pt>
                <c:pt idx="4526">
                  <c:v>16848</c:v>
                </c:pt>
                <c:pt idx="4527">
                  <c:v>16851</c:v>
                </c:pt>
                <c:pt idx="4528">
                  <c:v>16852</c:v>
                </c:pt>
                <c:pt idx="4529">
                  <c:v>16853</c:v>
                </c:pt>
                <c:pt idx="4530">
                  <c:v>16854</c:v>
                </c:pt>
                <c:pt idx="4531">
                  <c:v>16858</c:v>
                </c:pt>
                <c:pt idx="4532">
                  <c:v>16859</c:v>
                </c:pt>
                <c:pt idx="4533">
                  <c:v>16860</c:v>
                </c:pt>
                <c:pt idx="4534">
                  <c:v>16861</c:v>
                </c:pt>
                <c:pt idx="4535">
                  <c:v>16862</c:v>
                </c:pt>
                <c:pt idx="4536">
                  <c:v>16865</c:v>
                </c:pt>
                <c:pt idx="4537">
                  <c:v>16866</c:v>
                </c:pt>
                <c:pt idx="4538">
                  <c:v>16867</c:v>
                </c:pt>
                <c:pt idx="4539">
                  <c:v>16868</c:v>
                </c:pt>
                <c:pt idx="4540">
                  <c:v>16869</c:v>
                </c:pt>
                <c:pt idx="4541">
                  <c:v>16872</c:v>
                </c:pt>
                <c:pt idx="4542">
                  <c:v>16873</c:v>
                </c:pt>
                <c:pt idx="4543">
                  <c:v>16874</c:v>
                </c:pt>
                <c:pt idx="4544">
                  <c:v>16875</c:v>
                </c:pt>
                <c:pt idx="4545">
                  <c:v>16876</c:v>
                </c:pt>
                <c:pt idx="4546">
                  <c:v>16879</c:v>
                </c:pt>
                <c:pt idx="4547">
                  <c:v>16880</c:v>
                </c:pt>
                <c:pt idx="4548">
                  <c:v>16881</c:v>
                </c:pt>
                <c:pt idx="4549">
                  <c:v>16882</c:v>
                </c:pt>
                <c:pt idx="4550">
                  <c:v>16883</c:v>
                </c:pt>
                <c:pt idx="4551">
                  <c:v>16886</c:v>
                </c:pt>
                <c:pt idx="4552">
                  <c:v>16887</c:v>
                </c:pt>
                <c:pt idx="4553">
                  <c:v>16888</c:v>
                </c:pt>
                <c:pt idx="4554">
                  <c:v>16889</c:v>
                </c:pt>
                <c:pt idx="4555">
                  <c:v>16890</c:v>
                </c:pt>
                <c:pt idx="4556">
                  <c:v>16893</c:v>
                </c:pt>
                <c:pt idx="4557">
                  <c:v>16894</c:v>
                </c:pt>
                <c:pt idx="4558">
                  <c:v>16895</c:v>
                </c:pt>
                <c:pt idx="4559">
                  <c:v>16896</c:v>
                </c:pt>
                <c:pt idx="4560">
                  <c:v>16897</c:v>
                </c:pt>
                <c:pt idx="4561">
                  <c:v>16900</c:v>
                </c:pt>
                <c:pt idx="4562">
                  <c:v>16901</c:v>
                </c:pt>
                <c:pt idx="4563">
                  <c:v>16902</c:v>
                </c:pt>
                <c:pt idx="4564">
                  <c:v>16903</c:v>
                </c:pt>
                <c:pt idx="4565">
                  <c:v>16904</c:v>
                </c:pt>
                <c:pt idx="4566">
                  <c:v>16907</c:v>
                </c:pt>
                <c:pt idx="4567">
                  <c:v>16908</c:v>
                </c:pt>
                <c:pt idx="4568">
                  <c:v>16909</c:v>
                </c:pt>
                <c:pt idx="4569">
                  <c:v>16910</c:v>
                </c:pt>
                <c:pt idx="4570">
                  <c:v>16914</c:v>
                </c:pt>
                <c:pt idx="4571">
                  <c:v>16915</c:v>
                </c:pt>
                <c:pt idx="4572">
                  <c:v>16916</c:v>
                </c:pt>
                <c:pt idx="4573">
                  <c:v>16917</c:v>
                </c:pt>
                <c:pt idx="4574">
                  <c:v>16918</c:v>
                </c:pt>
                <c:pt idx="4575">
                  <c:v>16921</c:v>
                </c:pt>
                <c:pt idx="4576">
                  <c:v>16922</c:v>
                </c:pt>
                <c:pt idx="4577">
                  <c:v>16923</c:v>
                </c:pt>
                <c:pt idx="4578">
                  <c:v>16924</c:v>
                </c:pt>
                <c:pt idx="4579">
                  <c:v>16925</c:v>
                </c:pt>
                <c:pt idx="4580">
                  <c:v>16928</c:v>
                </c:pt>
                <c:pt idx="4581">
                  <c:v>16929</c:v>
                </c:pt>
                <c:pt idx="4582">
                  <c:v>16930</c:v>
                </c:pt>
                <c:pt idx="4583">
                  <c:v>16931</c:v>
                </c:pt>
                <c:pt idx="4584">
                  <c:v>16932</c:v>
                </c:pt>
                <c:pt idx="4585">
                  <c:v>16935</c:v>
                </c:pt>
                <c:pt idx="4586">
                  <c:v>16936</c:v>
                </c:pt>
                <c:pt idx="4587">
                  <c:v>16937</c:v>
                </c:pt>
                <c:pt idx="4588">
                  <c:v>16938</c:v>
                </c:pt>
                <c:pt idx="4589">
                  <c:v>16939</c:v>
                </c:pt>
                <c:pt idx="4590">
                  <c:v>16942</c:v>
                </c:pt>
                <c:pt idx="4591">
                  <c:v>16943</c:v>
                </c:pt>
                <c:pt idx="4592">
                  <c:v>16944</c:v>
                </c:pt>
                <c:pt idx="4593">
                  <c:v>16945</c:v>
                </c:pt>
                <c:pt idx="4594">
                  <c:v>16946</c:v>
                </c:pt>
                <c:pt idx="4595">
                  <c:v>16949</c:v>
                </c:pt>
                <c:pt idx="4596">
                  <c:v>16950</c:v>
                </c:pt>
                <c:pt idx="4597">
                  <c:v>16951</c:v>
                </c:pt>
                <c:pt idx="4598">
                  <c:v>16953</c:v>
                </c:pt>
                <c:pt idx="4599">
                  <c:v>16956</c:v>
                </c:pt>
                <c:pt idx="4600">
                  <c:v>16957</c:v>
                </c:pt>
                <c:pt idx="4601">
                  <c:v>16958</c:v>
                </c:pt>
                <c:pt idx="4602">
                  <c:v>16959</c:v>
                </c:pt>
                <c:pt idx="4603">
                  <c:v>16960</c:v>
                </c:pt>
                <c:pt idx="4604">
                  <c:v>16963</c:v>
                </c:pt>
                <c:pt idx="4605">
                  <c:v>16964</c:v>
                </c:pt>
                <c:pt idx="4606">
                  <c:v>16965</c:v>
                </c:pt>
                <c:pt idx="4607">
                  <c:v>16966</c:v>
                </c:pt>
                <c:pt idx="4608">
                  <c:v>16967</c:v>
                </c:pt>
                <c:pt idx="4609">
                  <c:v>16970</c:v>
                </c:pt>
                <c:pt idx="4610">
                  <c:v>16971</c:v>
                </c:pt>
                <c:pt idx="4611">
                  <c:v>16972</c:v>
                </c:pt>
                <c:pt idx="4612">
                  <c:v>16973</c:v>
                </c:pt>
                <c:pt idx="4613">
                  <c:v>16974</c:v>
                </c:pt>
                <c:pt idx="4614">
                  <c:v>16977</c:v>
                </c:pt>
                <c:pt idx="4615">
                  <c:v>16978</c:v>
                </c:pt>
                <c:pt idx="4616">
                  <c:v>16979</c:v>
                </c:pt>
                <c:pt idx="4617">
                  <c:v>16980</c:v>
                </c:pt>
                <c:pt idx="4618">
                  <c:v>16981</c:v>
                </c:pt>
                <c:pt idx="4619">
                  <c:v>16984</c:v>
                </c:pt>
                <c:pt idx="4620">
                  <c:v>16985</c:v>
                </c:pt>
                <c:pt idx="4621">
                  <c:v>16986</c:v>
                </c:pt>
                <c:pt idx="4622">
                  <c:v>16988</c:v>
                </c:pt>
                <c:pt idx="4623">
                  <c:v>16991</c:v>
                </c:pt>
                <c:pt idx="4624">
                  <c:v>16992</c:v>
                </c:pt>
                <c:pt idx="4625">
                  <c:v>16993</c:v>
                </c:pt>
                <c:pt idx="4626">
                  <c:v>16994</c:v>
                </c:pt>
                <c:pt idx="4627">
                  <c:v>16995</c:v>
                </c:pt>
                <c:pt idx="4628">
                  <c:v>16998</c:v>
                </c:pt>
                <c:pt idx="4629">
                  <c:v>16999</c:v>
                </c:pt>
                <c:pt idx="4630">
                  <c:v>17000</c:v>
                </c:pt>
                <c:pt idx="4631">
                  <c:v>17001</c:v>
                </c:pt>
                <c:pt idx="4632">
                  <c:v>17002</c:v>
                </c:pt>
                <c:pt idx="4633">
                  <c:v>17005</c:v>
                </c:pt>
                <c:pt idx="4634">
                  <c:v>17006</c:v>
                </c:pt>
                <c:pt idx="4635">
                  <c:v>17007</c:v>
                </c:pt>
                <c:pt idx="4636">
                  <c:v>17008</c:v>
                </c:pt>
                <c:pt idx="4637">
                  <c:v>17009</c:v>
                </c:pt>
                <c:pt idx="4638">
                  <c:v>17012</c:v>
                </c:pt>
                <c:pt idx="4639">
                  <c:v>17013</c:v>
                </c:pt>
                <c:pt idx="4640">
                  <c:v>17014</c:v>
                </c:pt>
                <c:pt idx="4641">
                  <c:v>17015</c:v>
                </c:pt>
                <c:pt idx="4642">
                  <c:v>17016</c:v>
                </c:pt>
                <c:pt idx="4643">
                  <c:v>17019</c:v>
                </c:pt>
                <c:pt idx="4644">
                  <c:v>17020</c:v>
                </c:pt>
                <c:pt idx="4645">
                  <c:v>17021</c:v>
                </c:pt>
                <c:pt idx="4646">
                  <c:v>17022</c:v>
                </c:pt>
                <c:pt idx="4647">
                  <c:v>17023</c:v>
                </c:pt>
                <c:pt idx="4648">
                  <c:v>17026</c:v>
                </c:pt>
                <c:pt idx="4649">
                  <c:v>17027</c:v>
                </c:pt>
                <c:pt idx="4650">
                  <c:v>17028</c:v>
                </c:pt>
                <c:pt idx="4651">
                  <c:v>17029</c:v>
                </c:pt>
                <c:pt idx="4652">
                  <c:v>17030</c:v>
                </c:pt>
                <c:pt idx="4653">
                  <c:v>17033</c:v>
                </c:pt>
                <c:pt idx="4654">
                  <c:v>17034</c:v>
                </c:pt>
                <c:pt idx="4655">
                  <c:v>17035</c:v>
                </c:pt>
                <c:pt idx="4656">
                  <c:v>17036</c:v>
                </c:pt>
                <c:pt idx="4657">
                  <c:v>17037</c:v>
                </c:pt>
                <c:pt idx="4658">
                  <c:v>17040</c:v>
                </c:pt>
                <c:pt idx="4659">
                  <c:v>17041</c:v>
                </c:pt>
                <c:pt idx="4660">
                  <c:v>17042</c:v>
                </c:pt>
                <c:pt idx="4661">
                  <c:v>17043</c:v>
                </c:pt>
                <c:pt idx="4662">
                  <c:v>17044</c:v>
                </c:pt>
                <c:pt idx="4663">
                  <c:v>17048</c:v>
                </c:pt>
                <c:pt idx="4664">
                  <c:v>17049</c:v>
                </c:pt>
                <c:pt idx="4665">
                  <c:v>17050</c:v>
                </c:pt>
                <c:pt idx="4666">
                  <c:v>17051</c:v>
                </c:pt>
                <c:pt idx="4667">
                  <c:v>17054</c:v>
                </c:pt>
                <c:pt idx="4668">
                  <c:v>17055</c:v>
                </c:pt>
                <c:pt idx="4669">
                  <c:v>17056</c:v>
                </c:pt>
                <c:pt idx="4670">
                  <c:v>17057</c:v>
                </c:pt>
                <c:pt idx="4671">
                  <c:v>17058</c:v>
                </c:pt>
                <c:pt idx="4672">
                  <c:v>17061</c:v>
                </c:pt>
                <c:pt idx="4673">
                  <c:v>17062</c:v>
                </c:pt>
                <c:pt idx="4674">
                  <c:v>17063</c:v>
                </c:pt>
                <c:pt idx="4675">
                  <c:v>17064</c:v>
                </c:pt>
                <c:pt idx="4676">
                  <c:v>17065</c:v>
                </c:pt>
                <c:pt idx="4677">
                  <c:v>17068</c:v>
                </c:pt>
                <c:pt idx="4678">
                  <c:v>17069</c:v>
                </c:pt>
                <c:pt idx="4679">
                  <c:v>17070</c:v>
                </c:pt>
                <c:pt idx="4680">
                  <c:v>17071</c:v>
                </c:pt>
                <c:pt idx="4681">
                  <c:v>17072</c:v>
                </c:pt>
                <c:pt idx="4682">
                  <c:v>17075</c:v>
                </c:pt>
                <c:pt idx="4683">
                  <c:v>17076</c:v>
                </c:pt>
                <c:pt idx="4684">
                  <c:v>17077</c:v>
                </c:pt>
                <c:pt idx="4685">
                  <c:v>17078</c:v>
                </c:pt>
                <c:pt idx="4686">
                  <c:v>17079</c:v>
                </c:pt>
                <c:pt idx="4687">
                  <c:v>17082</c:v>
                </c:pt>
                <c:pt idx="4688">
                  <c:v>17083</c:v>
                </c:pt>
                <c:pt idx="4689">
                  <c:v>17084</c:v>
                </c:pt>
                <c:pt idx="4690">
                  <c:v>17085</c:v>
                </c:pt>
                <c:pt idx="4691">
                  <c:v>17086</c:v>
                </c:pt>
                <c:pt idx="4692">
                  <c:v>17089</c:v>
                </c:pt>
                <c:pt idx="4693">
                  <c:v>17090</c:v>
                </c:pt>
                <c:pt idx="4694">
                  <c:v>17091</c:v>
                </c:pt>
                <c:pt idx="4695">
                  <c:v>17092</c:v>
                </c:pt>
                <c:pt idx="4696">
                  <c:v>17093</c:v>
                </c:pt>
                <c:pt idx="4697">
                  <c:v>17096</c:v>
                </c:pt>
                <c:pt idx="4698">
                  <c:v>17097</c:v>
                </c:pt>
                <c:pt idx="4699">
                  <c:v>17098</c:v>
                </c:pt>
                <c:pt idx="4700">
                  <c:v>17099</c:v>
                </c:pt>
                <c:pt idx="4701">
                  <c:v>17100</c:v>
                </c:pt>
                <c:pt idx="4702">
                  <c:v>17103</c:v>
                </c:pt>
                <c:pt idx="4703">
                  <c:v>17104</c:v>
                </c:pt>
                <c:pt idx="4704">
                  <c:v>17105</c:v>
                </c:pt>
                <c:pt idx="4705">
                  <c:v>17106</c:v>
                </c:pt>
                <c:pt idx="4706">
                  <c:v>17107</c:v>
                </c:pt>
                <c:pt idx="4707">
                  <c:v>17110</c:v>
                </c:pt>
                <c:pt idx="4708">
                  <c:v>17112</c:v>
                </c:pt>
                <c:pt idx="4709">
                  <c:v>17113</c:v>
                </c:pt>
                <c:pt idx="4710">
                  <c:v>17114</c:v>
                </c:pt>
                <c:pt idx="4711">
                  <c:v>17118</c:v>
                </c:pt>
                <c:pt idx="4712">
                  <c:v>17119</c:v>
                </c:pt>
                <c:pt idx="4713">
                  <c:v>17120</c:v>
                </c:pt>
                <c:pt idx="4714">
                  <c:v>17121</c:v>
                </c:pt>
                <c:pt idx="4715">
                  <c:v>17124</c:v>
                </c:pt>
                <c:pt idx="4716">
                  <c:v>17125</c:v>
                </c:pt>
                <c:pt idx="4717">
                  <c:v>17126</c:v>
                </c:pt>
                <c:pt idx="4718">
                  <c:v>17127</c:v>
                </c:pt>
                <c:pt idx="4719">
                  <c:v>17128</c:v>
                </c:pt>
                <c:pt idx="4720">
                  <c:v>17131</c:v>
                </c:pt>
                <c:pt idx="4721">
                  <c:v>17132</c:v>
                </c:pt>
                <c:pt idx="4722">
                  <c:v>17133</c:v>
                </c:pt>
                <c:pt idx="4723">
                  <c:v>17135</c:v>
                </c:pt>
                <c:pt idx="4724">
                  <c:v>17138</c:v>
                </c:pt>
                <c:pt idx="4725">
                  <c:v>17139</c:v>
                </c:pt>
                <c:pt idx="4726">
                  <c:v>17140</c:v>
                </c:pt>
                <c:pt idx="4727">
                  <c:v>17141</c:v>
                </c:pt>
                <c:pt idx="4728">
                  <c:v>17142</c:v>
                </c:pt>
                <c:pt idx="4729">
                  <c:v>17145</c:v>
                </c:pt>
                <c:pt idx="4730">
                  <c:v>17146</c:v>
                </c:pt>
                <c:pt idx="4731">
                  <c:v>17147</c:v>
                </c:pt>
                <c:pt idx="4732">
                  <c:v>17148</c:v>
                </c:pt>
                <c:pt idx="4733">
                  <c:v>17149</c:v>
                </c:pt>
                <c:pt idx="4734">
                  <c:v>17152</c:v>
                </c:pt>
                <c:pt idx="4735">
                  <c:v>17153</c:v>
                </c:pt>
                <c:pt idx="4736">
                  <c:v>17154</c:v>
                </c:pt>
                <c:pt idx="4737">
                  <c:v>17155</c:v>
                </c:pt>
                <c:pt idx="4738">
                  <c:v>17156</c:v>
                </c:pt>
                <c:pt idx="4739">
                  <c:v>17159</c:v>
                </c:pt>
                <c:pt idx="4740">
                  <c:v>17160</c:v>
                </c:pt>
                <c:pt idx="4741">
                  <c:v>17162</c:v>
                </c:pt>
                <c:pt idx="4742">
                  <c:v>17163</c:v>
                </c:pt>
                <c:pt idx="4743">
                  <c:v>17166</c:v>
                </c:pt>
                <c:pt idx="4744">
                  <c:v>17167</c:v>
                </c:pt>
                <c:pt idx="4745">
                  <c:v>17169</c:v>
                </c:pt>
                <c:pt idx="4746">
                  <c:v>17170</c:v>
                </c:pt>
                <c:pt idx="4747">
                  <c:v>17173</c:v>
                </c:pt>
                <c:pt idx="4748">
                  <c:v>17174</c:v>
                </c:pt>
                <c:pt idx="4749">
                  <c:v>17175</c:v>
                </c:pt>
                <c:pt idx="4750">
                  <c:v>17176</c:v>
                </c:pt>
                <c:pt idx="4751">
                  <c:v>17177</c:v>
                </c:pt>
                <c:pt idx="4752">
                  <c:v>17180</c:v>
                </c:pt>
                <c:pt idx="4753">
                  <c:v>17181</c:v>
                </c:pt>
                <c:pt idx="4754">
                  <c:v>17182</c:v>
                </c:pt>
                <c:pt idx="4755">
                  <c:v>17183</c:v>
                </c:pt>
                <c:pt idx="4756">
                  <c:v>17184</c:v>
                </c:pt>
                <c:pt idx="4757">
                  <c:v>17187</c:v>
                </c:pt>
                <c:pt idx="4758">
                  <c:v>17188</c:v>
                </c:pt>
                <c:pt idx="4759">
                  <c:v>17189</c:v>
                </c:pt>
                <c:pt idx="4760">
                  <c:v>17190</c:v>
                </c:pt>
                <c:pt idx="4761">
                  <c:v>17191</c:v>
                </c:pt>
                <c:pt idx="4762">
                  <c:v>17194</c:v>
                </c:pt>
                <c:pt idx="4763">
                  <c:v>17195</c:v>
                </c:pt>
                <c:pt idx="4764">
                  <c:v>17196</c:v>
                </c:pt>
                <c:pt idx="4765">
                  <c:v>17197</c:v>
                </c:pt>
                <c:pt idx="4766">
                  <c:v>17198</c:v>
                </c:pt>
                <c:pt idx="4767">
                  <c:v>17201</c:v>
                </c:pt>
                <c:pt idx="4768">
                  <c:v>17202</c:v>
                </c:pt>
                <c:pt idx="4769">
                  <c:v>17203</c:v>
                </c:pt>
                <c:pt idx="4770">
                  <c:v>17204</c:v>
                </c:pt>
                <c:pt idx="4771">
                  <c:v>17205</c:v>
                </c:pt>
                <c:pt idx="4772">
                  <c:v>17208</c:v>
                </c:pt>
                <c:pt idx="4773">
                  <c:v>17209</c:v>
                </c:pt>
                <c:pt idx="4774">
                  <c:v>17211</c:v>
                </c:pt>
                <c:pt idx="4775">
                  <c:v>17212</c:v>
                </c:pt>
                <c:pt idx="4776">
                  <c:v>17215</c:v>
                </c:pt>
                <c:pt idx="4777">
                  <c:v>17216</c:v>
                </c:pt>
                <c:pt idx="4778">
                  <c:v>17217</c:v>
                </c:pt>
                <c:pt idx="4779">
                  <c:v>17218</c:v>
                </c:pt>
                <c:pt idx="4780">
                  <c:v>17219</c:v>
                </c:pt>
                <c:pt idx="4781">
                  <c:v>17222</c:v>
                </c:pt>
                <c:pt idx="4782">
                  <c:v>17223</c:v>
                </c:pt>
                <c:pt idx="4783">
                  <c:v>17224</c:v>
                </c:pt>
                <c:pt idx="4784">
                  <c:v>17225</c:v>
                </c:pt>
                <c:pt idx="4785">
                  <c:v>17226</c:v>
                </c:pt>
                <c:pt idx="4786">
                  <c:v>17229</c:v>
                </c:pt>
                <c:pt idx="4787">
                  <c:v>17230</c:v>
                </c:pt>
                <c:pt idx="4788">
                  <c:v>17231</c:v>
                </c:pt>
                <c:pt idx="4789">
                  <c:v>17232</c:v>
                </c:pt>
                <c:pt idx="4790">
                  <c:v>17233</c:v>
                </c:pt>
                <c:pt idx="4791">
                  <c:v>17236</c:v>
                </c:pt>
                <c:pt idx="4792">
                  <c:v>17237</c:v>
                </c:pt>
                <c:pt idx="4793">
                  <c:v>17238</c:v>
                </c:pt>
                <c:pt idx="4794">
                  <c:v>17239</c:v>
                </c:pt>
                <c:pt idx="4795">
                  <c:v>17240</c:v>
                </c:pt>
                <c:pt idx="4796">
                  <c:v>17243</c:v>
                </c:pt>
                <c:pt idx="4797">
                  <c:v>17244</c:v>
                </c:pt>
                <c:pt idx="4798">
                  <c:v>17245</c:v>
                </c:pt>
                <c:pt idx="4799">
                  <c:v>17246</c:v>
                </c:pt>
                <c:pt idx="4800">
                  <c:v>17247</c:v>
                </c:pt>
                <c:pt idx="4801">
                  <c:v>17250</c:v>
                </c:pt>
                <c:pt idx="4802">
                  <c:v>17251</c:v>
                </c:pt>
                <c:pt idx="4803">
                  <c:v>17252</c:v>
                </c:pt>
                <c:pt idx="4804">
                  <c:v>17253</c:v>
                </c:pt>
                <c:pt idx="4805">
                  <c:v>17254</c:v>
                </c:pt>
                <c:pt idx="4806">
                  <c:v>17257</c:v>
                </c:pt>
                <c:pt idx="4807">
                  <c:v>17258</c:v>
                </c:pt>
                <c:pt idx="4808">
                  <c:v>17259</c:v>
                </c:pt>
                <c:pt idx="4809">
                  <c:v>17260</c:v>
                </c:pt>
                <c:pt idx="4810">
                  <c:v>17264</c:v>
                </c:pt>
                <c:pt idx="4811">
                  <c:v>17265</c:v>
                </c:pt>
                <c:pt idx="4812">
                  <c:v>17266</c:v>
                </c:pt>
                <c:pt idx="4813">
                  <c:v>17267</c:v>
                </c:pt>
                <c:pt idx="4814">
                  <c:v>17268</c:v>
                </c:pt>
                <c:pt idx="4815">
                  <c:v>17271</c:v>
                </c:pt>
                <c:pt idx="4816">
                  <c:v>17272</c:v>
                </c:pt>
                <c:pt idx="4817">
                  <c:v>17273</c:v>
                </c:pt>
                <c:pt idx="4818">
                  <c:v>17274</c:v>
                </c:pt>
                <c:pt idx="4819">
                  <c:v>17275</c:v>
                </c:pt>
                <c:pt idx="4820">
                  <c:v>17278</c:v>
                </c:pt>
                <c:pt idx="4821">
                  <c:v>17279</c:v>
                </c:pt>
                <c:pt idx="4822">
                  <c:v>17280</c:v>
                </c:pt>
                <c:pt idx="4823">
                  <c:v>17281</c:v>
                </c:pt>
                <c:pt idx="4824">
                  <c:v>17282</c:v>
                </c:pt>
                <c:pt idx="4825">
                  <c:v>17285</c:v>
                </c:pt>
                <c:pt idx="4826">
                  <c:v>17286</c:v>
                </c:pt>
                <c:pt idx="4827">
                  <c:v>17287</c:v>
                </c:pt>
                <c:pt idx="4828">
                  <c:v>17288</c:v>
                </c:pt>
                <c:pt idx="4829">
                  <c:v>17289</c:v>
                </c:pt>
                <c:pt idx="4830">
                  <c:v>17292</c:v>
                </c:pt>
                <c:pt idx="4831">
                  <c:v>17293</c:v>
                </c:pt>
                <c:pt idx="4832">
                  <c:v>17294</c:v>
                </c:pt>
                <c:pt idx="4833">
                  <c:v>17295</c:v>
                </c:pt>
                <c:pt idx="4834">
                  <c:v>17296</c:v>
                </c:pt>
                <c:pt idx="4835">
                  <c:v>17299</c:v>
                </c:pt>
                <c:pt idx="4836">
                  <c:v>17300</c:v>
                </c:pt>
                <c:pt idx="4837">
                  <c:v>17301</c:v>
                </c:pt>
                <c:pt idx="4838">
                  <c:v>17302</c:v>
                </c:pt>
                <c:pt idx="4839">
                  <c:v>17303</c:v>
                </c:pt>
                <c:pt idx="4840">
                  <c:v>17306</c:v>
                </c:pt>
                <c:pt idx="4841">
                  <c:v>17307</c:v>
                </c:pt>
                <c:pt idx="4842">
                  <c:v>17308</c:v>
                </c:pt>
                <c:pt idx="4843">
                  <c:v>17309</c:v>
                </c:pt>
                <c:pt idx="4844">
                  <c:v>17310</c:v>
                </c:pt>
                <c:pt idx="4845">
                  <c:v>17313</c:v>
                </c:pt>
                <c:pt idx="4846">
                  <c:v>17314</c:v>
                </c:pt>
                <c:pt idx="4847">
                  <c:v>17315</c:v>
                </c:pt>
                <c:pt idx="4848">
                  <c:v>17316</c:v>
                </c:pt>
                <c:pt idx="4849">
                  <c:v>17320</c:v>
                </c:pt>
                <c:pt idx="4850">
                  <c:v>17321</c:v>
                </c:pt>
                <c:pt idx="4851">
                  <c:v>17322</c:v>
                </c:pt>
                <c:pt idx="4852">
                  <c:v>17323</c:v>
                </c:pt>
                <c:pt idx="4853">
                  <c:v>17324</c:v>
                </c:pt>
                <c:pt idx="4854">
                  <c:v>17327</c:v>
                </c:pt>
                <c:pt idx="4855">
                  <c:v>17328</c:v>
                </c:pt>
                <c:pt idx="4856">
                  <c:v>17329</c:v>
                </c:pt>
                <c:pt idx="4857">
                  <c:v>17330</c:v>
                </c:pt>
                <c:pt idx="4858">
                  <c:v>17331</c:v>
                </c:pt>
                <c:pt idx="4859">
                  <c:v>17334</c:v>
                </c:pt>
                <c:pt idx="4860">
                  <c:v>17335</c:v>
                </c:pt>
                <c:pt idx="4861">
                  <c:v>17336</c:v>
                </c:pt>
                <c:pt idx="4862">
                  <c:v>17337</c:v>
                </c:pt>
                <c:pt idx="4863">
                  <c:v>17338</c:v>
                </c:pt>
                <c:pt idx="4864">
                  <c:v>17341</c:v>
                </c:pt>
                <c:pt idx="4865">
                  <c:v>17342</c:v>
                </c:pt>
                <c:pt idx="4866">
                  <c:v>17343</c:v>
                </c:pt>
                <c:pt idx="4867">
                  <c:v>17344</c:v>
                </c:pt>
                <c:pt idx="4868">
                  <c:v>17345</c:v>
                </c:pt>
                <c:pt idx="4869">
                  <c:v>17348</c:v>
                </c:pt>
                <c:pt idx="4870">
                  <c:v>17349</c:v>
                </c:pt>
                <c:pt idx="4871">
                  <c:v>17350</c:v>
                </c:pt>
                <c:pt idx="4872">
                  <c:v>17351</c:v>
                </c:pt>
                <c:pt idx="4873">
                  <c:v>17355</c:v>
                </c:pt>
                <c:pt idx="4874">
                  <c:v>17356</c:v>
                </c:pt>
                <c:pt idx="4875">
                  <c:v>17357</c:v>
                </c:pt>
                <c:pt idx="4876">
                  <c:v>17358</c:v>
                </c:pt>
                <c:pt idx="4877">
                  <c:v>17359</c:v>
                </c:pt>
                <c:pt idx="4878">
                  <c:v>17362</c:v>
                </c:pt>
                <c:pt idx="4879">
                  <c:v>17363</c:v>
                </c:pt>
                <c:pt idx="4880">
                  <c:v>17364</c:v>
                </c:pt>
                <c:pt idx="4881">
                  <c:v>17365</c:v>
                </c:pt>
                <c:pt idx="4882">
                  <c:v>17366</c:v>
                </c:pt>
                <c:pt idx="4883">
                  <c:v>17369</c:v>
                </c:pt>
                <c:pt idx="4884">
                  <c:v>17370</c:v>
                </c:pt>
                <c:pt idx="4885">
                  <c:v>17371</c:v>
                </c:pt>
                <c:pt idx="4886">
                  <c:v>17372</c:v>
                </c:pt>
                <c:pt idx="4887">
                  <c:v>17373</c:v>
                </c:pt>
                <c:pt idx="4888">
                  <c:v>17376</c:v>
                </c:pt>
                <c:pt idx="4889">
                  <c:v>17377</c:v>
                </c:pt>
                <c:pt idx="4890">
                  <c:v>17378</c:v>
                </c:pt>
                <c:pt idx="4891">
                  <c:v>17379</c:v>
                </c:pt>
                <c:pt idx="4892">
                  <c:v>17380</c:v>
                </c:pt>
                <c:pt idx="4893">
                  <c:v>17383</c:v>
                </c:pt>
                <c:pt idx="4894">
                  <c:v>17384</c:v>
                </c:pt>
                <c:pt idx="4895">
                  <c:v>17385</c:v>
                </c:pt>
                <c:pt idx="4896">
                  <c:v>17386</c:v>
                </c:pt>
                <c:pt idx="4897">
                  <c:v>17387</c:v>
                </c:pt>
                <c:pt idx="4898">
                  <c:v>17390</c:v>
                </c:pt>
                <c:pt idx="4899">
                  <c:v>17391</c:v>
                </c:pt>
                <c:pt idx="4900">
                  <c:v>17392</c:v>
                </c:pt>
                <c:pt idx="4901">
                  <c:v>17393</c:v>
                </c:pt>
                <c:pt idx="4902">
                  <c:v>17394</c:v>
                </c:pt>
                <c:pt idx="4903">
                  <c:v>17397</c:v>
                </c:pt>
                <c:pt idx="4904">
                  <c:v>17398</c:v>
                </c:pt>
                <c:pt idx="4905">
                  <c:v>17399</c:v>
                </c:pt>
                <c:pt idx="4906">
                  <c:v>17400</c:v>
                </c:pt>
                <c:pt idx="4907">
                  <c:v>17401</c:v>
                </c:pt>
                <c:pt idx="4908">
                  <c:v>17404</c:v>
                </c:pt>
                <c:pt idx="4909">
                  <c:v>17405</c:v>
                </c:pt>
                <c:pt idx="4910">
                  <c:v>17406</c:v>
                </c:pt>
                <c:pt idx="4911">
                  <c:v>17407</c:v>
                </c:pt>
                <c:pt idx="4912">
                  <c:v>17408</c:v>
                </c:pt>
                <c:pt idx="4913">
                  <c:v>17412</c:v>
                </c:pt>
                <c:pt idx="4914">
                  <c:v>17413</c:v>
                </c:pt>
                <c:pt idx="4915">
                  <c:v>17414</c:v>
                </c:pt>
                <c:pt idx="4916">
                  <c:v>17415</c:v>
                </c:pt>
                <c:pt idx="4917">
                  <c:v>17418</c:v>
                </c:pt>
                <c:pt idx="4918">
                  <c:v>17419</c:v>
                </c:pt>
                <c:pt idx="4919">
                  <c:v>17420</c:v>
                </c:pt>
                <c:pt idx="4920">
                  <c:v>17421</c:v>
                </c:pt>
                <c:pt idx="4921">
                  <c:v>17422</c:v>
                </c:pt>
                <c:pt idx="4922">
                  <c:v>17425</c:v>
                </c:pt>
                <c:pt idx="4923">
                  <c:v>17426</c:v>
                </c:pt>
                <c:pt idx="4924">
                  <c:v>17427</c:v>
                </c:pt>
                <c:pt idx="4925">
                  <c:v>17428</c:v>
                </c:pt>
                <c:pt idx="4926">
                  <c:v>17429</c:v>
                </c:pt>
                <c:pt idx="4927">
                  <c:v>17432</c:v>
                </c:pt>
                <c:pt idx="4928">
                  <c:v>17433</c:v>
                </c:pt>
                <c:pt idx="4929">
                  <c:v>17434</c:v>
                </c:pt>
                <c:pt idx="4930">
                  <c:v>17435</c:v>
                </c:pt>
                <c:pt idx="4931">
                  <c:v>17436</c:v>
                </c:pt>
                <c:pt idx="4932">
                  <c:v>17439</c:v>
                </c:pt>
                <c:pt idx="4933">
                  <c:v>17440</c:v>
                </c:pt>
                <c:pt idx="4934">
                  <c:v>17441</c:v>
                </c:pt>
                <c:pt idx="4935">
                  <c:v>17442</c:v>
                </c:pt>
                <c:pt idx="4936">
                  <c:v>17443</c:v>
                </c:pt>
                <c:pt idx="4937">
                  <c:v>17446</c:v>
                </c:pt>
                <c:pt idx="4938">
                  <c:v>17447</c:v>
                </c:pt>
                <c:pt idx="4939">
                  <c:v>17448</c:v>
                </c:pt>
                <c:pt idx="4940">
                  <c:v>17449</c:v>
                </c:pt>
                <c:pt idx="4941">
                  <c:v>17450</c:v>
                </c:pt>
                <c:pt idx="4942">
                  <c:v>17454</c:v>
                </c:pt>
                <c:pt idx="4943">
                  <c:v>17455</c:v>
                </c:pt>
                <c:pt idx="4944">
                  <c:v>17456</c:v>
                </c:pt>
                <c:pt idx="4945">
                  <c:v>17457</c:v>
                </c:pt>
                <c:pt idx="4946">
                  <c:v>17460</c:v>
                </c:pt>
                <c:pt idx="4947">
                  <c:v>17461</c:v>
                </c:pt>
                <c:pt idx="4948">
                  <c:v>17462</c:v>
                </c:pt>
                <c:pt idx="4949">
                  <c:v>17463</c:v>
                </c:pt>
                <c:pt idx="4950">
                  <c:v>17464</c:v>
                </c:pt>
                <c:pt idx="4951">
                  <c:v>17467</c:v>
                </c:pt>
                <c:pt idx="4952">
                  <c:v>17468</c:v>
                </c:pt>
                <c:pt idx="4953">
                  <c:v>17469</c:v>
                </c:pt>
                <c:pt idx="4954">
                  <c:v>17470</c:v>
                </c:pt>
                <c:pt idx="4955">
                  <c:v>17471</c:v>
                </c:pt>
                <c:pt idx="4956">
                  <c:v>17474</c:v>
                </c:pt>
                <c:pt idx="4957">
                  <c:v>17476</c:v>
                </c:pt>
                <c:pt idx="4958">
                  <c:v>17477</c:v>
                </c:pt>
                <c:pt idx="4959">
                  <c:v>17478</c:v>
                </c:pt>
                <c:pt idx="4960">
                  <c:v>17481</c:v>
                </c:pt>
                <c:pt idx="4961">
                  <c:v>17483</c:v>
                </c:pt>
                <c:pt idx="4962">
                  <c:v>17484</c:v>
                </c:pt>
                <c:pt idx="4963">
                  <c:v>17485</c:v>
                </c:pt>
                <c:pt idx="4964">
                  <c:v>17488</c:v>
                </c:pt>
                <c:pt idx="4965">
                  <c:v>17489</c:v>
                </c:pt>
                <c:pt idx="4966">
                  <c:v>17490</c:v>
                </c:pt>
                <c:pt idx="4967">
                  <c:v>17491</c:v>
                </c:pt>
                <c:pt idx="4968">
                  <c:v>17492</c:v>
                </c:pt>
                <c:pt idx="4969">
                  <c:v>17495</c:v>
                </c:pt>
                <c:pt idx="4970">
                  <c:v>17496</c:v>
                </c:pt>
                <c:pt idx="4971">
                  <c:v>17497</c:v>
                </c:pt>
                <c:pt idx="4972">
                  <c:v>17499</c:v>
                </c:pt>
                <c:pt idx="4973">
                  <c:v>17502</c:v>
                </c:pt>
                <c:pt idx="4974">
                  <c:v>17503</c:v>
                </c:pt>
                <c:pt idx="4975">
                  <c:v>17504</c:v>
                </c:pt>
                <c:pt idx="4976">
                  <c:v>17505</c:v>
                </c:pt>
                <c:pt idx="4977">
                  <c:v>17506</c:v>
                </c:pt>
                <c:pt idx="4978">
                  <c:v>17509</c:v>
                </c:pt>
                <c:pt idx="4979">
                  <c:v>17510</c:v>
                </c:pt>
                <c:pt idx="4980">
                  <c:v>17511</c:v>
                </c:pt>
                <c:pt idx="4981">
                  <c:v>17512</c:v>
                </c:pt>
                <c:pt idx="4982">
                  <c:v>17513</c:v>
                </c:pt>
                <c:pt idx="4983">
                  <c:v>17516</c:v>
                </c:pt>
                <c:pt idx="4984">
                  <c:v>17517</c:v>
                </c:pt>
                <c:pt idx="4985">
                  <c:v>17518</c:v>
                </c:pt>
                <c:pt idx="4986">
                  <c:v>17519</c:v>
                </c:pt>
                <c:pt idx="4987">
                  <c:v>17520</c:v>
                </c:pt>
                <c:pt idx="4988">
                  <c:v>17523</c:v>
                </c:pt>
                <c:pt idx="4989">
                  <c:v>17524</c:v>
                </c:pt>
                <c:pt idx="4990">
                  <c:v>17525</c:v>
                </c:pt>
                <c:pt idx="4991">
                  <c:v>17527</c:v>
                </c:pt>
                <c:pt idx="4992">
                  <c:v>17530</c:v>
                </c:pt>
                <c:pt idx="4993">
                  <c:v>17531</c:v>
                </c:pt>
                <c:pt idx="4994">
                  <c:v>17532</c:v>
                </c:pt>
                <c:pt idx="4995">
                  <c:v>17534</c:v>
                </c:pt>
                <c:pt idx="4996">
                  <c:v>17537</c:v>
                </c:pt>
                <c:pt idx="4997">
                  <c:v>17538</c:v>
                </c:pt>
                <c:pt idx="4998">
                  <c:v>17539</c:v>
                </c:pt>
                <c:pt idx="4999">
                  <c:v>17540</c:v>
                </c:pt>
                <c:pt idx="5000">
                  <c:v>17541</c:v>
                </c:pt>
                <c:pt idx="5001">
                  <c:v>17544</c:v>
                </c:pt>
                <c:pt idx="5002">
                  <c:v>17545</c:v>
                </c:pt>
                <c:pt idx="5003">
                  <c:v>17546</c:v>
                </c:pt>
                <c:pt idx="5004">
                  <c:v>17547</c:v>
                </c:pt>
                <c:pt idx="5005">
                  <c:v>17548</c:v>
                </c:pt>
                <c:pt idx="5006">
                  <c:v>17551</c:v>
                </c:pt>
                <c:pt idx="5007">
                  <c:v>17552</c:v>
                </c:pt>
                <c:pt idx="5008">
                  <c:v>17553</c:v>
                </c:pt>
                <c:pt idx="5009">
                  <c:v>17554</c:v>
                </c:pt>
                <c:pt idx="5010">
                  <c:v>17555</c:v>
                </c:pt>
                <c:pt idx="5011">
                  <c:v>17558</c:v>
                </c:pt>
                <c:pt idx="5012">
                  <c:v>17559</c:v>
                </c:pt>
                <c:pt idx="5013">
                  <c:v>17560</c:v>
                </c:pt>
                <c:pt idx="5014">
                  <c:v>17561</c:v>
                </c:pt>
                <c:pt idx="5015">
                  <c:v>17562</c:v>
                </c:pt>
                <c:pt idx="5016">
                  <c:v>17565</c:v>
                </c:pt>
                <c:pt idx="5017">
                  <c:v>17566</c:v>
                </c:pt>
                <c:pt idx="5018">
                  <c:v>17567</c:v>
                </c:pt>
                <c:pt idx="5019">
                  <c:v>17568</c:v>
                </c:pt>
                <c:pt idx="5020">
                  <c:v>17569</c:v>
                </c:pt>
                <c:pt idx="5021">
                  <c:v>17572</c:v>
                </c:pt>
                <c:pt idx="5022">
                  <c:v>17573</c:v>
                </c:pt>
                <c:pt idx="5023">
                  <c:v>17574</c:v>
                </c:pt>
                <c:pt idx="5024">
                  <c:v>17576</c:v>
                </c:pt>
                <c:pt idx="5025">
                  <c:v>17579</c:v>
                </c:pt>
                <c:pt idx="5026">
                  <c:v>17580</c:v>
                </c:pt>
                <c:pt idx="5027">
                  <c:v>17581</c:v>
                </c:pt>
                <c:pt idx="5028">
                  <c:v>17582</c:v>
                </c:pt>
                <c:pt idx="5029">
                  <c:v>17583</c:v>
                </c:pt>
                <c:pt idx="5030">
                  <c:v>17587</c:v>
                </c:pt>
                <c:pt idx="5031">
                  <c:v>17588</c:v>
                </c:pt>
                <c:pt idx="5032">
                  <c:v>17589</c:v>
                </c:pt>
                <c:pt idx="5033">
                  <c:v>17590</c:v>
                </c:pt>
                <c:pt idx="5034">
                  <c:v>17593</c:v>
                </c:pt>
                <c:pt idx="5035">
                  <c:v>17594</c:v>
                </c:pt>
                <c:pt idx="5036">
                  <c:v>17595</c:v>
                </c:pt>
                <c:pt idx="5037">
                  <c:v>17596</c:v>
                </c:pt>
                <c:pt idx="5038">
                  <c:v>17597</c:v>
                </c:pt>
                <c:pt idx="5039">
                  <c:v>17600</c:v>
                </c:pt>
                <c:pt idx="5040">
                  <c:v>17601</c:v>
                </c:pt>
                <c:pt idx="5041">
                  <c:v>17602</c:v>
                </c:pt>
                <c:pt idx="5042">
                  <c:v>17603</c:v>
                </c:pt>
                <c:pt idx="5043">
                  <c:v>17604</c:v>
                </c:pt>
                <c:pt idx="5044">
                  <c:v>17607</c:v>
                </c:pt>
                <c:pt idx="5045">
                  <c:v>17608</c:v>
                </c:pt>
                <c:pt idx="5046">
                  <c:v>17609</c:v>
                </c:pt>
                <c:pt idx="5047">
                  <c:v>17610</c:v>
                </c:pt>
                <c:pt idx="5048">
                  <c:v>17611</c:v>
                </c:pt>
                <c:pt idx="5049">
                  <c:v>17614</c:v>
                </c:pt>
                <c:pt idx="5050">
                  <c:v>17615</c:v>
                </c:pt>
                <c:pt idx="5051">
                  <c:v>17616</c:v>
                </c:pt>
                <c:pt idx="5052">
                  <c:v>17617</c:v>
                </c:pt>
                <c:pt idx="5053">
                  <c:v>17621</c:v>
                </c:pt>
                <c:pt idx="5054">
                  <c:v>17622</c:v>
                </c:pt>
                <c:pt idx="5055">
                  <c:v>17623</c:v>
                </c:pt>
                <c:pt idx="5056">
                  <c:v>17624</c:v>
                </c:pt>
                <c:pt idx="5057">
                  <c:v>17625</c:v>
                </c:pt>
                <c:pt idx="5058">
                  <c:v>17628</c:v>
                </c:pt>
                <c:pt idx="5059">
                  <c:v>17629</c:v>
                </c:pt>
                <c:pt idx="5060">
                  <c:v>17630</c:v>
                </c:pt>
                <c:pt idx="5061">
                  <c:v>17631</c:v>
                </c:pt>
                <c:pt idx="5062">
                  <c:v>17632</c:v>
                </c:pt>
                <c:pt idx="5063">
                  <c:v>17635</c:v>
                </c:pt>
                <c:pt idx="5064">
                  <c:v>17636</c:v>
                </c:pt>
                <c:pt idx="5065">
                  <c:v>17637</c:v>
                </c:pt>
                <c:pt idx="5066">
                  <c:v>17638</c:v>
                </c:pt>
                <c:pt idx="5067">
                  <c:v>17639</c:v>
                </c:pt>
                <c:pt idx="5068">
                  <c:v>17642</c:v>
                </c:pt>
                <c:pt idx="5069">
                  <c:v>17643</c:v>
                </c:pt>
                <c:pt idx="5070">
                  <c:v>17644</c:v>
                </c:pt>
                <c:pt idx="5071">
                  <c:v>17645</c:v>
                </c:pt>
                <c:pt idx="5072">
                  <c:v>17646</c:v>
                </c:pt>
                <c:pt idx="5073">
                  <c:v>17649</c:v>
                </c:pt>
                <c:pt idx="5074">
                  <c:v>17650</c:v>
                </c:pt>
                <c:pt idx="5075">
                  <c:v>17651</c:v>
                </c:pt>
                <c:pt idx="5076">
                  <c:v>17652</c:v>
                </c:pt>
                <c:pt idx="5077">
                  <c:v>17653</c:v>
                </c:pt>
                <c:pt idx="5078">
                  <c:v>17656</c:v>
                </c:pt>
                <c:pt idx="5079">
                  <c:v>17657</c:v>
                </c:pt>
                <c:pt idx="5080">
                  <c:v>17658</c:v>
                </c:pt>
                <c:pt idx="5081">
                  <c:v>17659</c:v>
                </c:pt>
                <c:pt idx="5082">
                  <c:v>17660</c:v>
                </c:pt>
                <c:pt idx="5083">
                  <c:v>17663</c:v>
                </c:pt>
                <c:pt idx="5084">
                  <c:v>17664</c:v>
                </c:pt>
                <c:pt idx="5085">
                  <c:v>17665</c:v>
                </c:pt>
                <c:pt idx="5086">
                  <c:v>17666</c:v>
                </c:pt>
                <c:pt idx="5087">
                  <c:v>17667</c:v>
                </c:pt>
                <c:pt idx="5088">
                  <c:v>17670</c:v>
                </c:pt>
                <c:pt idx="5089">
                  <c:v>17671</c:v>
                </c:pt>
                <c:pt idx="5090">
                  <c:v>17672</c:v>
                </c:pt>
                <c:pt idx="5091">
                  <c:v>17673</c:v>
                </c:pt>
                <c:pt idx="5092">
                  <c:v>17674</c:v>
                </c:pt>
                <c:pt idx="5093">
                  <c:v>17677</c:v>
                </c:pt>
                <c:pt idx="5094">
                  <c:v>17678</c:v>
                </c:pt>
                <c:pt idx="5095">
                  <c:v>17679</c:v>
                </c:pt>
                <c:pt idx="5096">
                  <c:v>17680</c:v>
                </c:pt>
                <c:pt idx="5097">
                  <c:v>17681</c:v>
                </c:pt>
                <c:pt idx="5098">
                  <c:v>17685</c:v>
                </c:pt>
                <c:pt idx="5099">
                  <c:v>17686</c:v>
                </c:pt>
                <c:pt idx="5100">
                  <c:v>17687</c:v>
                </c:pt>
                <c:pt idx="5101">
                  <c:v>17688</c:v>
                </c:pt>
                <c:pt idx="5102">
                  <c:v>17691</c:v>
                </c:pt>
                <c:pt idx="5103">
                  <c:v>17692</c:v>
                </c:pt>
                <c:pt idx="5104">
                  <c:v>17693</c:v>
                </c:pt>
                <c:pt idx="5105">
                  <c:v>17694</c:v>
                </c:pt>
                <c:pt idx="5106">
                  <c:v>17695</c:v>
                </c:pt>
                <c:pt idx="5107">
                  <c:v>17698</c:v>
                </c:pt>
                <c:pt idx="5108">
                  <c:v>17699</c:v>
                </c:pt>
                <c:pt idx="5109">
                  <c:v>17700</c:v>
                </c:pt>
                <c:pt idx="5110">
                  <c:v>17701</c:v>
                </c:pt>
                <c:pt idx="5111">
                  <c:v>17702</c:v>
                </c:pt>
                <c:pt idx="5112">
                  <c:v>17705</c:v>
                </c:pt>
                <c:pt idx="5113">
                  <c:v>17706</c:v>
                </c:pt>
                <c:pt idx="5114">
                  <c:v>17707</c:v>
                </c:pt>
                <c:pt idx="5115">
                  <c:v>17708</c:v>
                </c:pt>
                <c:pt idx="5116">
                  <c:v>17709</c:v>
                </c:pt>
                <c:pt idx="5117">
                  <c:v>17712</c:v>
                </c:pt>
                <c:pt idx="5118">
                  <c:v>17713</c:v>
                </c:pt>
                <c:pt idx="5119">
                  <c:v>17714</c:v>
                </c:pt>
                <c:pt idx="5120">
                  <c:v>17715</c:v>
                </c:pt>
                <c:pt idx="5121">
                  <c:v>17716</c:v>
                </c:pt>
                <c:pt idx="5122">
                  <c:v>17720</c:v>
                </c:pt>
                <c:pt idx="5123">
                  <c:v>17721</c:v>
                </c:pt>
                <c:pt idx="5124">
                  <c:v>17722</c:v>
                </c:pt>
                <c:pt idx="5125">
                  <c:v>17723</c:v>
                </c:pt>
                <c:pt idx="5126">
                  <c:v>17726</c:v>
                </c:pt>
                <c:pt idx="5127">
                  <c:v>17727</c:v>
                </c:pt>
                <c:pt idx="5128">
                  <c:v>17728</c:v>
                </c:pt>
                <c:pt idx="5129">
                  <c:v>17729</c:v>
                </c:pt>
                <c:pt idx="5130">
                  <c:v>17730</c:v>
                </c:pt>
                <c:pt idx="5131">
                  <c:v>17733</c:v>
                </c:pt>
                <c:pt idx="5132">
                  <c:v>17734</c:v>
                </c:pt>
                <c:pt idx="5133">
                  <c:v>17735</c:v>
                </c:pt>
                <c:pt idx="5134">
                  <c:v>17736</c:v>
                </c:pt>
                <c:pt idx="5135">
                  <c:v>17737</c:v>
                </c:pt>
                <c:pt idx="5136">
                  <c:v>17740</c:v>
                </c:pt>
                <c:pt idx="5137">
                  <c:v>17741</c:v>
                </c:pt>
                <c:pt idx="5138">
                  <c:v>17742</c:v>
                </c:pt>
                <c:pt idx="5139">
                  <c:v>17743</c:v>
                </c:pt>
                <c:pt idx="5140">
                  <c:v>17744</c:v>
                </c:pt>
                <c:pt idx="5141">
                  <c:v>17747</c:v>
                </c:pt>
                <c:pt idx="5142">
                  <c:v>17748</c:v>
                </c:pt>
                <c:pt idx="5143">
                  <c:v>17749</c:v>
                </c:pt>
                <c:pt idx="5144">
                  <c:v>17750</c:v>
                </c:pt>
                <c:pt idx="5145">
                  <c:v>17751</c:v>
                </c:pt>
                <c:pt idx="5146">
                  <c:v>17754</c:v>
                </c:pt>
                <c:pt idx="5147">
                  <c:v>17755</c:v>
                </c:pt>
                <c:pt idx="5148">
                  <c:v>17756</c:v>
                </c:pt>
                <c:pt idx="5149">
                  <c:v>17757</c:v>
                </c:pt>
                <c:pt idx="5150">
                  <c:v>17758</c:v>
                </c:pt>
                <c:pt idx="5151">
                  <c:v>17761</c:v>
                </c:pt>
                <c:pt idx="5152">
                  <c:v>17762</c:v>
                </c:pt>
                <c:pt idx="5153">
                  <c:v>17763</c:v>
                </c:pt>
                <c:pt idx="5154">
                  <c:v>17764</c:v>
                </c:pt>
                <c:pt idx="5155">
                  <c:v>17765</c:v>
                </c:pt>
                <c:pt idx="5156">
                  <c:v>17768</c:v>
                </c:pt>
                <c:pt idx="5157">
                  <c:v>17769</c:v>
                </c:pt>
                <c:pt idx="5158">
                  <c:v>17770</c:v>
                </c:pt>
                <c:pt idx="5159">
                  <c:v>17771</c:v>
                </c:pt>
                <c:pt idx="5160">
                  <c:v>17772</c:v>
                </c:pt>
                <c:pt idx="5161">
                  <c:v>17775</c:v>
                </c:pt>
                <c:pt idx="5162">
                  <c:v>17776</c:v>
                </c:pt>
                <c:pt idx="5163">
                  <c:v>17777</c:v>
                </c:pt>
                <c:pt idx="5164">
                  <c:v>17778</c:v>
                </c:pt>
                <c:pt idx="5165">
                  <c:v>17779</c:v>
                </c:pt>
                <c:pt idx="5166">
                  <c:v>17783</c:v>
                </c:pt>
                <c:pt idx="5167">
                  <c:v>17784</c:v>
                </c:pt>
                <c:pt idx="5168">
                  <c:v>17785</c:v>
                </c:pt>
                <c:pt idx="5169">
                  <c:v>17786</c:v>
                </c:pt>
                <c:pt idx="5170">
                  <c:v>17789</c:v>
                </c:pt>
                <c:pt idx="5171">
                  <c:v>17790</c:v>
                </c:pt>
                <c:pt idx="5172">
                  <c:v>17791</c:v>
                </c:pt>
                <c:pt idx="5173">
                  <c:v>17792</c:v>
                </c:pt>
                <c:pt idx="5174">
                  <c:v>17793</c:v>
                </c:pt>
                <c:pt idx="5175">
                  <c:v>17796</c:v>
                </c:pt>
                <c:pt idx="5176">
                  <c:v>17797</c:v>
                </c:pt>
                <c:pt idx="5177">
                  <c:v>17798</c:v>
                </c:pt>
                <c:pt idx="5178">
                  <c:v>17799</c:v>
                </c:pt>
                <c:pt idx="5179">
                  <c:v>17800</c:v>
                </c:pt>
                <c:pt idx="5180">
                  <c:v>17803</c:v>
                </c:pt>
                <c:pt idx="5181">
                  <c:v>17804</c:v>
                </c:pt>
                <c:pt idx="5182">
                  <c:v>17805</c:v>
                </c:pt>
                <c:pt idx="5183">
                  <c:v>17806</c:v>
                </c:pt>
                <c:pt idx="5184">
                  <c:v>17807</c:v>
                </c:pt>
                <c:pt idx="5185">
                  <c:v>17810</c:v>
                </c:pt>
                <c:pt idx="5186">
                  <c:v>17811</c:v>
                </c:pt>
                <c:pt idx="5187">
                  <c:v>17812</c:v>
                </c:pt>
                <c:pt idx="5188">
                  <c:v>17813</c:v>
                </c:pt>
                <c:pt idx="5189">
                  <c:v>17814</c:v>
                </c:pt>
                <c:pt idx="5190">
                  <c:v>17817</c:v>
                </c:pt>
                <c:pt idx="5191">
                  <c:v>17819</c:v>
                </c:pt>
                <c:pt idx="5192">
                  <c:v>17820</c:v>
                </c:pt>
                <c:pt idx="5193">
                  <c:v>17821</c:v>
                </c:pt>
                <c:pt idx="5194">
                  <c:v>17824</c:v>
                </c:pt>
                <c:pt idx="5195">
                  <c:v>17825</c:v>
                </c:pt>
                <c:pt idx="5196">
                  <c:v>17826</c:v>
                </c:pt>
                <c:pt idx="5197">
                  <c:v>17827</c:v>
                </c:pt>
                <c:pt idx="5198">
                  <c:v>17828</c:v>
                </c:pt>
                <c:pt idx="5199">
                  <c:v>17831</c:v>
                </c:pt>
                <c:pt idx="5200">
                  <c:v>17832</c:v>
                </c:pt>
                <c:pt idx="5201">
                  <c:v>17833</c:v>
                </c:pt>
                <c:pt idx="5202">
                  <c:v>17834</c:v>
                </c:pt>
                <c:pt idx="5203">
                  <c:v>17835</c:v>
                </c:pt>
                <c:pt idx="5204">
                  <c:v>17838</c:v>
                </c:pt>
                <c:pt idx="5205">
                  <c:v>17840</c:v>
                </c:pt>
                <c:pt idx="5206">
                  <c:v>17841</c:v>
                </c:pt>
                <c:pt idx="5207">
                  <c:v>17842</c:v>
                </c:pt>
                <c:pt idx="5208">
                  <c:v>17845</c:v>
                </c:pt>
                <c:pt idx="5209">
                  <c:v>17846</c:v>
                </c:pt>
                <c:pt idx="5210">
                  <c:v>17847</c:v>
                </c:pt>
                <c:pt idx="5211">
                  <c:v>17849</c:v>
                </c:pt>
                <c:pt idx="5212">
                  <c:v>17852</c:v>
                </c:pt>
                <c:pt idx="5213">
                  <c:v>17853</c:v>
                </c:pt>
                <c:pt idx="5214">
                  <c:v>17854</c:v>
                </c:pt>
                <c:pt idx="5215">
                  <c:v>17855</c:v>
                </c:pt>
                <c:pt idx="5216">
                  <c:v>17856</c:v>
                </c:pt>
                <c:pt idx="5217">
                  <c:v>17859</c:v>
                </c:pt>
                <c:pt idx="5218">
                  <c:v>17860</c:v>
                </c:pt>
                <c:pt idx="5219">
                  <c:v>17861</c:v>
                </c:pt>
                <c:pt idx="5220">
                  <c:v>17863</c:v>
                </c:pt>
                <c:pt idx="5221">
                  <c:v>17866</c:v>
                </c:pt>
                <c:pt idx="5222">
                  <c:v>17867</c:v>
                </c:pt>
                <c:pt idx="5223">
                  <c:v>17868</c:v>
                </c:pt>
                <c:pt idx="5224">
                  <c:v>17869</c:v>
                </c:pt>
                <c:pt idx="5225">
                  <c:v>17870</c:v>
                </c:pt>
                <c:pt idx="5226">
                  <c:v>17873</c:v>
                </c:pt>
                <c:pt idx="5227">
                  <c:v>17874</c:v>
                </c:pt>
                <c:pt idx="5228">
                  <c:v>17875</c:v>
                </c:pt>
                <c:pt idx="5229">
                  <c:v>17876</c:v>
                </c:pt>
                <c:pt idx="5230">
                  <c:v>17877</c:v>
                </c:pt>
                <c:pt idx="5231">
                  <c:v>17880</c:v>
                </c:pt>
                <c:pt idx="5232">
                  <c:v>17881</c:v>
                </c:pt>
                <c:pt idx="5233">
                  <c:v>17882</c:v>
                </c:pt>
                <c:pt idx="5234">
                  <c:v>17883</c:v>
                </c:pt>
                <c:pt idx="5235">
                  <c:v>17884</c:v>
                </c:pt>
                <c:pt idx="5236">
                  <c:v>17887</c:v>
                </c:pt>
                <c:pt idx="5237">
                  <c:v>17888</c:v>
                </c:pt>
                <c:pt idx="5238">
                  <c:v>17889</c:v>
                </c:pt>
                <c:pt idx="5239">
                  <c:v>17890</c:v>
                </c:pt>
                <c:pt idx="5240">
                  <c:v>17891</c:v>
                </c:pt>
                <c:pt idx="5241">
                  <c:v>17894</c:v>
                </c:pt>
                <c:pt idx="5242">
                  <c:v>17895</c:v>
                </c:pt>
                <c:pt idx="5243">
                  <c:v>17896</c:v>
                </c:pt>
                <c:pt idx="5244">
                  <c:v>17897</c:v>
                </c:pt>
                <c:pt idx="5245">
                  <c:v>17898</c:v>
                </c:pt>
                <c:pt idx="5246">
                  <c:v>17901</c:v>
                </c:pt>
                <c:pt idx="5247">
                  <c:v>17902</c:v>
                </c:pt>
                <c:pt idx="5248">
                  <c:v>17903</c:v>
                </c:pt>
                <c:pt idx="5249">
                  <c:v>17904</c:v>
                </c:pt>
                <c:pt idx="5250">
                  <c:v>17905</c:v>
                </c:pt>
                <c:pt idx="5251">
                  <c:v>17908</c:v>
                </c:pt>
                <c:pt idx="5252">
                  <c:v>17909</c:v>
                </c:pt>
                <c:pt idx="5253">
                  <c:v>17910</c:v>
                </c:pt>
                <c:pt idx="5254">
                  <c:v>17911</c:v>
                </c:pt>
                <c:pt idx="5255">
                  <c:v>17912</c:v>
                </c:pt>
                <c:pt idx="5256">
                  <c:v>17915</c:v>
                </c:pt>
                <c:pt idx="5257">
                  <c:v>17916</c:v>
                </c:pt>
                <c:pt idx="5258">
                  <c:v>17917</c:v>
                </c:pt>
                <c:pt idx="5259">
                  <c:v>17918</c:v>
                </c:pt>
                <c:pt idx="5260">
                  <c:v>17919</c:v>
                </c:pt>
                <c:pt idx="5261">
                  <c:v>17922</c:v>
                </c:pt>
                <c:pt idx="5262">
                  <c:v>17923</c:v>
                </c:pt>
                <c:pt idx="5263">
                  <c:v>17924</c:v>
                </c:pt>
                <c:pt idx="5264">
                  <c:v>17925</c:v>
                </c:pt>
                <c:pt idx="5265">
                  <c:v>17926</c:v>
                </c:pt>
                <c:pt idx="5266">
                  <c:v>17929</c:v>
                </c:pt>
                <c:pt idx="5267">
                  <c:v>17930</c:v>
                </c:pt>
                <c:pt idx="5268">
                  <c:v>17931</c:v>
                </c:pt>
                <c:pt idx="5269">
                  <c:v>17932</c:v>
                </c:pt>
                <c:pt idx="5270">
                  <c:v>17933</c:v>
                </c:pt>
                <c:pt idx="5271">
                  <c:v>17936</c:v>
                </c:pt>
                <c:pt idx="5272">
                  <c:v>17937</c:v>
                </c:pt>
                <c:pt idx="5273">
                  <c:v>17938</c:v>
                </c:pt>
                <c:pt idx="5274">
                  <c:v>17939</c:v>
                </c:pt>
                <c:pt idx="5275">
                  <c:v>17940</c:v>
                </c:pt>
                <c:pt idx="5276">
                  <c:v>17943</c:v>
                </c:pt>
                <c:pt idx="5277">
                  <c:v>17944</c:v>
                </c:pt>
                <c:pt idx="5278">
                  <c:v>17945</c:v>
                </c:pt>
                <c:pt idx="5279">
                  <c:v>17946</c:v>
                </c:pt>
                <c:pt idx="5280">
                  <c:v>17947</c:v>
                </c:pt>
                <c:pt idx="5281">
                  <c:v>17950</c:v>
                </c:pt>
                <c:pt idx="5282">
                  <c:v>17952</c:v>
                </c:pt>
                <c:pt idx="5283">
                  <c:v>17953</c:v>
                </c:pt>
                <c:pt idx="5284">
                  <c:v>17954</c:v>
                </c:pt>
                <c:pt idx="5285">
                  <c:v>17957</c:v>
                </c:pt>
                <c:pt idx="5286">
                  <c:v>17958</c:v>
                </c:pt>
                <c:pt idx="5287">
                  <c:v>17959</c:v>
                </c:pt>
                <c:pt idx="5288">
                  <c:v>17960</c:v>
                </c:pt>
                <c:pt idx="5289">
                  <c:v>17961</c:v>
                </c:pt>
                <c:pt idx="5290">
                  <c:v>17964</c:v>
                </c:pt>
                <c:pt idx="5291">
                  <c:v>17965</c:v>
                </c:pt>
                <c:pt idx="5292">
                  <c:v>17966</c:v>
                </c:pt>
                <c:pt idx="5293">
                  <c:v>17967</c:v>
                </c:pt>
                <c:pt idx="5294">
                  <c:v>17968</c:v>
                </c:pt>
                <c:pt idx="5295">
                  <c:v>17971</c:v>
                </c:pt>
                <c:pt idx="5296">
                  <c:v>17972</c:v>
                </c:pt>
                <c:pt idx="5297">
                  <c:v>17973</c:v>
                </c:pt>
                <c:pt idx="5298">
                  <c:v>17974</c:v>
                </c:pt>
                <c:pt idx="5299">
                  <c:v>17975</c:v>
                </c:pt>
                <c:pt idx="5300">
                  <c:v>17978</c:v>
                </c:pt>
                <c:pt idx="5301">
                  <c:v>17979</c:v>
                </c:pt>
                <c:pt idx="5302">
                  <c:v>17980</c:v>
                </c:pt>
                <c:pt idx="5303">
                  <c:v>17981</c:v>
                </c:pt>
                <c:pt idx="5304">
                  <c:v>17982</c:v>
                </c:pt>
                <c:pt idx="5305">
                  <c:v>17985</c:v>
                </c:pt>
                <c:pt idx="5306">
                  <c:v>17986</c:v>
                </c:pt>
                <c:pt idx="5307">
                  <c:v>17987</c:v>
                </c:pt>
                <c:pt idx="5308">
                  <c:v>17988</c:v>
                </c:pt>
                <c:pt idx="5309">
                  <c:v>17989</c:v>
                </c:pt>
                <c:pt idx="5310">
                  <c:v>17992</c:v>
                </c:pt>
                <c:pt idx="5311">
                  <c:v>17993</c:v>
                </c:pt>
                <c:pt idx="5312">
                  <c:v>17994</c:v>
                </c:pt>
                <c:pt idx="5313">
                  <c:v>17995</c:v>
                </c:pt>
                <c:pt idx="5314">
                  <c:v>17996</c:v>
                </c:pt>
                <c:pt idx="5315">
                  <c:v>17999</c:v>
                </c:pt>
                <c:pt idx="5316">
                  <c:v>18000</c:v>
                </c:pt>
                <c:pt idx="5317">
                  <c:v>18001</c:v>
                </c:pt>
                <c:pt idx="5318">
                  <c:v>18002</c:v>
                </c:pt>
                <c:pt idx="5319">
                  <c:v>18006</c:v>
                </c:pt>
                <c:pt idx="5320">
                  <c:v>18007</c:v>
                </c:pt>
                <c:pt idx="5321">
                  <c:v>18008</c:v>
                </c:pt>
                <c:pt idx="5322">
                  <c:v>18009</c:v>
                </c:pt>
                <c:pt idx="5323">
                  <c:v>18010</c:v>
                </c:pt>
                <c:pt idx="5324">
                  <c:v>18013</c:v>
                </c:pt>
                <c:pt idx="5325">
                  <c:v>18014</c:v>
                </c:pt>
                <c:pt idx="5326">
                  <c:v>18015</c:v>
                </c:pt>
                <c:pt idx="5327">
                  <c:v>18016</c:v>
                </c:pt>
                <c:pt idx="5328">
                  <c:v>18017</c:v>
                </c:pt>
                <c:pt idx="5329">
                  <c:v>18020</c:v>
                </c:pt>
                <c:pt idx="5330">
                  <c:v>18021</c:v>
                </c:pt>
                <c:pt idx="5331">
                  <c:v>18022</c:v>
                </c:pt>
                <c:pt idx="5332">
                  <c:v>18023</c:v>
                </c:pt>
                <c:pt idx="5333">
                  <c:v>18024</c:v>
                </c:pt>
                <c:pt idx="5334">
                  <c:v>18027</c:v>
                </c:pt>
                <c:pt idx="5335">
                  <c:v>18028</c:v>
                </c:pt>
                <c:pt idx="5336">
                  <c:v>18029</c:v>
                </c:pt>
                <c:pt idx="5337">
                  <c:v>18030</c:v>
                </c:pt>
                <c:pt idx="5338">
                  <c:v>18031</c:v>
                </c:pt>
                <c:pt idx="5339">
                  <c:v>18034</c:v>
                </c:pt>
                <c:pt idx="5340">
                  <c:v>18035</c:v>
                </c:pt>
                <c:pt idx="5341">
                  <c:v>18036</c:v>
                </c:pt>
                <c:pt idx="5342">
                  <c:v>18037</c:v>
                </c:pt>
                <c:pt idx="5343">
                  <c:v>18038</c:v>
                </c:pt>
                <c:pt idx="5344">
                  <c:v>18041</c:v>
                </c:pt>
                <c:pt idx="5345">
                  <c:v>18042</c:v>
                </c:pt>
                <c:pt idx="5346">
                  <c:v>18043</c:v>
                </c:pt>
                <c:pt idx="5347">
                  <c:v>18044</c:v>
                </c:pt>
                <c:pt idx="5348">
                  <c:v>18045</c:v>
                </c:pt>
                <c:pt idx="5349">
                  <c:v>18049</c:v>
                </c:pt>
                <c:pt idx="5350">
                  <c:v>18050</c:v>
                </c:pt>
                <c:pt idx="5351">
                  <c:v>18051</c:v>
                </c:pt>
                <c:pt idx="5352">
                  <c:v>18052</c:v>
                </c:pt>
                <c:pt idx="5353">
                  <c:v>18055</c:v>
                </c:pt>
                <c:pt idx="5354">
                  <c:v>18056</c:v>
                </c:pt>
                <c:pt idx="5355">
                  <c:v>18057</c:v>
                </c:pt>
                <c:pt idx="5356">
                  <c:v>18058</c:v>
                </c:pt>
                <c:pt idx="5357">
                  <c:v>18059</c:v>
                </c:pt>
                <c:pt idx="5358">
                  <c:v>18062</c:v>
                </c:pt>
                <c:pt idx="5359">
                  <c:v>18063</c:v>
                </c:pt>
                <c:pt idx="5360">
                  <c:v>18064</c:v>
                </c:pt>
                <c:pt idx="5361">
                  <c:v>18065</c:v>
                </c:pt>
                <c:pt idx="5362">
                  <c:v>18066</c:v>
                </c:pt>
                <c:pt idx="5363">
                  <c:v>18069</c:v>
                </c:pt>
                <c:pt idx="5364">
                  <c:v>18070</c:v>
                </c:pt>
                <c:pt idx="5365">
                  <c:v>18071</c:v>
                </c:pt>
                <c:pt idx="5366">
                  <c:v>18072</c:v>
                </c:pt>
                <c:pt idx="5367">
                  <c:v>18073</c:v>
                </c:pt>
                <c:pt idx="5368">
                  <c:v>18076</c:v>
                </c:pt>
                <c:pt idx="5369">
                  <c:v>18077</c:v>
                </c:pt>
                <c:pt idx="5370">
                  <c:v>18078</c:v>
                </c:pt>
                <c:pt idx="5371">
                  <c:v>18079</c:v>
                </c:pt>
                <c:pt idx="5372">
                  <c:v>18080</c:v>
                </c:pt>
                <c:pt idx="5373">
                  <c:v>18084</c:v>
                </c:pt>
                <c:pt idx="5374">
                  <c:v>18085</c:v>
                </c:pt>
                <c:pt idx="5375">
                  <c:v>18086</c:v>
                </c:pt>
                <c:pt idx="5376">
                  <c:v>18087</c:v>
                </c:pt>
                <c:pt idx="5377">
                  <c:v>18090</c:v>
                </c:pt>
                <c:pt idx="5378">
                  <c:v>18091</c:v>
                </c:pt>
                <c:pt idx="5379">
                  <c:v>18092</c:v>
                </c:pt>
                <c:pt idx="5380">
                  <c:v>18093</c:v>
                </c:pt>
                <c:pt idx="5381">
                  <c:v>18094</c:v>
                </c:pt>
                <c:pt idx="5382">
                  <c:v>18097</c:v>
                </c:pt>
                <c:pt idx="5383">
                  <c:v>18098</c:v>
                </c:pt>
                <c:pt idx="5384">
                  <c:v>18099</c:v>
                </c:pt>
                <c:pt idx="5385">
                  <c:v>18100</c:v>
                </c:pt>
                <c:pt idx="5386">
                  <c:v>18101</c:v>
                </c:pt>
                <c:pt idx="5387">
                  <c:v>18104</c:v>
                </c:pt>
                <c:pt idx="5388">
                  <c:v>18105</c:v>
                </c:pt>
                <c:pt idx="5389">
                  <c:v>18106</c:v>
                </c:pt>
                <c:pt idx="5390">
                  <c:v>18107</c:v>
                </c:pt>
                <c:pt idx="5391">
                  <c:v>18108</c:v>
                </c:pt>
                <c:pt idx="5392">
                  <c:v>18111</c:v>
                </c:pt>
                <c:pt idx="5393">
                  <c:v>18112</c:v>
                </c:pt>
                <c:pt idx="5394">
                  <c:v>18113</c:v>
                </c:pt>
                <c:pt idx="5395">
                  <c:v>18114</c:v>
                </c:pt>
                <c:pt idx="5396">
                  <c:v>18115</c:v>
                </c:pt>
                <c:pt idx="5397">
                  <c:v>18118</c:v>
                </c:pt>
                <c:pt idx="5398">
                  <c:v>18119</c:v>
                </c:pt>
                <c:pt idx="5399">
                  <c:v>18120</c:v>
                </c:pt>
                <c:pt idx="5400">
                  <c:v>18121</c:v>
                </c:pt>
                <c:pt idx="5401">
                  <c:v>18122</c:v>
                </c:pt>
                <c:pt idx="5402">
                  <c:v>18125</c:v>
                </c:pt>
                <c:pt idx="5403">
                  <c:v>18126</c:v>
                </c:pt>
                <c:pt idx="5404">
                  <c:v>18127</c:v>
                </c:pt>
                <c:pt idx="5405">
                  <c:v>18128</c:v>
                </c:pt>
                <c:pt idx="5406">
                  <c:v>18129</c:v>
                </c:pt>
                <c:pt idx="5407">
                  <c:v>18132</c:v>
                </c:pt>
                <c:pt idx="5408">
                  <c:v>18133</c:v>
                </c:pt>
                <c:pt idx="5409">
                  <c:v>18134</c:v>
                </c:pt>
                <c:pt idx="5410">
                  <c:v>18135</c:v>
                </c:pt>
                <c:pt idx="5411">
                  <c:v>18136</c:v>
                </c:pt>
                <c:pt idx="5412">
                  <c:v>18139</c:v>
                </c:pt>
                <c:pt idx="5413">
                  <c:v>18140</c:v>
                </c:pt>
                <c:pt idx="5414">
                  <c:v>18141</c:v>
                </c:pt>
                <c:pt idx="5415">
                  <c:v>18142</c:v>
                </c:pt>
                <c:pt idx="5416">
                  <c:v>18143</c:v>
                </c:pt>
                <c:pt idx="5417">
                  <c:v>18147</c:v>
                </c:pt>
                <c:pt idx="5418">
                  <c:v>18148</c:v>
                </c:pt>
                <c:pt idx="5419">
                  <c:v>18149</c:v>
                </c:pt>
                <c:pt idx="5420">
                  <c:v>18150</c:v>
                </c:pt>
                <c:pt idx="5421">
                  <c:v>18153</c:v>
                </c:pt>
                <c:pt idx="5422">
                  <c:v>18154</c:v>
                </c:pt>
                <c:pt idx="5423">
                  <c:v>18155</c:v>
                </c:pt>
                <c:pt idx="5424">
                  <c:v>18156</c:v>
                </c:pt>
                <c:pt idx="5425">
                  <c:v>18157</c:v>
                </c:pt>
                <c:pt idx="5426">
                  <c:v>18160</c:v>
                </c:pt>
                <c:pt idx="5427">
                  <c:v>18161</c:v>
                </c:pt>
                <c:pt idx="5428">
                  <c:v>18162</c:v>
                </c:pt>
                <c:pt idx="5429">
                  <c:v>18163</c:v>
                </c:pt>
                <c:pt idx="5430">
                  <c:v>18164</c:v>
                </c:pt>
                <c:pt idx="5431">
                  <c:v>18167</c:v>
                </c:pt>
                <c:pt idx="5432">
                  <c:v>18168</c:v>
                </c:pt>
                <c:pt idx="5433">
                  <c:v>18169</c:v>
                </c:pt>
                <c:pt idx="5434">
                  <c:v>18170</c:v>
                </c:pt>
                <c:pt idx="5435">
                  <c:v>18171</c:v>
                </c:pt>
                <c:pt idx="5436">
                  <c:v>18174</c:v>
                </c:pt>
                <c:pt idx="5437">
                  <c:v>18175</c:v>
                </c:pt>
                <c:pt idx="5438">
                  <c:v>18176</c:v>
                </c:pt>
                <c:pt idx="5439">
                  <c:v>18177</c:v>
                </c:pt>
                <c:pt idx="5440">
                  <c:v>18178</c:v>
                </c:pt>
                <c:pt idx="5441">
                  <c:v>18181</c:v>
                </c:pt>
                <c:pt idx="5442">
                  <c:v>18182</c:v>
                </c:pt>
                <c:pt idx="5443">
                  <c:v>18184</c:v>
                </c:pt>
                <c:pt idx="5444">
                  <c:v>18185</c:v>
                </c:pt>
                <c:pt idx="5445">
                  <c:v>18188</c:v>
                </c:pt>
                <c:pt idx="5446">
                  <c:v>18189</c:v>
                </c:pt>
                <c:pt idx="5447">
                  <c:v>18190</c:v>
                </c:pt>
                <c:pt idx="5448">
                  <c:v>18191</c:v>
                </c:pt>
                <c:pt idx="5449">
                  <c:v>18192</c:v>
                </c:pt>
                <c:pt idx="5450">
                  <c:v>18195</c:v>
                </c:pt>
                <c:pt idx="5451">
                  <c:v>18196</c:v>
                </c:pt>
                <c:pt idx="5452">
                  <c:v>18197</c:v>
                </c:pt>
                <c:pt idx="5453">
                  <c:v>18198</c:v>
                </c:pt>
                <c:pt idx="5454">
                  <c:v>18199</c:v>
                </c:pt>
                <c:pt idx="5455">
                  <c:v>18202</c:v>
                </c:pt>
                <c:pt idx="5456">
                  <c:v>18203</c:v>
                </c:pt>
                <c:pt idx="5457">
                  <c:v>18204</c:v>
                </c:pt>
                <c:pt idx="5458">
                  <c:v>18205</c:v>
                </c:pt>
                <c:pt idx="5459">
                  <c:v>18206</c:v>
                </c:pt>
                <c:pt idx="5460">
                  <c:v>18209</c:v>
                </c:pt>
                <c:pt idx="5461">
                  <c:v>18211</c:v>
                </c:pt>
                <c:pt idx="5462">
                  <c:v>18212</c:v>
                </c:pt>
                <c:pt idx="5463">
                  <c:v>18216</c:v>
                </c:pt>
                <c:pt idx="5464">
                  <c:v>18217</c:v>
                </c:pt>
                <c:pt idx="5465">
                  <c:v>18218</c:v>
                </c:pt>
                <c:pt idx="5466">
                  <c:v>18219</c:v>
                </c:pt>
                <c:pt idx="5467">
                  <c:v>18220</c:v>
                </c:pt>
                <c:pt idx="5468">
                  <c:v>18223</c:v>
                </c:pt>
                <c:pt idx="5469">
                  <c:v>18224</c:v>
                </c:pt>
                <c:pt idx="5470">
                  <c:v>18225</c:v>
                </c:pt>
                <c:pt idx="5471">
                  <c:v>18227</c:v>
                </c:pt>
                <c:pt idx="5472">
                  <c:v>18230</c:v>
                </c:pt>
                <c:pt idx="5473">
                  <c:v>18231</c:v>
                </c:pt>
                <c:pt idx="5474">
                  <c:v>18232</c:v>
                </c:pt>
                <c:pt idx="5475">
                  <c:v>18233</c:v>
                </c:pt>
                <c:pt idx="5476">
                  <c:v>18234</c:v>
                </c:pt>
                <c:pt idx="5477">
                  <c:v>18237</c:v>
                </c:pt>
                <c:pt idx="5478">
                  <c:v>18238</c:v>
                </c:pt>
                <c:pt idx="5479">
                  <c:v>18239</c:v>
                </c:pt>
                <c:pt idx="5480">
                  <c:v>18240</c:v>
                </c:pt>
                <c:pt idx="5481">
                  <c:v>18241</c:v>
                </c:pt>
                <c:pt idx="5482">
                  <c:v>18244</c:v>
                </c:pt>
                <c:pt idx="5483">
                  <c:v>18245</c:v>
                </c:pt>
                <c:pt idx="5484">
                  <c:v>18246</c:v>
                </c:pt>
                <c:pt idx="5485">
                  <c:v>18247</c:v>
                </c:pt>
                <c:pt idx="5486">
                  <c:v>18248</c:v>
                </c:pt>
                <c:pt idx="5487">
                  <c:v>18251</c:v>
                </c:pt>
                <c:pt idx="5488">
                  <c:v>18252</c:v>
                </c:pt>
                <c:pt idx="5489">
                  <c:v>18253</c:v>
                </c:pt>
                <c:pt idx="5490">
                  <c:v>18254</c:v>
                </c:pt>
                <c:pt idx="5491">
                  <c:v>18255</c:v>
                </c:pt>
                <c:pt idx="5492">
                  <c:v>18259</c:v>
                </c:pt>
                <c:pt idx="5493">
                  <c:v>18260</c:v>
                </c:pt>
                <c:pt idx="5494">
                  <c:v>18261</c:v>
                </c:pt>
                <c:pt idx="5495">
                  <c:v>18262</c:v>
                </c:pt>
                <c:pt idx="5496">
                  <c:v>18266</c:v>
                </c:pt>
                <c:pt idx="5497">
                  <c:v>18267</c:v>
                </c:pt>
                <c:pt idx="5498">
                  <c:v>18268</c:v>
                </c:pt>
                <c:pt idx="5499">
                  <c:v>18269</c:v>
                </c:pt>
                <c:pt idx="5500">
                  <c:v>18272</c:v>
                </c:pt>
                <c:pt idx="5501">
                  <c:v>18273</c:v>
                </c:pt>
                <c:pt idx="5502">
                  <c:v>18274</c:v>
                </c:pt>
                <c:pt idx="5503">
                  <c:v>18275</c:v>
                </c:pt>
                <c:pt idx="5504">
                  <c:v>18276</c:v>
                </c:pt>
                <c:pt idx="5505">
                  <c:v>18279</c:v>
                </c:pt>
                <c:pt idx="5506">
                  <c:v>18280</c:v>
                </c:pt>
                <c:pt idx="5507">
                  <c:v>18281</c:v>
                </c:pt>
                <c:pt idx="5508">
                  <c:v>18282</c:v>
                </c:pt>
                <c:pt idx="5509">
                  <c:v>18283</c:v>
                </c:pt>
                <c:pt idx="5510">
                  <c:v>18286</c:v>
                </c:pt>
                <c:pt idx="5511">
                  <c:v>18287</c:v>
                </c:pt>
                <c:pt idx="5512">
                  <c:v>18288</c:v>
                </c:pt>
                <c:pt idx="5513">
                  <c:v>18289</c:v>
                </c:pt>
                <c:pt idx="5514">
                  <c:v>18290</c:v>
                </c:pt>
                <c:pt idx="5515">
                  <c:v>18293</c:v>
                </c:pt>
                <c:pt idx="5516">
                  <c:v>18294</c:v>
                </c:pt>
                <c:pt idx="5517">
                  <c:v>18295</c:v>
                </c:pt>
                <c:pt idx="5518">
                  <c:v>18296</c:v>
                </c:pt>
                <c:pt idx="5519">
                  <c:v>18297</c:v>
                </c:pt>
                <c:pt idx="5520">
                  <c:v>18300</c:v>
                </c:pt>
                <c:pt idx="5521">
                  <c:v>18301</c:v>
                </c:pt>
                <c:pt idx="5522">
                  <c:v>18302</c:v>
                </c:pt>
                <c:pt idx="5523">
                  <c:v>18303</c:v>
                </c:pt>
                <c:pt idx="5524">
                  <c:v>18304</c:v>
                </c:pt>
                <c:pt idx="5525">
                  <c:v>18308</c:v>
                </c:pt>
                <c:pt idx="5526">
                  <c:v>18309</c:v>
                </c:pt>
                <c:pt idx="5527">
                  <c:v>18310</c:v>
                </c:pt>
                <c:pt idx="5528">
                  <c:v>18311</c:v>
                </c:pt>
                <c:pt idx="5529">
                  <c:v>18314</c:v>
                </c:pt>
                <c:pt idx="5530">
                  <c:v>18315</c:v>
                </c:pt>
                <c:pt idx="5531">
                  <c:v>18317</c:v>
                </c:pt>
                <c:pt idx="5532">
                  <c:v>18318</c:v>
                </c:pt>
                <c:pt idx="5533">
                  <c:v>18321</c:v>
                </c:pt>
                <c:pt idx="5534">
                  <c:v>18322</c:v>
                </c:pt>
                <c:pt idx="5535">
                  <c:v>18323</c:v>
                </c:pt>
                <c:pt idx="5536">
                  <c:v>18324</c:v>
                </c:pt>
                <c:pt idx="5537">
                  <c:v>18325</c:v>
                </c:pt>
                <c:pt idx="5538">
                  <c:v>18328</c:v>
                </c:pt>
                <c:pt idx="5539">
                  <c:v>18329</c:v>
                </c:pt>
                <c:pt idx="5540">
                  <c:v>18330</c:v>
                </c:pt>
                <c:pt idx="5541">
                  <c:v>18331</c:v>
                </c:pt>
                <c:pt idx="5542">
                  <c:v>18332</c:v>
                </c:pt>
                <c:pt idx="5543">
                  <c:v>18335</c:v>
                </c:pt>
                <c:pt idx="5544">
                  <c:v>18336</c:v>
                </c:pt>
                <c:pt idx="5545">
                  <c:v>18337</c:v>
                </c:pt>
                <c:pt idx="5546">
                  <c:v>18338</c:v>
                </c:pt>
                <c:pt idx="5547">
                  <c:v>18339</c:v>
                </c:pt>
                <c:pt idx="5548">
                  <c:v>18342</c:v>
                </c:pt>
                <c:pt idx="5549">
                  <c:v>18343</c:v>
                </c:pt>
                <c:pt idx="5550">
                  <c:v>18344</c:v>
                </c:pt>
                <c:pt idx="5551">
                  <c:v>18345</c:v>
                </c:pt>
                <c:pt idx="5552">
                  <c:v>18346</c:v>
                </c:pt>
                <c:pt idx="5553">
                  <c:v>18349</c:v>
                </c:pt>
                <c:pt idx="5554">
                  <c:v>18350</c:v>
                </c:pt>
                <c:pt idx="5555">
                  <c:v>18351</c:v>
                </c:pt>
                <c:pt idx="5556">
                  <c:v>18352</c:v>
                </c:pt>
                <c:pt idx="5557">
                  <c:v>18353</c:v>
                </c:pt>
                <c:pt idx="5558">
                  <c:v>18356</c:v>
                </c:pt>
                <c:pt idx="5559">
                  <c:v>18357</c:v>
                </c:pt>
                <c:pt idx="5560">
                  <c:v>18358</c:v>
                </c:pt>
                <c:pt idx="5561">
                  <c:v>18359</c:v>
                </c:pt>
                <c:pt idx="5562">
                  <c:v>18363</c:v>
                </c:pt>
                <c:pt idx="5563">
                  <c:v>18364</c:v>
                </c:pt>
                <c:pt idx="5564">
                  <c:v>18365</c:v>
                </c:pt>
                <c:pt idx="5565">
                  <c:v>18366</c:v>
                </c:pt>
                <c:pt idx="5566">
                  <c:v>18367</c:v>
                </c:pt>
                <c:pt idx="5567">
                  <c:v>18370</c:v>
                </c:pt>
                <c:pt idx="5568">
                  <c:v>18371</c:v>
                </c:pt>
                <c:pt idx="5569">
                  <c:v>18372</c:v>
                </c:pt>
                <c:pt idx="5570">
                  <c:v>18373</c:v>
                </c:pt>
                <c:pt idx="5571">
                  <c:v>18374</c:v>
                </c:pt>
                <c:pt idx="5572">
                  <c:v>18377</c:v>
                </c:pt>
                <c:pt idx="5573">
                  <c:v>18378</c:v>
                </c:pt>
                <c:pt idx="5574">
                  <c:v>18379</c:v>
                </c:pt>
                <c:pt idx="5575">
                  <c:v>18380</c:v>
                </c:pt>
                <c:pt idx="5576">
                  <c:v>18381</c:v>
                </c:pt>
                <c:pt idx="5577">
                  <c:v>18384</c:v>
                </c:pt>
                <c:pt idx="5578">
                  <c:v>18385</c:v>
                </c:pt>
                <c:pt idx="5579">
                  <c:v>18386</c:v>
                </c:pt>
                <c:pt idx="5580">
                  <c:v>18387</c:v>
                </c:pt>
                <c:pt idx="5581">
                  <c:v>18388</c:v>
                </c:pt>
                <c:pt idx="5582">
                  <c:v>18391</c:v>
                </c:pt>
                <c:pt idx="5583">
                  <c:v>18392</c:v>
                </c:pt>
                <c:pt idx="5584">
                  <c:v>18393</c:v>
                </c:pt>
                <c:pt idx="5585">
                  <c:v>18394</c:v>
                </c:pt>
                <c:pt idx="5586">
                  <c:v>18395</c:v>
                </c:pt>
                <c:pt idx="5587">
                  <c:v>18398</c:v>
                </c:pt>
                <c:pt idx="5588">
                  <c:v>18399</c:v>
                </c:pt>
                <c:pt idx="5589">
                  <c:v>18400</c:v>
                </c:pt>
                <c:pt idx="5590">
                  <c:v>18401</c:v>
                </c:pt>
                <c:pt idx="5591">
                  <c:v>18402</c:v>
                </c:pt>
                <c:pt idx="5592">
                  <c:v>18405</c:v>
                </c:pt>
                <c:pt idx="5593">
                  <c:v>18406</c:v>
                </c:pt>
                <c:pt idx="5594">
                  <c:v>18407</c:v>
                </c:pt>
                <c:pt idx="5595">
                  <c:v>18408</c:v>
                </c:pt>
                <c:pt idx="5596">
                  <c:v>18409</c:v>
                </c:pt>
                <c:pt idx="5597">
                  <c:v>18412</c:v>
                </c:pt>
                <c:pt idx="5598">
                  <c:v>18414</c:v>
                </c:pt>
                <c:pt idx="5599">
                  <c:v>18415</c:v>
                </c:pt>
                <c:pt idx="5600">
                  <c:v>18416</c:v>
                </c:pt>
                <c:pt idx="5601">
                  <c:v>18419</c:v>
                </c:pt>
                <c:pt idx="5602">
                  <c:v>18420</c:v>
                </c:pt>
                <c:pt idx="5603">
                  <c:v>18421</c:v>
                </c:pt>
                <c:pt idx="5604">
                  <c:v>18422</c:v>
                </c:pt>
                <c:pt idx="5605">
                  <c:v>18423</c:v>
                </c:pt>
                <c:pt idx="5606">
                  <c:v>18426</c:v>
                </c:pt>
                <c:pt idx="5607">
                  <c:v>18427</c:v>
                </c:pt>
                <c:pt idx="5608">
                  <c:v>18428</c:v>
                </c:pt>
                <c:pt idx="5609">
                  <c:v>18429</c:v>
                </c:pt>
                <c:pt idx="5610">
                  <c:v>18430</c:v>
                </c:pt>
                <c:pt idx="5611">
                  <c:v>18433</c:v>
                </c:pt>
                <c:pt idx="5612">
                  <c:v>18434</c:v>
                </c:pt>
                <c:pt idx="5613">
                  <c:v>18435</c:v>
                </c:pt>
                <c:pt idx="5614">
                  <c:v>18436</c:v>
                </c:pt>
                <c:pt idx="5615">
                  <c:v>18437</c:v>
                </c:pt>
                <c:pt idx="5616">
                  <c:v>18440</c:v>
                </c:pt>
                <c:pt idx="5617">
                  <c:v>18441</c:v>
                </c:pt>
                <c:pt idx="5618">
                  <c:v>18442</c:v>
                </c:pt>
                <c:pt idx="5619">
                  <c:v>18443</c:v>
                </c:pt>
                <c:pt idx="5620">
                  <c:v>18444</c:v>
                </c:pt>
                <c:pt idx="5621">
                  <c:v>18447</c:v>
                </c:pt>
                <c:pt idx="5622">
                  <c:v>18449</c:v>
                </c:pt>
                <c:pt idx="5623">
                  <c:v>18450</c:v>
                </c:pt>
                <c:pt idx="5624">
                  <c:v>18451</c:v>
                </c:pt>
                <c:pt idx="5625">
                  <c:v>18454</c:v>
                </c:pt>
                <c:pt idx="5626">
                  <c:v>18455</c:v>
                </c:pt>
                <c:pt idx="5627">
                  <c:v>18456</c:v>
                </c:pt>
                <c:pt idx="5628">
                  <c:v>18457</c:v>
                </c:pt>
                <c:pt idx="5629">
                  <c:v>18458</c:v>
                </c:pt>
                <c:pt idx="5630">
                  <c:v>18461</c:v>
                </c:pt>
                <c:pt idx="5631">
                  <c:v>18462</c:v>
                </c:pt>
                <c:pt idx="5632">
                  <c:v>18463</c:v>
                </c:pt>
                <c:pt idx="5633">
                  <c:v>18464</c:v>
                </c:pt>
                <c:pt idx="5634">
                  <c:v>18465</c:v>
                </c:pt>
                <c:pt idx="5635">
                  <c:v>18468</c:v>
                </c:pt>
                <c:pt idx="5636">
                  <c:v>18469</c:v>
                </c:pt>
                <c:pt idx="5637">
                  <c:v>18470</c:v>
                </c:pt>
                <c:pt idx="5638">
                  <c:v>18471</c:v>
                </c:pt>
                <c:pt idx="5639">
                  <c:v>18472</c:v>
                </c:pt>
                <c:pt idx="5640">
                  <c:v>18475</c:v>
                </c:pt>
                <c:pt idx="5641">
                  <c:v>18476</c:v>
                </c:pt>
                <c:pt idx="5642">
                  <c:v>18477</c:v>
                </c:pt>
                <c:pt idx="5643">
                  <c:v>18478</c:v>
                </c:pt>
                <c:pt idx="5644">
                  <c:v>18479</c:v>
                </c:pt>
                <c:pt idx="5645">
                  <c:v>18482</c:v>
                </c:pt>
                <c:pt idx="5646">
                  <c:v>18483</c:v>
                </c:pt>
                <c:pt idx="5647">
                  <c:v>18484</c:v>
                </c:pt>
                <c:pt idx="5648">
                  <c:v>18485</c:v>
                </c:pt>
                <c:pt idx="5649">
                  <c:v>18486</c:v>
                </c:pt>
                <c:pt idx="5650">
                  <c:v>18489</c:v>
                </c:pt>
                <c:pt idx="5651">
                  <c:v>18490</c:v>
                </c:pt>
                <c:pt idx="5652">
                  <c:v>18491</c:v>
                </c:pt>
                <c:pt idx="5653">
                  <c:v>18492</c:v>
                </c:pt>
                <c:pt idx="5654">
                  <c:v>18493</c:v>
                </c:pt>
                <c:pt idx="5655">
                  <c:v>18496</c:v>
                </c:pt>
                <c:pt idx="5656">
                  <c:v>18497</c:v>
                </c:pt>
                <c:pt idx="5657">
                  <c:v>18498</c:v>
                </c:pt>
                <c:pt idx="5658">
                  <c:v>18499</c:v>
                </c:pt>
                <c:pt idx="5659">
                  <c:v>18500</c:v>
                </c:pt>
                <c:pt idx="5660">
                  <c:v>18503</c:v>
                </c:pt>
                <c:pt idx="5661">
                  <c:v>18504</c:v>
                </c:pt>
                <c:pt idx="5662">
                  <c:v>18505</c:v>
                </c:pt>
                <c:pt idx="5663">
                  <c:v>18506</c:v>
                </c:pt>
                <c:pt idx="5664">
                  <c:v>18507</c:v>
                </c:pt>
                <c:pt idx="5665">
                  <c:v>18511</c:v>
                </c:pt>
                <c:pt idx="5666">
                  <c:v>18512</c:v>
                </c:pt>
                <c:pt idx="5667">
                  <c:v>18513</c:v>
                </c:pt>
                <c:pt idx="5668">
                  <c:v>18514</c:v>
                </c:pt>
                <c:pt idx="5669">
                  <c:v>18517</c:v>
                </c:pt>
                <c:pt idx="5670">
                  <c:v>18518</c:v>
                </c:pt>
                <c:pt idx="5671">
                  <c:v>18519</c:v>
                </c:pt>
                <c:pt idx="5672">
                  <c:v>18520</c:v>
                </c:pt>
                <c:pt idx="5673">
                  <c:v>18521</c:v>
                </c:pt>
                <c:pt idx="5674">
                  <c:v>18524</c:v>
                </c:pt>
                <c:pt idx="5675">
                  <c:v>18525</c:v>
                </c:pt>
                <c:pt idx="5676">
                  <c:v>18526</c:v>
                </c:pt>
                <c:pt idx="5677">
                  <c:v>18527</c:v>
                </c:pt>
                <c:pt idx="5678">
                  <c:v>18528</c:v>
                </c:pt>
                <c:pt idx="5679">
                  <c:v>18531</c:v>
                </c:pt>
                <c:pt idx="5680">
                  <c:v>18532</c:v>
                </c:pt>
                <c:pt idx="5681">
                  <c:v>18533</c:v>
                </c:pt>
                <c:pt idx="5682">
                  <c:v>18534</c:v>
                </c:pt>
                <c:pt idx="5683">
                  <c:v>18535</c:v>
                </c:pt>
                <c:pt idx="5684">
                  <c:v>18538</c:v>
                </c:pt>
                <c:pt idx="5685">
                  <c:v>18539</c:v>
                </c:pt>
                <c:pt idx="5686">
                  <c:v>18540</c:v>
                </c:pt>
                <c:pt idx="5687">
                  <c:v>18541</c:v>
                </c:pt>
                <c:pt idx="5688">
                  <c:v>18542</c:v>
                </c:pt>
                <c:pt idx="5689">
                  <c:v>18545</c:v>
                </c:pt>
                <c:pt idx="5690">
                  <c:v>18546</c:v>
                </c:pt>
                <c:pt idx="5691">
                  <c:v>18547</c:v>
                </c:pt>
                <c:pt idx="5692">
                  <c:v>18549</c:v>
                </c:pt>
                <c:pt idx="5693">
                  <c:v>18552</c:v>
                </c:pt>
                <c:pt idx="5694">
                  <c:v>18553</c:v>
                </c:pt>
                <c:pt idx="5695">
                  <c:v>18554</c:v>
                </c:pt>
                <c:pt idx="5696">
                  <c:v>18555</c:v>
                </c:pt>
                <c:pt idx="5697">
                  <c:v>18556</c:v>
                </c:pt>
                <c:pt idx="5698">
                  <c:v>18559</c:v>
                </c:pt>
                <c:pt idx="5699">
                  <c:v>18560</c:v>
                </c:pt>
                <c:pt idx="5700">
                  <c:v>18561</c:v>
                </c:pt>
                <c:pt idx="5701">
                  <c:v>18562</c:v>
                </c:pt>
                <c:pt idx="5702">
                  <c:v>18563</c:v>
                </c:pt>
                <c:pt idx="5703">
                  <c:v>18566</c:v>
                </c:pt>
                <c:pt idx="5704">
                  <c:v>18567</c:v>
                </c:pt>
                <c:pt idx="5705">
                  <c:v>18568</c:v>
                </c:pt>
                <c:pt idx="5706">
                  <c:v>18569</c:v>
                </c:pt>
                <c:pt idx="5707">
                  <c:v>18570</c:v>
                </c:pt>
                <c:pt idx="5708">
                  <c:v>18573</c:v>
                </c:pt>
                <c:pt idx="5709">
                  <c:v>18575</c:v>
                </c:pt>
                <c:pt idx="5710">
                  <c:v>18576</c:v>
                </c:pt>
                <c:pt idx="5711">
                  <c:v>18577</c:v>
                </c:pt>
                <c:pt idx="5712">
                  <c:v>18580</c:v>
                </c:pt>
                <c:pt idx="5713">
                  <c:v>18581</c:v>
                </c:pt>
                <c:pt idx="5714">
                  <c:v>18582</c:v>
                </c:pt>
                <c:pt idx="5715">
                  <c:v>18583</c:v>
                </c:pt>
                <c:pt idx="5716">
                  <c:v>18584</c:v>
                </c:pt>
                <c:pt idx="5717">
                  <c:v>18587</c:v>
                </c:pt>
                <c:pt idx="5718">
                  <c:v>18588</c:v>
                </c:pt>
                <c:pt idx="5719">
                  <c:v>18589</c:v>
                </c:pt>
                <c:pt idx="5720">
                  <c:v>18591</c:v>
                </c:pt>
                <c:pt idx="5721">
                  <c:v>18594</c:v>
                </c:pt>
                <c:pt idx="5722">
                  <c:v>18595</c:v>
                </c:pt>
                <c:pt idx="5723">
                  <c:v>18596</c:v>
                </c:pt>
                <c:pt idx="5724">
                  <c:v>18597</c:v>
                </c:pt>
                <c:pt idx="5725">
                  <c:v>18598</c:v>
                </c:pt>
                <c:pt idx="5726">
                  <c:v>18601</c:v>
                </c:pt>
                <c:pt idx="5727">
                  <c:v>18602</c:v>
                </c:pt>
                <c:pt idx="5728">
                  <c:v>18603</c:v>
                </c:pt>
                <c:pt idx="5729">
                  <c:v>18604</c:v>
                </c:pt>
                <c:pt idx="5730">
                  <c:v>18605</c:v>
                </c:pt>
                <c:pt idx="5731">
                  <c:v>18608</c:v>
                </c:pt>
                <c:pt idx="5732">
                  <c:v>18609</c:v>
                </c:pt>
                <c:pt idx="5733">
                  <c:v>18610</c:v>
                </c:pt>
                <c:pt idx="5734">
                  <c:v>18611</c:v>
                </c:pt>
                <c:pt idx="5735">
                  <c:v>18612</c:v>
                </c:pt>
                <c:pt idx="5736">
                  <c:v>18615</c:v>
                </c:pt>
                <c:pt idx="5737">
                  <c:v>18616</c:v>
                </c:pt>
                <c:pt idx="5738">
                  <c:v>18617</c:v>
                </c:pt>
                <c:pt idx="5739">
                  <c:v>18618</c:v>
                </c:pt>
                <c:pt idx="5740">
                  <c:v>18619</c:v>
                </c:pt>
                <c:pt idx="5741">
                  <c:v>18623</c:v>
                </c:pt>
                <c:pt idx="5742">
                  <c:v>18624</c:v>
                </c:pt>
                <c:pt idx="5743">
                  <c:v>18625</c:v>
                </c:pt>
                <c:pt idx="5744">
                  <c:v>18626</c:v>
                </c:pt>
                <c:pt idx="5745">
                  <c:v>18630</c:v>
                </c:pt>
                <c:pt idx="5746">
                  <c:v>18631</c:v>
                </c:pt>
                <c:pt idx="5747">
                  <c:v>18632</c:v>
                </c:pt>
                <c:pt idx="5748">
                  <c:v>18633</c:v>
                </c:pt>
                <c:pt idx="5749">
                  <c:v>18636</c:v>
                </c:pt>
                <c:pt idx="5750">
                  <c:v>18637</c:v>
                </c:pt>
                <c:pt idx="5751">
                  <c:v>18638</c:v>
                </c:pt>
                <c:pt idx="5752">
                  <c:v>18639</c:v>
                </c:pt>
                <c:pt idx="5753">
                  <c:v>18640</c:v>
                </c:pt>
                <c:pt idx="5754">
                  <c:v>18643</c:v>
                </c:pt>
                <c:pt idx="5755">
                  <c:v>18644</c:v>
                </c:pt>
                <c:pt idx="5756">
                  <c:v>18645</c:v>
                </c:pt>
                <c:pt idx="5757">
                  <c:v>18646</c:v>
                </c:pt>
                <c:pt idx="5758">
                  <c:v>18647</c:v>
                </c:pt>
                <c:pt idx="5759">
                  <c:v>18650</c:v>
                </c:pt>
                <c:pt idx="5760">
                  <c:v>18651</c:v>
                </c:pt>
                <c:pt idx="5761">
                  <c:v>18652</c:v>
                </c:pt>
                <c:pt idx="5762">
                  <c:v>18653</c:v>
                </c:pt>
                <c:pt idx="5763">
                  <c:v>18654</c:v>
                </c:pt>
                <c:pt idx="5764">
                  <c:v>18657</c:v>
                </c:pt>
                <c:pt idx="5765">
                  <c:v>18658</c:v>
                </c:pt>
                <c:pt idx="5766">
                  <c:v>18659</c:v>
                </c:pt>
                <c:pt idx="5767">
                  <c:v>18660</c:v>
                </c:pt>
                <c:pt idx="5768">
                  <c:v>18661</c:v>
                </c:pt>
                <c:pt idx="5769">
                  <c:v>18664</c:v>
                </c:pt>
                <c:pt idx="5770">
                  <c:v>18665</c:v>
                </c:pt>
                <c:pt idx="5771">
                  <c:v>18666</c:v>
                </c:pt>
                <c:pt idx="5772">
                  <c:v>18667</c:v>
                </c:pt>
                <c:pt idx="5773">
                  <c:v>18668</c:v>
                </c:pt>
                <c:pt idx="5774">
                  <c:v>18672</c:v>
                </c:pt>
                <c:pt idx="5775">
                  <c:v>18673</c:v>
                </c:pt>
                <c:pt idx="5776">
                  <c:v>18674</c:v>
                </c:pt>
                <c:pt idx="5777">
                  <c:v>18675</c:v>
                </c:pt>
                <c:pt idx="5778">
                  <c:v>18678</c:v>
                </c:pt>
                <c:pt idx="5779">
                  <c:v>18679</c:v>
                </c:pt>
                <c:pt idx="5780">
                  <c:v>18680</c:v>
                </c:pt>
                <c:pt idx="5781">
                  <c:v>18682</c:v>
                </c:pt>
                <c:pt idx="5782">
                  <c:v>18685</c:v>
                </c:pt>
                <c:pt idx="5783">
                  <c:v>18686</c:v>
                </c:pt>
                <c:pt idx="5784">
                  <c:v>18687</c:v>
                </c:pt>
                <c:pt idx="5785">
                  <c:v>18688</c:v>
                </c:pt>
                <c:pt idx="5786">
                  <c:v>18689</c:v>
                </c:pt>
                <c:pt idx="5787">
                  <c:v>18692</c:v>
                </c:pt>
                <c:pt idx="5788">
                  <c:v>18693</c:v>
                </c:pt>
                <c:pt idx="5789">
                  <c:v>18694</c:v>
                </c:pt>
                <c:pt idx="5790">
                  <c:v>18695</c:v>
                </c:pt>
                <c:pt idx="5791">
                  <c:v>18696</c:v>
                </c:pt>
                <c:pt idx="5792">
                  <c:v>18699</c:v>
                </c:pt>
                <c:pt idx="5793">
                  <c:v>18700</c:v>
                </c:pt>
                <c:pt idx="5794">
                  <c:v>18701</c:v>
                </c:pt>
                <c:pt idx="5795">
                  <c:v>18702</c:v>
                </c:pt>
                <c:pt idx="5796">
                  <c:v>18703</c:v>
                </c:pt>
                <c:pt idx="5797">
                  <c:v>18706</c:v>
                </c:pt>
                <c:pt idx="5798">
                  <c:v>18707</c:v>
                </c:pt>
                <c:pt idx="5799">
                  <c:v>18708</c:v>
                </c:pt>
                <c:pt idx="5800">
                  <c:v>18709</c:v>
                </c:pt>
                <c:pt idx="5801">
                  <c:v>18713</c:v>
                </c:pt>
                <c:pt idx="5802">
                  <c:v>18714</c:v>
                </c:pt>
                <c:pt idx="5803">
                  <c:v>18715</c:v>
                </c:pt>
                <c:pt idx="5804">
                  <c:v>18716</c:v>
                </c:pt>
                <c:pt idx="5805">
                  <c:v>18717</c:v>
                </c:pt>
                <c:pt idx="5806">
                  <c:v>18720</c:v>
                </c:pt>
                <c:pt idx="5807">
                  <c:v>18721</c:v>
                </c:pt>
                <c:pt idx="5808">
                  <c:v>18722</c:v>
                </c:pt>
                <c:pt idx="5809">
                  <c:v>18723</c:v>
                </c:pt>
                <c:pt idx="5810">
                  <c:v>18724</c:v>
                </c:pt>
                <c:pt idx="5811">
                  <c:v>18727</c:v>
                </c:pt>
                <c:pt idx="5812">
                  <c:v>18728</c:v>
                </c:pt>
                <c:pt idx="5813">
                  <c:v>18729</c:v>
                </c:pt>
                <c:pt idx="5814">
                  <c:v>18730</c:v>
                </c:pt>
                <c:pt idx="5815">
                  <c:v>18731</c:v>
                </c:pt>
                <c:pt idx="5816">
                  <c:v>18734</c:v>
                </c:pt>
                <c:pt idx="5817">
                  <c:v>18735</c:v>
                </c:pt>
                <c:pt idx="5818">
                  <c:v>18736</c:v>
                </c:pt>
                <c:pt idx="5819">
                  <c:v>18737</c:v>
                </c:pt>
                <c:pt idx="5820">
                  <c:v>18738</c:v>
                </c:pt>
                <c:pt idx="5821">
                  <c:v>18741</c:v>
                </c:pt>
                <c:pt idx="5822">
                  <c:v>18742</c:v>
                </c:pt>
                <c:pt idx="5823">
                  <c:v>18743</c:v>
                </c:pt>
                <c:pt idx="5824">
                  <c:v>18744</c:v>
                </c:pt>
                <c:pt idx="5825">
                  <c:v>18745</c:v>
                </c:pt>
                <c:pt idx="5826">
                  <c:v>18748</c:v>
                </c:pt>
                <c:pt idx="5827">
                  <c:v>18749</c:v>
                </c:pt>
                <c:pt idx="5828">
                  <c:v>18750</c:v>
                </c:pt>
                <c:pt idx="5829">
                  <c:v>18751</c:v>
                </c:pt>
                <c:pt idx="5830">
                  <c:v>18752</c:v>
                </c:pt>
                <c:pt idx="5831">
                  <c:v>18755</c:v>
                </c:pt>
                <c:pt idx="5832">
                  <c:v>18756</c:v>
                </c:pt>
                <c:pt idx="5833">
                  <c:v>18757</c:v>
                </c:pt>
                <c:pt idx="5834">
                  <c:v>18758</c:v>
                </c:pt>
                <c:pt idx="5835">
                  <c:v>18759</c:v>
                </c:pt>
                <c:pt idx="5836">
                  <c:v>18762</c:v>
                </c:pt>
                <c:pt idx="5837">
                  <c:v>18763</c:v>
                </c:pt>
                <c:pt idx="5838">
                  <c:v>18764</c:v>
                </c:pt>
                <c:pt idx="5839">
                  <c:v>18765</c:v>
                </c:pt>
                <c:pt idx="5840">
                  <c:v>18766</c:v>
                </c:pt>
                <c:pt idx="5841">
                  <c:v>18769</c:v>
                </c:pt>
                <c:pt idx="5842">
                  <c:v>18770</c:v>
                </c:pt>
                <c:pt idx="5843">
                  <c:v>18771</c:v>
                </c:pt>
                <c:pt idx="5844">
                  <c:v>18772</c:v>
                </c:pt>
                <c:pt idx="5845">
                  <c:v>18773</c:v>
                </c:pt>
                <c:pt idx="5846">
                  <c:v>18776</c:v>
                </c:pt>
                <c:pt idx="5847">
                  <c:v>18777</c:v>
                </c:pt>
                <c:pt idx="5848">
                  <c:v>18779</c:v>
                </c:pt>
                <c:pt idx="5849">
                  <c:v>18780</c:v>
                </c:pt>
                <c:pt idx="5850">
                  <c:v>18783</c:v>
                </c:pt>
                <c:pt idx="5851">
                  <c:v>18784</c:v>
                </c:pt>
                <c:pt idx="5852">
                  <c:v>18785</c:v>
                </c:pt>
                <c:pt idx="5853">
                  <c:v>18786</c:v>
                </c:pt>
                <c:pt idx="5854">
                  <c:v>18787</c:v>
                </c:pt>
                <c:pt idx="5855">
                  <c:v>18790</c:v>
                </c:pt>
                <c:pt idx="5856">
                  <c:v>18791</c:v>
                </c:pt>
                <c:pt idx="5857">
                  <c:v>18792</c:v>
                </c:pt>
                <c:pt idx="5858">
                  <c:v>18793</c:v>
                </c:pt>
                <c:pt idx="5859">
                  <c:v>18794</c:v>
                </c:pt>
                <c:pt idx="5860">
                  <c:v>18797</c:v>
                </c:pt>
                <c:pt idx="5861">
                  <c:v>18798</c:v>
                </c:pt>
                <c:pt idx="5862">
                  <c:v>18799</c:v>
                </c:pt>
                <c:pt idx="5863">
                  <c:v>18800</c:v>
                </c:pt>
                <c:pt idx="5864">
                  <c:v>18801</c:v>
                </c:pt>
                <c:pt idx="5865">
                  <c:v>18804</c:v>
                </c:pt>
                <c:pt idx="5866">
                  <c:v>18805</c:v>
                </c:pt>
                <c:pt idx="5867">
                  <c:v>18806</c:v>
                </c:pt>
                <c:pt idx="5868">
                  <c:v>18807</c:v>
                </c:pt>
                <c:pt idx="5869">
                  <c:v>18808</c:v>
                </c:pt>
                <c:pt idx="5870">
                  <c:v>18811</c:v>
                </c:pt>
                <c:pt idx="5871">
                  <c:v>18812</c:v>
                </c:pt>
                <c:pt idx="5872">
                  <c:v>18814</c:v>
                </c:pt>
                <c:pt idx="5873">
                  <c:v>18815</c:v>
                </c:pt>
                <c:pt idx="5874">
                  <c:v>18818</c:v>
                </c:pt>
                <c:pt idx="5875">
                  <c:v>18819</c:v>
                </c:pt>
                <c:pt idx="5876">
                  <c:v>18820</c:v>
                </c:pt>
                <c:pt idx="5877">
                  <c:v>18821</c:v>
                </c:pt>
                <c:pt idx="5878">
                  <c:v>18822</c:v>
                </c:pt>
                <c:pt idx="5879">
                  <c:v>18825</c:v>
                </c:pt>
                <c:pt idx="5880">
                  <c:v>18826</c:v>
                </c:pt>
                <c:pt idx="5881">
                  <c:v>18827</c:v>
                </c:pt>
                <c:pt idx="5882">
                  <c:v>18828</c:v>
                </c:pt>
                <c:pt idx="5883">
                  <c:v>18829</c:v>
                </c:pt>
                <c:pt idx="5884">
                  <c:v>18832</c:v>
                </c:pt>
                <c:pt idx="5885">
                  <c:v>18833</c:v>
                </c:pt>
                <c:pt idx="5886">
                  <c:v>18834</c:v>
                </c:pt>
                <c:pt idx="5887">
                  <c:v>18835</c:v>
                </c:pt>
                <c:pt idx="5888">
                  <c:v>18836</c:v>
                </c:pt>
                <c:pt idx="5889">
                  <c:v>18839</c:v>
                </c:pt>
                <c:pt idx="5890">
                  <c:v>18840</c:v>
                </c:pt>
                <c:pt idx="5891">
                  <c:v>18841</c:v>
                </c:pt>
                <c:pt idx="5892">
                  <c:v>18842</c:v>
                </c:pt>
                <c:pt idx="5893">
                  <c:v>18843</c:v>
                </c:pt>
                <c:pt idx="5894">
                  <c:v>18846</c:v>
                </c:pt>
                <c:pt idx="5895">
                  <c:v>18847</c:v>
                </c:pt>
                <c:pt idx="5896">
                  <c:v>18848</c:v>
                </c:pt>
                <c:pt idx="5897">
                  <c:v>18849</c:v>
                </c:pt>
                <c:pt idx="5898">
                  <c:v>18850</c:v>
                </c:pt>
                <c:pt idx="5899">
                  <c:v>18853</c:v>
                </c:pt>
                <c:pt idx="5900">
                  <c:v>18854</c:v>
                </c:pt>
                <c:pt idx="5901">
                  <c:v>18855</c:v>
                </c:pt>
                <c:pt idx="5902">
                  <c:v>18856</c:v>
                </c:pt>
                <c:pt idx="5903">
                  <c:v>18857</c:v>
                </c:pt>
                <c:pt idx="5904">
                  <c:v>18860</c:v>
                </c:pt>
                <c:pt idx="5905">
                  <c:v>18861</c:v>
                </c:pt>
                <c:pt idx="5906">
                  <c:v>18862</c:v>
                </c:pt>
                <c:pt idx="5907">
                  <c:v>18863</c:v>
                </c:pt>
                <c:pt idx="5908">
                  <c:v>18864</c:v>
                </c:pt>
                <c:pt idx="5909">
                  <c:v>18867</c:v>
                </c:pt>
                <c:pt idx="5910">
                  <c:v>18868</c:v>
                </c:pt>
                <c:pt idx="5911">
                  <c:v>18869</c:v>
                </c:pt>
                <c:pt idx="5912">
                  <c:v>18870</c:v>
                </c:pt>
                <c:pt idx="5913">
                  <c:v>18871</c:v>
                </c:pt>
                <c:pt idx="5914">
                  <c:v>18875</c:v>
                </c:pt>
                <c:pt idx="5915">
                  <c:v>18876</c:v>
                </c:pt>
                <c:pt idx="5916">
                  <c:v>18877</c:v>
                </c:pt>
                <c:pt idx="5917">
                  <c:v>18878</c:v>
                </c:pt>
                <c:pt idx="5918">
                  <c:v>18881</c:v>
                </c:pt>
                <c:pt idx="5919">
                  <c:v>18882</c:v>
                </c:pt>
                <c:pt idx="5920">
                  <c:v>18883</c:v>
                </c:pt>
                <c:pt idx="5921">
                  <c:v>18884</c:v>
                </c:pt>
                <c:pt idx="5922">
                  <c:v>18885</c:v>
                </c:pt>
                <c:pt idx="5923">
                  <c:v>18888</c:v>
                </c:pt>
                <c:pt idx="5924">
                  <c:v>18889</c:v>
                </c:pt>
                <c:pt idx="5925">
                  <c:v>18890</c:v>
                </c:pt>
                <c:pt idx="5926">
                  <c:v>18891</c:v>
                </c:pt>
                <c:pt idx="5927">
                  <c:v>18892</c:v>
                </c:pt>
                <c:pt idx="5928">
                  <c:v>18895</c:v>
                </c:pt>
                <c:pt idx="5929">
                  <c:v>18896</c:v>
                </c:pt>
                <c:pt idx="5930">
                  <c:v>18897</c:v>
                </c:pt>
                <c:pt idx="5931">
                  <c:v>18898</c:v>
                </c:pt>
                <c:pt idx="5932">
                  <c:v>18899</c:v>
                </c:pt>
                <c:pt idx="5933">
                  <c:v>18902</c:v>
                </c:pt>
                <c:pt idx="5934">
                  <c:v>18903</c:v>
                </c:pt>
                <c:pt idx="5935">
                  <c:v>18904</c:v>
                </c:pt>
                <c:pt idx="5936">
                  <c:v>18905</c:v>
                </c:pt>
                <c:pt idx="5937">
                  <c:v>18906</c:v>
                </c:pt>
                <c:pt idx="5938">
                  <c:v>18909</c:v>
                </c:pt>
                <c:pt idx="5939">
                  <c:v>18910</c:v>
                </c:pt>
                <c:pt idx="5940">
                  <c:v>18911</c:v>
                </c:pt>
                <c:pt idx="5941">
                  <c:v>18912</c:v>
                </c:pt>
                <c:pt idx="5942">
                  <c:v>18916</c:v>
                </c:pt>
                <c:pt idx="5943">
                  <c:v>18917</c:v>
                </c:pt>
                <c:pt idx="5944">
                  <c:v>18918</c:v>
                </c:pt>
                <c:pt idx="5945">
                  <c:v>18919</c:v>
                </c:pt>
                <c:pt idx="5946">
                  <c:v>18920</c:v>
                </c:pt>
                <c:pt idx="5947">
                  <c:v>18923</c:v>
                </c:pt>
                <c:pt idx="5948">
                  <c:v>18924</c:v>
                </c:pt>
                <c:pt idx="5949">
                  <c:v>18925</c:v>
                </c:pt>
                <c:pt idx="5950">
                  <c:v>18926</c:v>
                </c:pt>
                <c:pt idx="5951">
                  <c:v>18927</c:v>
                </c:pt>
                <c:pt idx="5952">
                  <c:v>18930</c:v>
                </c:pt>
                <c:pt idx="5953">
                  <c:v>18931</c:v>
                </c:pt>
                <c:pt idx="5954">
                  <c:v>18932</c:v>
                </c:pt>
                <c:pt idx="5955">
                  <c:v>18933</c:v>
                </c:pt>
                <c:pt idx="5956">
                  <c:v>18934</c:v>
                </c:pt>
                <c:pt idx="5957">
                  <c:v>18937</c:v>
                </c:pt>
                <c:pt idx="5958">
                  <c:v>18939</c:v>
                </c:pt>
                <c:pt idx="5959">
                  <c:v>18940</c:v>
                </c:pt>
                <c:pt idx="5960">
                  <c:v>18941</c:v>
                </c:pt>
                <c:pt idx="5961">
                  <c:v>18945</c:v>
                </c:pt>
                <c:pt idx="5962">
                  <c:v>18946</c:v>
                </c:pt>
                <c:pt idx="5963">
                  <c:v>18947</c:v>
                </c:pt>
                <c:pt idx="5964">
                  <c:v>18948</c:v>
                </c:pt>
                <c:pt idx="5965">
                  <c:v>18951</c:v>
                </c:pt>
                <c:pt idx="5966">
                  <c:v>18952</c:v>
                </c:pt>
                <c:pt idx="5967">
                  <c:v>18953</c:v>
                </c:pt>
                <c:pt idx="5968">
                  <c:v>18955</c:v>
                </c:pt>
                <c:pt idx="5969">
                  <c:v>18958</c:v>
                </c:pt>
                <c:pt idx="5970">
                  <c:v>18959</c:v>
                </c:pt>
                <c:pt idx="5971">
                  <c:v>18960</c:v>
                </c:pt>
                <c:pt idx="5972">
                  <c:v>18961</c:v>
                </c:pt>
                <c:pt idx="5973">
                  <c:v>18962</c:v>
                </c:pt>
                <c:pt idx="5974">
                  <c:v>18965</c:v>
                </c:pt>
                <c:pt idx="5975">
                  <c:v>18966</c:v>
                </c:pt>
                <c:pt idx="5976">
                  <c:v>18967</c:v>
                </c:pt>
                <c:pt idx="5977">
                  <c:v>18968</c:v>
                </c:pt>
                <c:pt idx="5978">
                  <c:v>18969</c:v>
                </c:pt>
                <c:pt idx="5979">
                  <c:v>18972</c:v>
                </c:pt>
                <c:pt idx="5980">
                  <c:v>18973</c:v>
                </c:pt>
                <c:pt idx="5981">
                  <c:v>18974</c:v>
                </c:pt>
                <c:pt idx="5982">
                  <c:v>18975</c:v>
                </c:pt>
                <c:pt idx="5983">
                  <c:v>18976</c:v>
                </c:pt>
                <c:pt idx="5984">
                  <c:v>18979</c:v>
                </c:pt>
                <c:pt idx="5985">
                  <c:v>18980</c:v>
                </c:pt>
                <c:pt idx="5986">
                  <c:v>18981</c:v>
                </c:pt>
                <c:pt idx="5987">
                  <c:v>18982</c:v>
                </c:pt>
                <c:pt idx="5988">
                  <c:v>18983</c:v>
                </c:pt>
                <c:pt idx="5989">
                  <c:v>18986</c:v>
                </c:pt>
                <c:pt idx="5990">
                  <c:v>18988</c:v>
                </c:pt>
                <c:pt idx="5991">
                  <c:v>18989</c:v>
                </c:pt>
                <c:pt idx="5992">
                  <c:v>18990</c:v>
                </c:pt>
                <c:pt idx="5993">
                  <c:v>18993</c:v>
                </c:pt>
                <c:pt idx="5994">
                  <c:v>18995</c:v>
                </c:pt>
                <c:pt idx="5995">
                  <c:v>18996</c:v>
                </c:pt>
                <c:pt idx="5996">
                  <c:v>18997</c:v>
                </c:pt>
                <c:pt idx="5997">
                  <c:v>19000</c:v>
                </c:pt>
                <c:pt idx="5998">
                  <c:v>19001</c:v>
                </c:pt>
                <c:pt idx="5999">
                  <c:v>19002</c:v>
                </c:pt>
                <c:pt idx="6000">
                  <c:v>19003</c:v>
                </c:pt>
                <c:pt idx="6001">
                  <c:v>19004</c:v>
                </c:pt>
                <c:pt idx="6002">
                  <c:v>19007</c:v>
                </c:pt>
                <c:pt idx="6003">
                  <c:v>19008</c:v>
                </c:pt>
                <c:pt idx="6004">
                  <c:v>19009</c:v>
                </c:pt>
                <c:pt idx="6005">
                  <c:v>19010</c:v>
                </c:pt>
                <c:pt idx="6006">
                  <c:v>19011</c:v>
                </c:pt>
                <c:pt idx="6007">
                  <c:v>19014</c:v>
                </c:pt>
                <c:pt idx="6008">
                  <c:v>19015</c:v>
                </c:pt>
                <c:pt idx="6009">
                  <c:v>19016</c:v>
                </c:pt>
                <c:pt idx="6010">
                  <c:v>19017</c:v>
                </c:pt>
                <c:pt idx="6011">
                  <c:v>19018</c:v>
                </c:pt>
                <c:pt idx="6012">
                  <c:v>19021</c:v>
                </c:pt>
                <c:pt idx="6013">
                  <c:v>19022</c:v>
                </c:pt>
                <c:pt idx="6014">
                  <c:v>19023</c:v>
                </c:pt>
                <c:pt idx="6015">
                  <c:v>19024</c:v>
                </c:pt>
                <c:pt idx="6016">
                  <c:v>19025</c:v>
                </c:pt>
                <c:pt idx="6017">
                  <c:v>19028</c:v>
                </c:pt>
                <c:pt idx="6018">
                  <c:v>19029</c:v>
                </c:pt>
                <c:pt idx="6019">
                  <c:v>19030</c:v>
                </c:pt>
                <c:pt idx="6020">
                  <c:v>19031</c:v>
                </c:pt>
                <c:pt idx="6021">
                  <c:v>19032</c:v>
                </c:pt>
                <c:pt idx="6022">
                  <c:v>19035</c:v>
                </c:pt>
                <c:pt idx="6023">
                  <c:v>19037</c:v>
                </c:pt>
                <c:pt idx="6024">
                  <c:v>19038</c:v>
                </c:pt>
                <c:pt idx="6025">
                  <c:v>19039</c:v>
                </c:pt>
                <c:pt idx="6026">
                  <c:v>19042</c:v>
                </c:pt>
                <c:pt idx="6027">
                  <c:v>19043</c:v>
                </c:pt>
                <c:pt idx="6028">
                  <c:v>19044</c:v>
                </c:pt>
                <c:pt idx="6029">
                  <c:v>19045</c:v>
                </c:pt>
                <c:pt idx="6030">
                  <c:v>19049</c:v>
                </c:pt>
                <c:pt idx="6031">
                  <c:v>19050</c:v>
                </c:pt>
                <c:pt idx="6032">
                  <c:v>19051</c:v>
                </c:pt>
                <c:pt idx="6033">
                  <c:v>19052</c:v>
                </c:pt>
                <c:pt idx="6034">
                  <c:v>19053</c:v>
                </c:pt>
                <c:pt idx="6035">
                  <c:v>19056</c:v>
                </c:pt>
                <c:pt idx="6036">
                  <c:v>19057</c:v>
                </c:pt>
                <c:pt idx="6037">
                  <c:v>19058</c:v>
                </c:pt>
                <c:pt idx="6038">
                  <c:v>19059</c:v>
                </c:pt>
                <c:pt idx="6039">
                  <c:v>19060</c:v>
                </c:pt>
                <c:pt idx="6040">
                  <c:v>19063</c:v>
                </c:pt>
                <c:pt idx="6041">
                  <c:v>19064</c:v>
                </c:pt>
                <c:pt idx="6042">
                  <c:v>19065</c:v>
                </c:pt>
                <c:pt idx="6043">
                  <c:v>19066</c:v>
                </c:pt>
                <c:pt idx="6044">
                  <c:v>19067</c:v>
                </c:pt>
                <c:pt idx="6045">
                  <c:v>19070</c:v>
                </c:pt>
                <c:pt idx="6046">
                  <c:v>19071</c:v>
                </c:pt>
                <c:pt idx="6047">
                  <c:v>19072</c:v>
                </c:pt>
                <c:pt idx="6048">
                  <c:v>19073</c:v>
                </c:pt>
                <c:pt idx="6049">
                  <c:v>19074</c:v>
                </c:pt>
                <c:pt idx="6050">
                  <c:v>19077</c:v>
                </c:pt>
                <c:pt idx="6051">
                  <c:v>19078</c:v>
                </c:pt>
                <c:pt idx="6052">
                  <c:v>19079</c:v>
                </c:pt>
                <c:pt idx="6053">
                  <c:v>19080</c:v>
                </c:pt>
                <c:pt idx="6054">
                  <c:v>19081</c:v>
                </c:pt>
                <c:pt idx="6055">
                  <c:v>19084</c:v>
                </c:pt>
                <c:pt idx="6056">
                  <c:v>19085</c:v>
                </c:pt>
                <c:pt idx="6057">
                  <c:v>19086</c:v>
                </c:pt>
                <c:pt idx="6058">
                  <c:v>19087</c:v>
                </c:pt>
                <c:pt idx="6059">
                  <c:v>19088</c:v>
                </c:pt>
                <c:pt idx="6060">
                  <c:v>19091</c:v>
                </c:pt>
                <c:pt idx="6061">
                  <c:v>19092</c:v>
                </c:pt>
                <c:pt idx="6062">
                  <c:v>19093</c:v>
                </c:pt>
                <c:pt idx="6063">
                  <c:v>19094</c:v>
                </c:pt>
                <c:pt idx="6064">
                  <c:v>19098</c:v>
                </c:pt>
                <c:pt idx="6065">
                  <c:v>19099</c:v>
                </c:pt>
                <c:pt idx="6066">
                  <c:v>19100</c:v>
                </c:pt>
                <c:pt idx="6067">
                  <c:v>19101</c:v>
                </c:pt>
                <c:pt idx="6068">
                  <c:v>19102</c:v>
                </c:pt>
                <c:pt idx="6069">
                  <c:v>19105</c:v>
                </c:pt>
                <c:pt idx="6070">
                  <c:v>19106</c:v>
                </c:pt>
                <c:pt idx="6071">
                  <c:v>19107</c:v>
                </c:pt>
                <c:pt idx="6072">
                  <c:v>19108</c:v>
                </c:pt>
                <c:pt idx="6073">
                  <c:v>19109</c:v>
                </c:pt>
                <c:pt idx="6074">
                  <c:v>19112</c:v>
                </c:pt>
                <c:pt idx="6075">
                  <c:v>19113</c:v>
                </c:pt>
                <c:pt idx="6076">
                  <c:v>19114</c:v>
                </c:pt>
                <c:pt idx="6077">
                  <c:v>19115</c:v>
                </c:pt>
                <c:pt idx="6078">
                  <c:v>19116</c:v>
                </c:pt>
                <c:pt idx="6079">
                  <c:v>19119</c:v>
                </c:pt>
                <c:pt idx="6080">
                  <c:v>19120</c:v>
                </c:pt>
                <c:pt idx="6081">
                  <c:v>19121</c:v>
                </c:pt>
                <c:pt idx="6082">
                  <c:v>19122</c:v>
                </c:pt>
                <c:pt idx="6083">
                  <c:v>19123</c:v>
                </c:pt>
                <c:pt idx="6084">
                  <c:v>19126</c:v>
                </c:pt>
                <c:pt idx="6085">
                  <c:v>19127</c:v>
                </c:pt>
                <c:pt idx="6086">
                  <c:v>19128</c:v>
                </c:pt>
                <c:pt idx="6087">
                  <c:v>19129</c:v>
                </c:pt>
                <c:pt idx="6088">
                  <c:v>19130</c:v>
                </c:pt>
                <c:pt idx="6089">
                  <c:v>19133</c:v>
                </c:pt>
                <c:pt idx="6090">
                  <c:v>19134</c:v>
                </c:pt>
                <c:pt idx="6091">
                  <c:v>19135</c:v>
                </c:pt>
                <c:pt idx="6092">
                  <c:v>19136</c:v>
                </c:pt>
                <c:pt idx="6093">
                  <c:v>19137</c:v>
                </c:pt>
                <c:pt idx="6094">
                  <c:v>19140</c:v>
                </c:pt>
                <c:pt idx="6095">
                  <c:v>19141</c:v>
                </c:pt>
                <c:pt idx="6096">
                  <c:v>19142</c:v>
                </c:pt>
                <c:pt idx="6097">
                  <c:v>19143</c:v>
                </c:pt>
                <c:pt idx="6098">
                  <c:v>19147</c:v>
                </c:pt>
                <c:pt idx="6099">
                  <c:v>19148</c:v>
                </c:pt>
                <c:pt idx="6100">
                  <c:v>19149</c:v>
                </c:pt>
                <c:pt idx="6101">
                  <c:v>19150</c:v>
                </c:pt>
                <c:pt idx="6102">
                  <c:v>19151</c:v>
                </c:pt>
                <c:pt idx="6103">
                  <c:v>19154</c:v>
                </c:pt>
                <c:pt idx="6104">
                  <c:v>19155</c:v>
                </c:pt>
                <c:pt idx="6105">
                  <c:v>19156</c:v>
                </c:pt>
                <c:pt idx="6106">
                  <c:v>19157</c:v>
                </c:pt>
                <c:pt idx="6107">
                  <c:v>19158</c:v>
                </c:pt>
                <c:pt idx="6108">
                  <c:v>19161</c:v>
                </c:pt>
                <c:pt idx="6109">
                  <c:v>19162</c:v>
                </c:pt>
                <c:pt idx="6110">
                  <c:v>19163</c:v>
                </c:pt>
                <c:pt idx="6111">
                  <c:v>19164</c:v>
                </c:pt>
                <c:pt idx="6112">
                  <c:v>19165</c:v>
                </c:pt>
                <c:pt idx="6113">
                  <c:v>19168</c:v>
                </c:pt>
                <c:pt idx="6114">
                  <c:v>19169</c:v>
                </c:pt>
                <c:pt idx="6115">
                  <c:v>19170</c:v>
                </c:pt>
                <c:pt idx="6116">
                  <c:v>19171</c:v>
                </c:pt>
                <c:pt idx="6117">
                  <c:v>19172</c:v>
                </c:pt>
                <c:pt idx="6118">
                  <c:v>19175</c:v>
                </c:pt>
                <c:pt idx="6119">
                  <c:v>19176</c:v>
                </c:pt>
                <c:pt idx="6120">
                  <c:v>19177</c:v>
                </c:pt>
                <c:pt idx="6121">
                  <c:v>19178</c:v>
                </c:pt>
                <c:pt idx="6122">
                  <c:v>19182</c:v>
                </c:pt>
                <c:pt idx="6123">
                  <c:v>19183</c:v>
                </c:pt>
                <c:pt idx="6124">
                  <c:v>19184</c:v>
                </c:pt>
                <c:pt idx="6125">
                  <c:v>19185</c:v>
                </c:pt>
                <c:pt idx="6126">
                  <c:v>19186</c:v>
                </c:pt>
                <c:pt idx="6127">
                  <c:v>19189</c:v>
                </c:pt>
                <c:pt idx="6128">
                  <c:v>19190</c:v>
                </c:pt>
                <c:pt idx="6129">
                  <c:v>19191</c:v>
                </c:pt>
                <c:pt idx="6130">
                  <c:v>19192</c:v>
                </c:pt>
                <c:pt idx="6131">
                  <c:v>19193</c:v>
                </c:pt>
                <c:pt idx="6132">
                  <c:v>19196</c:v>
                </c:pt>
                <c:pt idx="6133">
                  <c:v>19197</c:v>
                </c:pt>
                <c:pt idx="6134">
                  <c:v>19198</c:v>
                </c:pt>
                <c:pt idx="6135">
                  <c:v>19199</c:v>
                </c:pt>
                <c:pt idx="6136">
                  <c:v>19200</c:v>
                </c:pt>
                <c:pt idx="6137">
                  <c:v>19203</c:v>
                </c:pt>
                <c:pt idx="6138">
                  <c:v>19204</c:v>
                </c:pt>
                <c:pt idx="6139">
                  <c:v>19205</c:v>
                </c:pt>
                <c:pt idx="6140">
                  <c:v>19206</c:v>
                </c:pt>
                <c:pt idx="6141">
                  <c:v>19207</c:v>
                </c:pt>
                <c:pt idx="6142">
                  <c:v>19210</c:v>
                </c:pt>
                <c:pt idx="6143">
                  <c:v>19211</c:v>
                </c:pt>
                <c:pt idx="6144">
                  <c:v>19212</c:v>
                </c:pt>
                <c:pt idx="6145">
                  <c:v>19213</c:v>
                </c:pt>
                <c:pt idx="6146">
                  <c:v>19214</c:v>
                </c:pt>
                <c:pt idx="6147">
                  <c:v>19217</c:v>
                </c:pt>
                <c:pt idx="6148">
                  <c:v>19218</c:v>
                </c:pt>
                <c:pt idx="6149">
                  <c:v>19219</c:v>
                </c:pt>
                <c:pt idx="6150">
                  <c:v>19220</c:v>
                </c:pt>
                <c:pt idx="6151">
                  <c:v>19221</c:v>
                </c:pt>
                <c:pt idx="6152">
                  <c:v>19224</c:v>
                </c:pt>
                <c:pt idx="6153">
                  <c:v>19225</c:v>
                </c:pt>
                <c:pt idx="6154">
                  <c:v>19226</c:v>
                </c:pt>
                <c:pt idx="6155">
                  <c:v>19227</c:v>
                </c:pt>
                <c:pt idx="6156">
                  <c:v>19228</c:v>
                </c:pt>
                <c:pt idx="6157">
                  <c:v>19231</c:v>
                </c:pt>
                <c:pt idx="6158">
                  <c:v>19232</c:v>
                </c:pt>
                <c:pt idx="6159">
                  <c:v>19233</c:v>
                </c:pt>
                <c:pt idx="6160">
                  <c:v>19234</c:v>
                </c:pt>
                <c:pt idx="6161">
                  <c:v>19235</c:v>
                </c:pt>
                <c:pt idx="6162">
                  <c:v>19239</c:v>
                </c:pt>
                <c:pt idx="6163">
                  <c:v>19240</c:v>
                </c:pt>
                <c:pt idx="6164">
                  <c:v>19241</c:v>
                </c:pt>
                <c:pt idx="6165">
                  <c:v>19242</c:v>
                </c:pt>
                <c:pt idx="6166">
                  <c:v>19245</c:v>
                </c:pt>
                <c:pt idx="6167">
                  <c:v>19246</c:v>
                </c:pt>
                <c:pt idx="6168">
                  <c:v>19247</c:v>
                </c:pt>
                <c:pt idx="6169">
                  <c:v>19248</c:v>
                </c:pt>
                <c:pt idx="6170">
                  <c:v>19249</c:v>
                </c:pt>
                <c:pt idx="6171">
                  <c:v>19252</c:v>
                </c:pt>
                <c:pt idx="6172">
                  <c:v>19253</c:v>
                </c:pt>
                <c:pt idx="6173">
                  <c:v>19254</c:v>
                </c:pt>
                <c:pt idx="6174">
                  <c:v>19255</c:v>
                </c:pt>
                <c:pt idx="6175">
                  <c:v>19256</c:v>
                </c:pt>
                <c:pt idx="6176">
                  <c:v>19259</c:v>
                </c:pt>
                <c:pt idx="6177">
                  <c:v>19260</c:v>
                </c:pt>
                <c:pt idx="6178">
                  <c:v>19261</c:v>
                </c:pt>
                <c:pt idx="6179">
                  <c:v>19262</c:v>
                </c:pt>
                <c:pt idx="6180">
                  <c:v>19263</c:v>
                </c:pt>
                <c:pt idx="6181">
                  <c:v>19266</c:v>
                </c:pt>
                <c:pt idx="6182">
                  <c:v>19267</c:v>
                </c:pt>
                <c:pt idx="6183">
                  <c:v>19268</c:v>
                </c:pt>
                <c:pt idx="6184">
                  <c:v>19269</c:v>
                </c:pt>
                <c:pt idx="6185">
                  <c:v>19270</c:v>
                </c:pt>
                <c:pt idx="6186">
                  <c:v>19273</c:v>
                </c:pt>
                <c:pt idx="6187">
                  <c:v>19274</c:v>
                </c:pt>
                <c:pt idx="6188">
                  <c:v>19275</c:v>
                </c:pt>
                <c:pt idx="6189">
                  <c:v>19276</c:v>
                </c:pt>
                <c:pt idx="6190">
                  <c:v>19277</c:v>
                </c:pt>
                <c:pt idx="6191">
                  <c:v>19281</c:v>
                </c:pt>
                <c:pt idx="6192">
                  <c:v>19282</c:v>
                </c:pt>
                <c:pt idx="6193">
                  <c:v>19283</c:v>
                </c:pt>
                <c:pt idx="6194">
                  <c:v>19284</c:v>
                </c:pt>
                <c:pt idx="6195">
                  <c:v>19287</c:v>
                </c:pt>
                <c:pt idx="6196">
                  <c:v>19288</c:v>
                </c:pt>
                <c:pt idx="6197">
                  <c:v>19289</c:v>
                </c:pt>
                <c:pt idx="6198">
                  <c:v>19290</c:v>
                </c:pt>
                <c:pt idx="6199">
                  <c:v>19291</c:v>
                </c:pt>
                <c:pt idx="6200">
                  <c:v>19294</c:v>
                </c:pt>
                <c:pt idx="6201">
                  <c:v>19295</c:v>
                </c:pt>
                <c:pt idx="6202">
                  <c:v>19296</c:v>
                </c:pt>
                <c:pt idx="6203">
                  <c:v>19297</c:v>
                </c:pt>
                <c:pt idx="6204">
                  <c:v>19298</c:v>
                </c:pt>
                <c:pt idx="6205">
                  <c:v>19301</c:v>
                </c:pt>
                <c:pt idx="6206">
                  <c:v>19303</c:v>
                </c:pt>
                <c:pt idx="6207">
                  <c:v>19304</c:v>
                </c:pt>
                <c:pt idx="6208">
                  <c:v>19305</c:v>
                </c:pt>
                <c:pt idx="6209">
                  <c:v>19308</c:v>
                </c:pt>
                <c:pt idx="6210">
                  <c:v>19310</c:v>
                </c:pt>
                <c:pt idx="6211">
                  <c:v>19311</c:v>
                </c:pt>
                <c:pt idx="6212">
                  <c:v>19312</c:v>
                </c:pt>
                <c:pt idx="6213">
                  <c:v>19315</c:v>
                </c:pt>
                <c:pt idx="6214">
                  <c:v>19316</c:v>
                </c:pt>
                <c:pt idx="6215">
                  <c:v>19317</c:v>
                </c:pt>
                <c:pt idx="6216">
                  <c:v>19318</c:v>
                </c:pt>
                <c:pt idx="6217">
                  <c:v>19319</c:v>
                </c:pt>
                <c:pt idx="6218">
                  <c:v>19322</c:v>
                </c:pt>
                <c:pt idx="6219">
                  <c:v>19323</c:v>
                </c:pt>
                <c:pt idx="6220">
                  <c:v>19324</c:v>
                </c:pt>
                <c:pt idx="6221">
                  <c:v>19326</c:v>
                </c:pt>
                <c:pt idx="6222">
                  <c:v>19329</c:v>
                </c:pt>
                <c:pt idx="6223">
                  <c:v>19330</c:v>
                </c:pt>
                <c:pt idx="6224">
                  <c:v>19331</c:v>
                </c:pt>
                <c:pt idx="6225">
                  <c:v>19332</c:v>
                </c:pt>
                <c:pt idx="6226">
                  <c:v>19333</c:v>
                </c:pt>
                <c:pt idx="6227">
                  <c:v>19336</c:v>
                </c:pt>
                <c:pt idx="6228">
                  <c:v>19337</c:v>
                </c:pt>
                <c:pt idx="6229">
                  <c:v>19338</c:v>
                </c:pt>
                <c:pt idx="6230">
                  <c:v>19339</c:v>
                </c:pt>
                <c:pt idx="6231">
                  <c:v>19340</c:v>
                </c:pt>
                <c:pt idx="6232">
                  <c:v>19343</c:v>
                </c:pt>
                <c:pt idx="6233">
                  <c:v>19344</c:v>
                </c:pt>
                <c:pt idx="6234">
                  <c:v>19345</c:v>
                </c:pt>
                <c:pt idx="6235">
                  <c:v>19346</c:v>
                </c:pt>
                <c:pt idx="6236">
                  <c:v>19347</c:v>
                </c:pt>
                <c:pt idx="6237">
                  <c:v>19350</c:v>
                </c:pt>
                <c:pt idx="6238">
                  <c:v>19351</c:v>
                </c:pt>
                <c:pt idx="6239">
                  <c:v>19352</c:v>
                </c:pt>
                <c:pt idx="6240">
                  <c:v>19354</c:v>
                </c:pt>
                <c:pt idx="6241">
                  <c:v>19357</c:v>
                </c:pt>
                <c:pt idx="6242">
                  <c:v>19358</c:v>
                </c:pt>
                <c:pt idx="6243">
                  <c:v>19359</c:v>
                </c:pt>
                <c:pt idx="6244">
                  <c:v>19361</c:v>
                </c:pt>
                <c:pt idx="6245">
                  <c:v>19364</c:v>
                </c:pt>
                <c:pt idx="6246">
                  <c:v>19365</c:v>
                </c:pt>
                <c:pt idx="6247">
                  <c:v>19366</c:v>
                </c:pt>
                <c:pt idx="6248">
                  <c:v>19367</c:v>
                </c:pt>
                <c:pt idx="6249">
                  <c:v>19368</c:v>
                </c:pt>
                <c:pt idx="6250">
                  <c:v>19371</c:v>
                </c:pt>
                <c:pt idx="6251">
                  <c:v>19372</c:v>
                </c:pt>
                <c:pt idx="6252">
                  <c:v>19373</c:v>
                </c:pt>
                <c:pt idx="6253">
                  <c:v>19374</c:v>
                </c:pt>
                <c:pt idx="6254">
                  <c:v>19375</c:v>
                </c:pt>
                <c:pt idx="6255">
                  <c:v>19378</c:v>
                </c:pt>
                <c:pt idx="6256">
                  <c:v>19379</c:v>
                </c:pt>
                <c:pt idx="6257">
                  <c:v>19380</c:v>
                </c:pt>
                <c:pt idx="6258">
                  <c:v>19381</c:v>
                </c:pt>
                <c:pt idx="6259">
                  <c:v>19382</c:v>
                </c:pt>
                <c:pt idx="6260">
                  <c:v>19385</c:v>
                </c:pt>
                <c:pt idx="6261">
                  <c:v>19386</c:v>
                </c:pt>
                <c:pt idx="6262">
                  <c:v>19387</c:v>
                </c:pt>
                <c:pt idx="6263">
                  <c:v>19388</c:v>
                </c:pt>
                <c:pt idx="6264">
                  <c:v>19389</c:v>
                </c:pt>
                <c:pt idx="6265">
                  <c:v>19392</c:v>
                </c:pt>
                <c:pt idx="6266">
                  <c:v>19393</c:v>
                </c:pt>
                <c:pt idx="6267">
                  <c:v>19394</c:v>
                </c:pt>
                <c:pt idx="6268">
                  <c:v>19395</c:v>
                </c:pt>
                <c:pt idx="6269">
                  <c:v>19396</c:v>
                </c:pt>
                <c:pt idx="6270">
                  <c:v>19399</c:v>
                </c:pt>
                <c:pt idx="6271">
                  <c:v>19400</c:v>
                </c:pt>
                <c:pt idx="6272">
                  <c:v>19401</c:v>
                </c:pt>
                <c:pt idx="6273">
                  <c:v>19403</c:v>
                </c:pt>
                <c:pt idx="6274">
                  <c:v>19406</c:v>
                </c:pt>
                <c:pt idx="6275">
                  <c:v>19407</c:v>
                </c:pt>
                <c:pt idx="6276">
                  <c:v>19408</c:v>
                </c:pt>
                <c:pt idx="6277">
                  <c:v>19409</c:v>
                </c:pt>
                <c:pt idx="6278">
                  <c:v>19410</c:v>
                </c:pt>
                <c:pt idx="6279">
                  <c:v>19414</c:v>
                </c:pt>
                <c:pt idx="6280">
                  <c:v>19415</c:v>
                </c:pt>
                <c:pt idx="6281">
                  <c:v>19416</c:v>
                </c:pt>
                <c:pt idx="6282">
                  <c:v>19417</c:v>
                </c:pt>
                <c:pt idx="6283">
                  <c:v>19420</c:v>
                </c:pt>
                <c:pt idx="6284">
                  <c:v>19421</c:v>
                </c:pt>
                <c:pt idx="6285">
                  <c:v>19422</c:v>
                </c:pt>
                <c:pt idx="6286">
                  <c:v>19423</c:v>
                </c:pt>
                <c:pt idx="6287">
                  <c:v>19424</c:v>
                </c:pt>
                <c:pt idx="6288">
                  <c:v>19427</c:v>
                </c:pt>
                <c:pt idx="6289">
                  <c:v>19428</c:v>
                </c:pt>
                <c:pt idx="6290">
                  <c:v>19429</c:v>
                </c:pt>
                <c:pt idx="6291">
                  <c:v>19430</c:v>
                </c:pt>
                <c:pt idx="6292">
                  <c:v>19431</c:v>
                </c:pt>
                <c:pt idx="6293">
                  <c:v>19434</c:v>
                </c:pt>
                <c:pt idx="6294">
                  <c:v>19435</c:v>
                </c:pt>
                <c:pt idx="6295">
                  <c:v>19436</c:v>
                </c:pt>
                <c:pt idx="6296">
                  <c:v>19437</c:v>
                </c:pt>
                <c:pt idx="6297">
                  <c:v>19438</c:v>
                </c:pt>
                <c:pt idx="6298">
                  <c:v>19441</c:v>
                </c:pt>
                <c:pt idx="6299">
                  <c:v>19442</c:v>
                </c:pt>
                <c:pt idx="6300">
                  <c:v>19443</c:v>
                </c:pt>
                <c:pt idx="6301">
                  <c:v>19444</c:v>
                </c:pt>
                <c:pt idx="6302">
                  <c:v>19445</c:v>
                </c:pt>
                <c:pt idx="6303">
                  <c:v>19448</c:v>
                </c:pt>
                <c:pt idx="6304">
                  <c:v>19449</c:v>
                </c:pt>
                <c:pt idx="6305">
                  <c:v>19450</c:v>
                </c:pt>
                <c:pt idx="6306">
                  <c:v>19451</c:v>
                </c:pt>
                <c:pt idx="6307">
                  <c:v>19455</c:v>
                </c:pt>
                <c:pt idx="6308">
                  <c:v>19456</c:v>
                </c:pt>
                <c:pt idx="6309">
                  <c:v>19457</c:v>
                </c:pt>
                <c:pt idx="6310">
                  <c:v>19458</c:v>
                </c:pt>
                <c:pt idx="6311">
                  <c:v>19459</c:v>
                </c:pt>
                <c:pt idx="6312">
                  <c:v>19462</c:v>
                </c:pt>
                <c:pt idx="6313">
                  <c:v>19463</c:v>
                </c:pt>
                <c:pt idx="6314">
                  <c:v>19464</c:v>
                </c:pt>
                <c:pt idx="6315">
                  <c:v>19465</c:v>
                </c:pt>
                <c:pt idx="6316">
                  <c:v>19466</c:v>
                </c:pt>
                <c:pt idx="6317">
                  <c:v>19469</c:v>
                </c:pt>
                <c:pt idx="6318">
                  <c:v>19470</c:v>
                </c:pt>
                <c:pt idx="6319">
                  <c:v>19471</c:v>
                </c:pt>
                <c:pt idx="6320">
                  <c:v>19472</c:v>
                </c:pt>
                <c:pt idx="6321">
                  <c:v>19473</c:v>
                </c:pt>
                <c:pt idx="6322">
                  <c:v>19476</c:v>
                </c:pt>
                <c:pt idx="6323">
                  <c:v>19477</c:v>
                </c:pt>
                <c:pt idx="6324">
                  <c:v>19478</c:v>
                </c:pt>
                <c:pt idx="6325">
                  <c:v>19479</c:v>
                </c:pt>
                <c:pt idx="6326">
                  <c:v>19480</c:v>
                </c:pt>
                <c:pt idx="6327">
                  <c:v>19483</c:v>
                </c:pt>
                <c:pt idx="6328">
                  <c:v>19484</c:v>
                </c:pt>
                <c:pt idx="6329">
                  <c:v>19485</c:v>
                </c:pt>
                <c:pt idx="6330">
                  <c:v>19486</c:v>
                </c:pt>
                <c:pt idx="6331">
                  <c:v>19487</c:v>
                </c:pt>
                <c:pt idx="6332">
                  <c:v>19490</c:v>
                </c:pt>
                <c:pt idx="6333">
                  <c:v>19491</c:v>
                </c:pt>
                <c:pt idx="6334">
                  <c:v>19492</c:v>
                </c:pt>
                <c:pt idx="6335">
                  <c:v>19493</c:v>
                </c:pt>
                <c:pt idx="6336">
                  <c:v>19494</c:v>
                </c:pt>
                <c:pt idx="6337">
                  <c:v>19497</c:v>
                </c:pt>
                <c:pt idx="6338">
                  <c:v>19498</c:v>
                </c:pt>
                <c:pt idx="6339">
                  <c:v>19499</c:v>
                </c:pt>
                <c:pt idx="6340">
                  <c:v>19500</c:v>
                </c:pt>
                <c:pt idx="6341">
                  <c:v>19501</c:v>
                </c:pt>
                <c:pt idx="6342">
                  <c:v>19504</c:v>
                </c:pt>
                <c:pt idx="6343">
                  <c:v>19505</c:v>
                </c:pt>
                <c:pt idx="6344">
                  <c:v>19506</c:v>
                </c:pt>
                <c:pt idx="6345">
                  <c:v>19507</c:v>
                </c:pt>
                <c:pt idx="6346">
                  <c:v>19508</c:v>
                </c:pt>
                <c:pt idx="6347">
                  <c:v>19511</c:v>
                </c:pt>
                <c:pt idx="6348">
                  <c:v>19512</c:v>
                </c:pt>
                <c:pt idx="6349">
                  <c:v>19513</c:v>
                </c:pt>
                <c:pt idx="6350">
                  <c:v>19514</c:v>
                </c:pt>
                <c:pt idx="6351">
                  <c:v>19515</c:v>
                </c:pt>
                <c:pt idx="6352">
                  <c:v>19518</c:v>
                </c:pt>
                <c:pt idx="6353">
                  <c:v>19519</c:v>
                </c:pt>
                <c:pt idx="6354">
                  <c:v>19520</c:v>
                </c:pt>
                <c:pt idx="6355">
                  <c:v>19521</c:v>
                </c:pt>
                <c:pt idx="6356">
                  <c:v>19522</c:v>
                </c:pt>
                <c:pt idx="6357">
                  <c:v>19525</c:v>
                </c:pt>
                <c:pt idx="6358">
                  <c:v>19526</c:v>
                </c:pt>
                <c:pt idx="6359">
                  <c:v>19527</c:v>
                </c:pt>
                <c:pt idx="6360">
                  <c:v>19528</c:v>
                </c:pt>
                <c:pt idx="6361">
                  <c:v>19529</c:v>
                </c:pt>
                <c:pt idx="6362">
                  <c:v>19532</c:v>
                </c:pt>
                <c:pt idx="6363">
                  <c:v>19533</c:v>
                </c:pt>
                <c:pt idx="6364">
                  <c:v>19534</c:v>
                </c:pt>
                <c:pt idx="6365">
                  <c:v>19535</c:v>
                </c:pt>
                <c:pt idx="6366">
                  <c:v>19536</c:v>
                </c:pt>
                <c:pt idx="6367">
                  <c:v>19539</c:v>
                </c:pt>
                <c:pt idx="6368">
                  <c:v>19540</c:v>
                </c:pt>
                <c:pt idx="6369">
                  <c:v>19541</c:v>
                </c:pt>
                <c:pt idx="6370">
                  <c:v>19542</c:v>
                </c:pt>
                <c:pt idx="6371">
                  <c:v>19543</c:v>
                </c:pt>
                <c:pt idx="6372">
                  <c:v>19546</c:v>
                </c:pt>
                <c:pt idx="6373">
                  <c:v>19547</c:v>
                </c:pt>
                <c:pt idx="6374">
                  <c:v>19548</c:v>
                </c:pt>
                <c:pt idx="6375">
                  <c:v>19549</c:v>
                </c:pt>
                <c:pt idx="6376">
                  <c:v>19550</c:v>
                </c:pt>
                <c:pt idx="6377">
                  <c:v>19553</c:v>
                </c:pt>
                <c:pt idx="6378">
                  <c:v>19554</c:v>
                </c:pt>
                <c:pt idx="6379">
                  <c:v>19555</c:v>
                </c:pt>
                <c:pt idx="6380">
                  <c:v>19556</c:v>
                </c:pt>
                <c:pt idx="6381">
                  <c:v>19557</c:v>
                </c:pt>
                <c:pt idx="6382">
                  <c:v>19560</c:v>
                </c:pt>
                <c:pt idx="6383">
                  <c:v>19561</c:v>
                </c:pt>
                <c:pt idx="6384">
                  <c:v>19562</c:v>
                </c:pt>
                <c:pt idx="6385">
                  <c:v>19563</c:v>
                </c:pt>
                <c:pt idx="6386">
                  <c:v>19564</c:v>
                </c:pt>
                <c:pt idx="6387">
                  <c:v>19567</c:v>
                </c:pt>
                <c:pt idx="6388">
                  <c:v>19568</c:v>
                </c:pt>
                <c:pt idx="6389">
                  <c:v>19569</c:v>
                </c:pt>
                <c:pt idx="6390">
                  <c:v>19570</c:v>
                </c:pt>
                <c:pt idx="6391">
                  <c:v>19571</c:v>
                </c:pt>
                <c:pt idx="6392">
                  <c:v>19574</c:v>
                </c:pt>
                <c:pt idx="6393">
                  <c:v>19575</c:v>
                </c:pt>
                <c:pt idx="6394">
                  <c:v>19576</c:v>
                </c:pt>
                <c:pt idx="6395">
                  <c:v>19577</c:v>
                </c:pt>
                <c:pt idx="6396">
                  <c:v>19578</c:v>
                </c:pt>
                <c:pt idx="6397">
                  <c:v>19581</c:v>
                </c:pt>
                <c:pt idx="6398">
                  <c:v>19582</c:v>
                </c:pt>
                <c:pt idx="6399">
                  <c:v>19583</c:v>
                </c:pt>
                <c:pt idx="6400">
                  <c:v>19584</c:v>
                </c:pt>
                <c:pt idx="6401">
                  <c:v>19585</c:v>
                </c:pt>
                <c:pt idx="6402">
                  <c:v>19588</c:v>
                </c:pt>
                <c:pt idx="6403">
                  <c:v>19589</c:v>
                </c:pt>
                <c:pt idx="6404">
                  <c:v>19590</c:v>
                </c:pt>
                <c:pt idx="6405">
                  <c:v>19591</c:v>
                </c:pt>
                <c:pt idx="6406">
                  <c:v>19592</c:v>
                </c:pt>
                <c:pt idx="6407">
                  <c:v>19595</c:v>
                </c:pt>
                <c:pt idx="6408">
                  <c:v>19596</c:v>
                </c:pt>
                <c:pt idx="6409">
                  <c:v>19597</c:v>
                </c:pt>
                <c:pt idx="6410">
                  <c:v>19598</c:v>
                </c:pt>
                <c:pt idx="6411">
                  <c:v>19599</c:v>
                </c:pt>
                <c:pt idx="6412">
                  <c:v>19602</c:v>
                </c:pt>
                <c:pt idx="6413">
                  <c:v>19603</c:v>
                </c:pt>
                <c:pt idx="6414">
                  <c:v>19604</c:v>
                </c:pt>
                <c:pt idx="6415">
                  <c:v>19605</c:v>
                </c:pt>
                <c:pt idx="6416">
                  <c:v>19606</c:v>
                </c:pt>
                <c:pt idx="6417">
                  <c:v>19610</c:v>
                </c:pt>
                <c:pt idx="6418">
                  <c:v>19611</c:v>
                </c:pt>
                <c:pt idx="6419">
                  <c:v>19612</c:v>
                </c:pt>
                <c:pt idx="6420">
                  <c:v>19613</c:v>
                </c:pt>
                <c:pt idx="6421">
                  <c:v>19616</c:v>
                </c:pt>
                <c:pt idx="6422">
                  <c:v>19617</c:v>
                </c:pt>
                <c:pt idx="6423">
                  <c:v>19618</c:v>
                </c:pt>
                <c:pt idx="6424">
                  <c:v>19619</c:v>
                </c:pt>
                <c:pt idx="6425">
                  <c:v>19620</c:v>
                </c:pt>
                <c:pt idx="6426">
                  <c:v>19623</c:v>
                </c:pt>
                <c:pt idx="6427">
                  <c:v>19624</c:v>
                </c:pt>
                <c:pt idx="6428">
                  <c:v>19625</c:v>
                </c:pt>
                <c:pt idx="6429">
                  <c:v>19626</c:v>
                </c:pt>
                <c:pt idx="6430">
                  <c:v>19627</c:v>
                </c:pt>
                <c:pt idx="6431">
                  <c:v>19630</c:v>
                </c:pt>
                <c:pt idx="6432">
                  <c:v>19631</c:v>
                </c:pt>
                <c:pt idx="6433">
                  <c:v>19632</c:v>
                </c:pt>
                <c:pt idx="6434">
                  <c:v>19633</c:v>
                </c:pt>
                <c:pt idx="6435">
                  <c:v>19634</c:v>
                </c:pt>
                <c:pt idx="6436">
                  <c:v>19637</c:v>
                </c:pt>
                <c:pt idx="6437">
                  <c:v>19638</c:v>
                </c:pt>
                <c:pt idx="6438">
                  <c:v>19639</c:v>
                </c:pt>
                <c:pt idx="6439">
                  <c:v>19640</c:v>
                </c:pt>
                <c:pt idx="6440">
                  <c:v>19641</c:v>
                </c:pt>
                <c:pt idx="6441">
                  <c:v>19645</c:v>
                </c:pt>
                <c:pt idx="6442">
                  <c:v>19646</c:v>
                </c:pt>
                <c:pt idx="6443">
                  <c:v>19647</c:v>
                </c:pt>
                <c:pt idx="6444">
                  <c:v>19648</c:v>
                </c:pt>
                <c:pt idx="6445">
                  <c:v>19651</c:v>
                </c:pt>
                <c:pt idx="6446">
                  <c:v>19652</c:v>
                </c:pt>
                <c:pt idx="6447">
                  <c:v>19653</c:v>
                </c:pt>
                <c:pt idx="6448">
                  <c:v>19654</c:v>
                </c:pt>
                <c:pt idx="6449">
                  <c:v>19655</c:v>
                </c:pt>
                <c:pt idx="6450">
                  <c:v>19658</c:v>
                </c:pt>
                <c:pt idx="6451">
                  <c:v>19659</c:v>
                </c:pt>
                <c:pt idx="6452">
                  <c:v>19660</c:v>
                </c:pt>
                <c:pt idx="6453">
                  <c:v>19661</c:v>
                </c:pt>
                <c:pt idx="6454">
                  <c:v>19662</c:v>
                </c:pt>
                <c:pt idx="6455">
                  <c:v>19665</c:v>
                </c:pt>
                <c:pt idx="6456">
                  <c:v>19667</c:v>
                </c:pt>
                <c:pt idx="6457">
                  <c:v>19668</c:v>
                </c:pt>
                <c:pt idx="6458">
                  <c:v>19669</c:v>
                </c:pt>
                <c:pt idx="6459">
                  <c:v>19672</c:v>
                </c:pt>
                <c:pt idx="6460">
                  <c:v>19673</c:v>
                </c:pt>
                <c:pt idx="6461">
                  <c:v>19675</c:v>
                </c:pt>
                <c:pt idx="6462">
                  <c:v>19676</c:v>
                </c:pt>
                <c:pt idx="6463">
                  <c:v>19679</c:v>
                </c:pt>
                <c:pt idx="6464">
                  <c:v>19680</c:v>
                </c:pt>
                <c:pt idx="6465">
                  <c:v>19681</c:v>
                </c:pt>
                <c:pt idx="6466">
                  <c:v>19682</c:v>
                </c:pt>
                <c:pt idx="6467">
                  <c:v>19683</c:v>
                </c:pt>
                <c:pt idx="6468">
                  <c:v>19686</c:v>
                </c:pt>
                <c:pt idx="6469">
                  <c:v>19687</c:v>
                </c:pt>
                <c:pt idx="6470">
                  <c:v>19688</c:v>
                </c:pt>
                <c:pt idx="6471">
                  <c:v>19690</c:v>
                </c:pt>
                <c:pt idx="6472">
                  <c:v>19693</c:v>
                </c:pt>
                <c:pt idx="6473">
                  <c:v>19694</c:v>
                </c:pt>
                <c:pt idx="6474">
                  <c:v>19695</c:v>
                </c:pt>
                <c:pt idx="6475">
                  <c:v>19696</c:v>
                </c:pt>
                <c:pt idx="6476">
                  <c:v>19697</c:v>
                </c:pt>
                <c:pt idx="6477">
                  <c:v>19700</c:v>
                </c:pt>
                <c:pt idx="6478">
                  <c:v>19701</c:v>
                </c:pt>
                <c:pt idx="6479">
                  <c:v>19702</c:v>
                </c:pt>
                <c:pt idx="6480">
                  <c:v>19703</c:v>
                </c:pt>
                <c:pt idx="6481">
                  <c:v>19704</c:v>
                </c:pt>
                <c:pt idx="6482">
                  <c:v>19707</c:v>
                </c:pt>
                <c:pt idx="6483">
                  <c:v>19708</c:v>
                </c:pt>
                <c:pt idx="6484">
                  <c:v>19709</c:v>
                </c:pt>
                <c:pt idx="6485">
                  <c:v>19710</c:v>
                </c:pt>
                <c:pt idx="6486">
                  <c:v>19711</c:v>
                </c:pt>
                <c:pt idx="6487">
                  <c:v>19714</c:v>
                </c:pt>
                <c:pt idx="6488">
                  <c:v>19715</c:v>
                </c:pt>
                <c:pt idx="6489">
                  <c:v>19716</c:v>
                </c:pt>
                <c:pt idx="6490">
                  <c:v>19717</c:v>
                </c:pt>
                <c:pt idx="6491">
                  <c:v>19721</c:v>
                </c:pt>
                <c:pt idx="6492">
                  <c:v>19722</c:v>
                </c:pt>
                <c:pt idx="6493">
                  <c:v>19723</c:v>
                </c:pt>
                <c:pt idx="6494">
                  <c:v>19724</c:v>
                </c:pt>
                <c:pt idx="6495">
                  <c:v>19728</c:v>
                </c:pt>
                <c:pt idx="6496">
                  <c:v>19729</c:v>
                </c:pt>
                <c:pt idx="6497">
                  <c:v>19730</c:v>
                </c:pt>
                <c:pt idx="6498">
                  <c:v>19731</c:v>
                </c:pt>
                <c:pt idx="6499">
                  <c:v>19732</c:v>
                </c:pt>
                <c:pt idx="6500">
                  <c:v>19735</c:v>
                </c:pt>
                <c:pt idx="6501">
                  <c:v>19736</c:v>
                </c:pt>
                <c:pt idx="6502">
                  <c:v>19737</c:v>
                </c:pt>
                <c:pt idx="6503">
                  <c:v>19738</c:v>
                </c:pt>
                <c:pt idx="6504">
                  <c:v>19739</c:v>
                </c:pt>
                <c:pt idx="6505">
                  <c:v>19742</c:v>
                </c:pt>
                <c:pt idx="6506">
                  <c:v>19743</c:v>
                </c:pt>
                <c:pt idx="6507">
                  <c:v>19744</c:v>
                </c:pt>
                <c:pt idx="6508">
                  <c:v>19745</c:v>
                </c:pt>
                <c:pt idx="6509">
                  <c:v>19746</c:v>
                </c:pt>
                <c:pt idx="6510">
                  <c:v>19749</c:v>
                </c:pt>
                <c:pt idx="6511">
                  <c:v>19750</c:v>
                </c:pt>
                <c:pt idx="6512">
                  <c:v>19751</c:v>
                </c:pt>
                <c:pt idx="6513">
                  <c:v>19752</c:v>
                </c:pt>
                <c:pt idx="6514">
                  <c:v>19753</c:v>
                </c:pt>
                <c:pt idx="6515">
                  <c:v>19756</c:v>
                </c:pt>
                <c:pt idx="6516">
                  <c:v>19757</c:v>
                </c:pt>
                <c:pt idx="6517">
                  <c:v>19758</c:v>
                </c:pt>
                <c:pt idx="6518">
                  <c:v>19759</c:v>
                </c:pt>
                <c:pt idx="6519">
                  <c:v>19760</c:v>
                </c:pt>
                <c:pt idx="6520">
                  <c:v>19763</c:v>
                </c:pt>
                <c:pt idx="6521">
                  <c:v>19764</c:v>
                </c:pt>
                <c:pt idx="6522">
                  <c:v>19765</c:v>
                </c:pt>
                <c:pt idx="6523">
                  <c:v>19766</c:v>
                </c:pt>
                <c:pt idx="6524">
                  <c:v>19767</c:v>
                </c:pt>
                <c:pt idx="6525">
                  <c:v>19770</c:v>
                </c:pt>
                <c:pt idx="6526">
                  <c:v>19771</c:v>
                </c:pt>
                <c:pt idx="6527">
                  <c:v>19772</c:v>
                </c:pt>
                <c:pt idx="6528">
                  <c:v>19773</c:v>
                </c:pt>
                <c:pt idx="6529">
                  <c:v>19774</c:v>
                </c:pt>
                <c:pt idx="6530">
                  <c:v>19778</c:v>
                </c:pt>
                <c:pt idx="6531">
                  <c:v>19779</c:v>
                </c:pt>
                <c:pt idx="6532">
                  <c:v>19780</c:v>
                </c:pt>
                <c:pt idx="6533">
                  <c:v>19781</c:v>
                </c:pt>
                <c:pt idx="6534">
                  <c:v>19784</c:v>
                </c:pt>
                <c:pt idx="6535">
                  <c:v>19785</c:v>
                </c:pt>
                <c:pt idx="6536">
                  <c:v>19786</c:v>
                </c:pt>
                <c:pt idx="6537">
                  <c:v>19787</c:v>
                </c:pt>
                <c:pt idx="6538">
                  <c:v>19788</c:v>
                </c:pt>
                <c:pt idx="6539">
                  <c:v>19791</c:v>
                </c:pt>
                <c:pt idx="6540">
                  <c:v>19792</c:v>
                </c:pt>
                <c:pt idx="6541">
                  <c:v>19793</c:v>
                </c:pt>
                <c:pt idx="6542">
                  <c:v>19794</c:v>
                </c:pt>
                <c:pt idx="6543">
                  <c:v>19795</c:v>
                </c:pt>
                <c:pt idx="6544">
                  <c:v>19798</c:v>
                </c:pt>
                <c:pt idx="6545">
                  <c:v>19799</c:v>
                </c:pt>
                <c:pt idx="6546">
                  <c:v>19800</c:v>
                </c:pt>
                <c:pt idx="6547">
                  <c:v>19801</c:v>
                </c:pt>
                <c:pt idx="6548">
                  <c:v>19802</c:v>
                </c:pt>
                <c:pt idx="6549">
                  <c:v>19805</c:v>
                </c:pt>
                <c:pt idx="6550">
                  <c:v>19806</c:v>
                </c:pt>
                <c:pt idx="6551">
                  <c:v>19807</c:v>
                </c:pt>
                <c:pt idx="6552">
                  <c:v>19808</c:v>
                </c:pt>
                <c:pt idx="6553">
                  <c:v>19809</c:v>
                </c:pt>
                <c:pt idx="6554">
                  <c:v>19812</c:v>
                </c:pt>
                <c:pt idx="6555">
                  <c:v>19813</c:v>
                </c:pt>
                <c:pt idx="6556">
                  <c:v>19814</c:v>
                </c:pt>
                <c:pt idx="6557">
                  <c:v>19815</c:v>
                </c:pt>
                <c:pt idx="6558">
                  <c:v>19816</c:v>
                </c:pt>
                <c:pt idx="6559">
                  <c:v>19819</c:v>
                </c:pt>
                <c:pt idx="6560">
                  <c:v>19820</c:v>
                </c:pt>
                <c:pt idx="6561">
                  <c:v>19821</c:v>
                </c:pt>
                <c:pt idx="6562">
                  <c:v>19822</c:v>
                </c:pt>
                <c:pt idx="6563">
                  <c:v>19823</c:v>
                </c:pt>
                <c:pt idx="6564">
                  <c:v>19826</c:v>
                </c:pt>
                <c:pt idx="6565">
                  <c:v>19827</c:v>
                </c:pt>
                <c:pt idx="6566">
                  <c:v>19828</c:v>
                </c:pt>
                <c:pt idx="6567">
                  <c:v>19829</c:v>
                </c:pt>
                <c:pt idx="6568">
                  <c:v>19833</c:v>
                </c:pt>
                <c:pt idx="6569">
                  <c:v>19834</c:v>
                </c:pt>
                <c:pt idx="6570">
                  <c:v>19835</c:v>
                </c:pt>
                <c:pt idx="6571">
                  <c:v>19836</c:v>
                </c:pt>
                <c:pt idx="6572">
                  <c:v>19837</c:v>
                </c:pt>
                <c:pt idx="6573">
                  <c:v>19840</c:v>
                </c:pt>
                <c:pt idx="6574">
                  <c:v>19841</c:v>
                </c:pt>
                <c:pt idx="6575">
                  <c:v>19842</c:v>
                </c:pt>
                <c:pt idx="6576">
                  <c:v>19843</c:v>
                </c:pt>
                <c:pt idx="6577">
                  <c:v>19844</c:v>
                </c:pt>
                <c:pt idx="6578">
                  <c:v>19847</c:v>
                </c:pt>
                <c:pt idx="6579">
                  <c:v>19848</c:v>
                </c:pt>
                <c:pt idx="6580">
                  <c:v>19849</c:v>
                </c:pt>
                <c:pt idx="6581">
                  <c:v>19850</c:v>
                </c:pt>
                <c:pt idx="6582">
                  <c:v>19851</c:v>
                </c:pt>
                <c:pt idx="6583">
                  <c:v>19854</c:v>
                </c:pt>
                <c:pt idx="6584">
                  <c:v>19855</c:v>
                </c:pt>
                <c:pt idx="6585">
                  <c:v>19856</c:v>
                </c:pt>
                <c:pt idx="6586">
                  <c:v>19857</c:v>
                </c:pt>
                <c:pt idx="6587">
                  <c:v>19858</c:v>
                </c:pt>
                <c:pt idx="6588">
                  <c:v>19861</c:v>
                </c:pt>
                <c:pt idx="6589">
                  <c:v>19862</c:v>
                </c:pt>
                <c:pt idx="6590">
                  <c:v>19863</c:v>
                </c:pt>
                <c:pt idx="6591">
                  <c:v>19864</c:v>
                </c:pt>
                <c:pt idx="6592">
                  <c:v>19865</c:v>
                </c:pt>
                <c:pt idx="6593">
                  <c:v>19868</c:v>
                </c:pt>
                <c:pt idx="6594">
                  <c:v>19869</c:v>
                </c:pt>
                <c:pt idx="6595">
                  <c:v>19870</c:v>
                </c:pt>
                <c:pt idx="6596">
                  <c:v>19871</c:v>
                </c:pt>
                <c:pt idx="6597">
                  <c:v>19872</c:v>
                </c:pt>
                <c:pt idx="6598">
                  <c:v>19876</c:v>
                </c:pt>
                <c:pt idx="6599">
                  <c:v>19877</c:v>
                </c:pt>
                <c:pt idx="6600">
                  <c:v>19878</c:v>
                </c:pt>
                <c:pt idx="6601">
                  <c:v>19879</c:v>
                </c:pt>
                <c:pt idx="6602">
                  <c:v>19882</c:v>
                </c:pt>
                <c:pt idx="6603">
                  <c:v>19883</c:v>
                </c:pt>
                <c:pt idx="6604">
                  <c:v>19884</c:v>
                </c:pt>
                <c:pt idx="6605">
                  <c:v>19885</c:v>
                </c:pt>
                <c:pt idx="6606">
                  <c:v>19886</c:v>
                </c:pt>
                <c:pt idx="6607">
                  <c:v>19889</c:v>
                </c:pt>
                <c:pt idx="6608">
                  <c:v>19890</c:v>
                </c:pt>
                <c:pt idx="6609">
                  <c:v>19891</c:v>
                </c:pt>
                <c:pt idx="6610">
                  <c:v>19892</c:v>
                </c:pt>
                <c:pt idx="6611">
                  <c:v>19893</c:v>
                </c:pt>
                <c:pt idx="6612">
                  <c:v>19896</c:v>
                </c:pt>
                <c:pt idx="6613">
                  <c:v>19897</c:v>
                </c:pt>
                <c:pt idx="6614">
                  <c:v>19898</c:v>
                </c:pt>
                <c:pt idx="6615">
                  <c:v>19899</c:v>
                </c:pt>
                <c:pt idx="6616">
                  <c:v>19900</c:v>
                </c:pt>
                <c:pt idx="6617">
                  <c:v>19903</c:v>
                </c:pt>
                <c:pt idx="6618">
                  <c:v>19904</c:v>
                </c:pt>
                <c:pt idx="6619">
                  <c:v>19905</c:v>
                </c:pt>
                <c:pt idx="6620">
                  <c:v>19906</c:v>
                </c:pt>
                <c:pt idx="6621">
                  <c:v>19907</c:v>
                </c:pt>
                <c:pt idx="6622">
                  <c:v>19911</c:v>
                </c:pt>
                <c:pt idx="6623">
                  <c:v>19912</c:v>
                </c:pt>
                <c:pt idx="6624">
                  <c:v>19913</c:v>
                </c:pt>
                <c:pt idx="6625">
                  <c:v>19914</c:v>
                </c:pt>
                <c:pt idx="6626">
                  <c:v>19917</c:v>
                </c:pt>
                <c:pt idx="6627">
                  <c:v>19918</c:v>
                </c:pt>
                <c:pt idx="6628">
                  <c:v>19919</c:v>
                </c:pt>
                <c:pt idx="6629">
                  <c:v>19920</c:v>
                </c:pt>
                <c:pt idx="6630">
                  <c:v>19921</c:v>
                </c:pt>
                <c:pt idx="6631">
                  <c:v>19924</c:v>
                </c:pt>
                <c:pt idx="6632">
                  <c:v>19925</c:v>
                </c:pt>
                <c:pt idx="6633">
                  <c:v>19926</c:v>
                </c:pt>
                <c:pt idx="6634">
                  <c:v>19927</c:v>
                </c:pt>
                <c:pt idx="6635">
                  <c:v>19928</c:v>
                </c:pt>
                <c:pt idx="6636">
                  <c:v>19931</c:v>
                </c:pt>
                <c:pt idx="6637">
                  <c:v>19932</c:v>
                </c:pt>
                <c:pt idx="6638">
                  <c:v>19933</c:v>
                </c:pt>
                <c:pt idx="6639">
                  <c:v>19934</c:v>
                </c:pt>
                <c:pt idx="6640">
                  <c:v>19935</c:v>
                </c:pt>
                <c:pt idx="6641">
                  <c:v>19938</c:v>
                </c:pt>
                <c:pt idx="6642">
                  <c:v>19939</c:v>
                </c:pt>
                <c:pt idx="6643">
                  <c:v>19940</c:v>
                </c:pt>
                <c:pt idx="6644">
                  <c:v>19941</c:v>
                </c:pt>
                <c:pt idx="6645">
                  <c:v>19942</c:v>
                </c:pt>
                <c:pt idx="6646">
                  <c:v>19945</c:v>
                </c:pt>
                <c:pt idx="6647">
                  <c:v>19946</c:v>
                </c:pt>
                <c:pt idx="6648">
                  <c:v>19947</c:v>
                </c:pt>
                <c:pt idx="6649">
                  <c:v>19948</c:v>
                </c:pt>
                <c:pt idx="6650">
                  <c:v>19949</c:v>
                </c:pt>
                <c:pt idx="6651">
                  <c:v>19952</c:v>
                </c:pt>
                <c:pt idx="6652">
                  <c:v>19953</c:v>
                </c:pt>
                <c:pt idx="6653">
                  <c:v>19954</c:v>
                </c:pt>
                <c:pt idx="6654">
                  <c:v>19955</c:v>
                </c:pt>
                <c:pt idx="6655">
                  <c:v>19956</c:v>
                </c:pt>
                <c:pt idx="6656">
                  <c:v>19959</c:v>
                </c:pt>
                <c:pt idx="6657">
                  <c:v>19960</c:v>
                </c:pt>
                <c:pt idx="6658">
                  <c:v>19961</c:v>
                </c:pt>
                <c:pt idx="6659">
                  <c:v>19962</c:v>
                </c:pt>
                <c:pt idx="6660">
                  <c:v>19963</c:v>
                </c:pt>
                <c:pt idx="6661">
                  <c:v>19966</c:v>
                </c:pt>
                <c:pt idx="6662">
                  <c:v>19967</c:v>
                </c:pt>
                <c:pt idx="6663">
                  <c:v>19968</c:v>
                </c:pt>
                <c:pt idx="6664">
                  <c:v>19969</c:v>
                </c:pt>
                <c:pt idx="6665">
                  <c:v>19970</c:v>
                </c:pt>
                <c:pt idx="6666">
                  <c:v>19974</c:v>
                </c:pt>
                <c:pt idx="6667">
                  <c:v>19975</c:v>
                </c:pt>
                <c:pt idx="6668">
                  <c:v>19976</c:v>
                </c:pt>
                <c:pt idx="6669">
                  <c:v>19977</c:v>
                </c:pt>
                <c:pt idx="6670">
                  <c:v>19980</c:v>
                </c:pt>
                <c:pt idx="6671">
                  <c:v>19981</c:v>
                </c:pt>
                <c:pt idx="6672">
                  <c:v>19982</c:v>
                </c:pt>
                <c:pt idx="6673">
                  <c:v>19983</c:v>
                </c:pt>
                <c:pt idx="6674">
                  <c:v>19984</c:v>
                </c:pt>
                <c:pt idx="6675">
                  <c:v>19987</c:v>
                </c:pt>
                <c:pt idx="6676">
                  <c:v>19988</c:v>
                </c:pt>
                <c:pt idx="6677">
                  <c:v>19989</c:v>
                </c:pt>
                <c:pt idx="6678">
                  <c:v>19990</c:v>
                </c:pt>
                <c:pt idx="6679">
                  <c:v>19991</c:v>
                </c:pt>
                <c:pt idx="6680">
                  <c:v>19994</c:v>
                </c:pt>
                <c:pt idx="6681">
                  <c:v>19995</c:v>
                </c:pt>
                <c:pt idx="6682">
                  <c:v>19996</c:v>
                </c:pt>
                <c:pt idx="6683">
                  <c:v>19997</c:v>
                </c:pt>
                <c:pt idx="6684">
                  <c:v>19998</c:v>
                </c:pt>
                <c:pt idx="6685">
                  <c:v>20001</c:v>
                </c:pt>
                <c:pt idx="6686">
                  <c:v>20002</c:v>
                </c:pt>
                <c:pt idx="6687">
                  <c:v>20003</c:v>
                </c:pt>
                <c:pt idx="6688">
                  <c:v>20004</c:v>
                </c:pt>
                <c:pt idx="6689">
                  <c:v>20005</c:v>
                </c:pt>
                <c:pt idx="6690">
                  <c:v>20008</c:v>
                </c:pt>
                <c:pt idx="6691">
                  <c:v>20009</c:v>
                </c:pt>
                <c:pt idx="6692">
                  <c:v>20010</c:v>
                </c:pt>
                <c:pt idx="6693">
                  <c:v>20011</c:v>
                </c:pt>
                <c:pt idx="6694">
                  <c:v>20012</c:v>
                </c:pt>
                <c:pt idx="6695">
                  <c:v>20015</c:v>
                </c:pt>
                <c:pt idx="6696">
                  <c:v>20016</c:v>
                </c:pt>
                <c:pt idx="6697">
                  <c:v>20017</c:v>
                </c:pt>
                <c:pt idx="6698">
                  <c:v>20018</c:v>
                </c:pt>
                <c:pt idx="6699">
                  <c:v>20019</c:v>
                </c:pt>
                <c:pt idx="6700">
                  <c:v>20022</c:v>
                </c:pt>
                <c:pt idx="6701">
                  <c:v>20023</c:v>
                </c:pt>
                <c:pt idx="6702">
                  <c:v>20024</c:v>
                </c:pt>
                <c:pt idx="6703">
                  <c:v>20025</c:v>
                </c:pt>
                <c:pt idx="6704">
                  <c:v>20026</c:v>
                </c:pt>
                <c:pt idx="6705">
                  <c:v>20029</c:v>
                </c:pt>
                <c:pt idx="6706">
                  <c:v>20031</c:v>
                </c:pt>
                <c:pt idx="6707">
                  <c:v>20032</c:v>
                </c:pt>
                <c:pt idx="6708">
                  <c:v>20033</c:v>
                </c:pt>
                <c:pt idx="6709">
                  <c:v>20036</c:v>
                </c:pt>
                <c:pt idx="6710">
                  <c:v>20037</c:v>
                </c:pt>
                <c:pt idx="6711">
                  <c:v>20038</c:v>
                </c:pt>
                <c:pt idx="6712">
                  <c:v>20039</c:v>
                </c:pt>
                <c:pt idx="6713">
                  <c:v>20040</c:v>
                </c:pt>
                <c:pt idx="6714">
                  <c:v>20043</c:v>
                </c:pt>
                <c:pt idx="6715">
                  <c:v>20044</c:v>
                </c:pt>
                <c:pt idx="6716">
                  <c:v>20045</c:v>
                </c:pt>
                <c:pt idx="6717">
                  <c:v>20046</c:v>
                </c:pt>
                <c:pt idx="6718">
                  <c:v>20047</c:v>
                </c:pt>
                <c:pt idx="6719">
                  <c:v>20050</c:v>
                </c:pt>
                <c:pt idx="6720">
                  <c:v>20051</c:v>
                </c:pt>
                <c:pt idx="6721">
                  <c:v>20052</c:v>
                </c:pt>
                <c:pt idx="6722">
                  <c:v>20054</c:v>
                </c:pt>
                <c:pt idx="6723">
                  <c:v>20057</c:v>
                </c:pt>
                <c:pt idx="6724">
                  <c:v>20058</c:v>
                </c:pt>
                <c:pt idx="6725">
                  <c:v>20059</c:v>
                </c:pt>
                <c:pt idx="6726">
                  <c:v>20060</c:v>
                </c:pt>
                <c:pt idx="6727">
                  <c:v>20061</c:v>
                </c:pt>
                <c:pt idx="6728">
                  <c:v>20064</c:v>
                </c:pt>
                <c:pt idx="6729">
                  <c:v>20065</c:v>
                </c:pt>
                <c:pt idx="6730">
                  <c:v>20066</c:v>
                </c:pt>
                <c:pt idx="6731">
                  <c:v>20067</c:v>
                </c:pt>
                <c:pt idx="6732">
                  <c:v>20068</c:v>
                </c:pt>
                <c:pt idx="6733">
                  <c:v>20071</c:v>
                </c:pt>
                <c:pt idx="6734">
                  <c:v>20072</c:v>
                </c:pt>
                <c:pt idx="6735">
                  <c:v>20073</c:v>
                </c:pt>
                <c:pt idx="6736">
                  <c:v>20074</c:v>
                </c:pt>
                <c:pt idx="6737">
                  <c:v>20075</c:v>
                </c:pt>
                <c:pt idx="6738">
                  <c:v>20078</c:v>
                </c:pt>
                <c:pt idx="6739">
                  <c:v>20079</c:v>
                </c:pt>
                <c:pt idx="6740">
                  <c:v>20080</c:v>
                </c:pt>
                <c:pt idx="6741">
                  <c:v>20081</c:v>
                </c:pt>
                <c:pt idx="6742">
                  <c:v>20085</c:v>
                </c:pt>
                <c:pt idx="6743">
                  <c:v>20086</c:v>
                </c:pt>
                <c:pt idx="6744">
                  <c:v>20087</c:v>
                </c:pt>
                <c:pt idx="6745">
                  <c:v>20088</c:v>
                </c:pt>
                <c:pt idx="6746">
                  <c:v>20089</c:v>
                </c:pt>
                <c:pt idx="6747">
                  <c:v>20092</c:v>
                </c:pt>
                <c:pt idx="6748">
                  <c:v>20093</c:v>
                </c:pt>
                <c:pt idx="6749">
                  <c:v>20094</c:v>
                </c:pt>
                <c:pt idx="6750">
                  <c:v>20095</c:v>
                </c:pt>
                <c:pt idx="6751">
                  <c:v>20096</c:v>
                </c:pt>
                <c:pt idx="6752">
                  <c:v>20099</c:v>
                </c:pt>
                <c:pt idx="6753">
                  <c:v>20100</c:v>
                </c:pt>
                <c:pt idx="6754">
                  <c:v>20101</c:v>
                </c:pt>
                <c:pt idx="6755">
                  <c:v>20102</c:v>
                </c:pt>
                <c:pt idx="6756">
                  <c:v>20103</c:v>
                </c:pt>
                <c:pt idx="6757">
                  <c:v>20106</c:v>
                </c:pt>
                <c:pt idx="6758">
                  <c:v>20107</c:v>
                </c:pt>
                <c:pt idx="6759">
                  <c:v>20108</c:v>
                </c:pt>
                <c:pt idx="6760">
                  <c:v>20109</c:v>
                </c:pt>
                <c:pt idx="6761">
                  <c:v>20110</c:v>
                </c:pt>
                <c:pt idx="6762">
                  <c:v>20113</c:v>
                </c:pt>
                <c:pt idx="6763">
                  <c:v>20114</c:v>
                </c:pt>
                <c:pt idx="6764">
                  <c:v>20115</c:v>
                </c:pt>
                <c:pt idx="6765">
                  <c:v>20116</c:v>
                </c:pt>
                <c:pt idx="6766">
                  <c:v>20117</c:v>
                </c:pt>
                <c:pt idx="6767">
                  <c:v>20120</c:v>
                </c:pt>
                <c:pt idx="6768">
                  <c:v>20121</c:v>
                </c:pt>
                <c:pt idx="6769">
                  <c:v>20122</c:v>
                </c:pt>
                <c:pt idx="6770">
                  <c:v>20123</c:v>
                </c:pt>
                <c:pt idx="6771">
                  <c:v>20124</c:v>
                </c:pt>
                <c:pt idx="6772">
                  <c:v>20127</c:v>
                </c:pt>
                <c:pt idx="6773">
                  <c:v>20128</c:v>
                </c:pt>
                <c:pt idx="6774">
                  <c:v>20129</c:v>
                </c:pt>
                <c:pt idx="6775">
                  <c:v>20130</c:v>
                </c:pt>
                <c:pt idx="6776">
                  <c:v>20131</c:v>
                </c:pt>
                <c:pt idx="6777">
                  <c:v>20134</c:v>
                </c:pt>
                <c:pt idx="6778">
                  <c:v>20135</c:v>
                </c:pt>
                <c:pt idx="6779">
                  <c:v>20136</c:v>
                </c:pt>
                <c:pt idx="6780">
                  <c:v>20137</c:v>
                </c:pt>
                <c:pt idx="6781">
                  <c:v>20138</c:v>
                </c:pt>
                <c:pt idx="6782">
                  <c:v>20141</c:v>
                </c:pt>
                <c:pt idx="6783">
                  <c:v>20143</c:v>
                </c:pt>
                <c:pt idx="6784">
                  <c:v>20144</c:v>
                </c:pt>
                <c:pt idx="6785">
                  <c:v>20145</c:v>
                </c:pt>
                <c:pt idx="6786">
                  <c:v>20148</c:v>
                </c:pt>
                <c:pt idx="6787">
                  <c:v>20149</c:v>
                </c:pt>
                <c:pt idx="6788">
                  <c:v>20150</c:v>
                </c:pt>
                <c:pt idx="6789">
                  <c:v>20151</c:v>
                </c:pt>
                <c:pt idx="6790">
                  <c:v>20152</c:v>
                </c:pt>
                <c:pt idx="6791">
                  <c:v>20155</c:v>
                </c:pt>
                <c:pt idx="6792">
                  <c:v>20156</c:v>
                </c:pt>
                <c:pt idx="6793">
                  <c:v>20157</c:v>
                </c:pt>
                <c:pt idx="6794">
                  <c:v>20158</c:v>
                </c:pt>
                <c:pt idx="6795">
                  <c:v>20159</c:v>
                </c:pt>
                <c:pt idx="6796">
                  <c:v>20162</c:v>
                </c:pt>
                <c:pt idx="6797">
                  <c:v>20163</c:v>
                </c:pt>
                <c:pt idx="6798">
                  <c:v>20164</c:v>
                </c:pt>
                <c:pt idx="6799">
                  <c:v>20165</c:v>
                </c:pt>
                <c:pt idx="6800">
                  <c:v>20166</c:v>
                </c:pt>
                <c:pt idx="6801">
                  <c:v>20169</c:v>
                </c:pt>
                <c:pt idx="6802">
                  <c:v>20170</c:v>
                </c:pt>
                <c:pt idx="6803">
                  <c:v>20171</c:v>
                </c:pt>
                <c:pt idx="6804">
                  <c:v>20172</c:v>
                </c:pt>
                <c:pt idx="6805">
                  <c:v>20173</c:v>
                </c:pt>
                <c:pt idx="6806">
                  <c:v>20176</c:v>
                </c:pt>
                <c:pt idx="6807">
                  <c:v>20177</c:v>
                </c:pt>
                <c:pt idx="6808">
                  <c:v>20178</c:v>
                </c:pt>
                <c:pt idx="6809">
                  <c:v>20179</c:v>
                </c:pt>
                <c:pt idx="6810">
                  <c:v>20180</c:v>
                </c:pt>
                <c:pt idx="6811">
                  <c:v>20183</c:v>
                </c:pt>
                <c:pt idx="6812">
                  <c:v>20184</c:v>
                </c:pt>
                <c:pt idx="6813">
                  <c:v>20185</c:v>
                </c:pt>
                <c:pt idx="6814">
                  <c:v>20186</c:v>
                </c:pt>
                <c:pt idx="6815">
                  <c:v>20190</c:v>
                </c:pt>
                <c:pt idx="6816">
                  <c:v>20191</c:v>
                </c:pt>
                <c:pt idx="6817">
                  <c:v>20192</c:v>
                </c:pt>
                <c:pt idx="6818">
                  <c:v>20193</c:v>
                </c:pt>
                <c:pt idx="6819">
                  <c:v>20194</c:v>
                </c:pt>
                <c:pt idx="6820">
                  <c:v>20197</c:v>
                </c:pt>
                <c:pt idx="6821">
                  <c:v>20198</c:v>
                </c:pt>
                <c:pt idx="6822">
                  <c:v>20199</c:v>
                </c:pt>
                <c:pt idx="6823">
                  <c:v>20200</c:v>
                </c:pt>
                <c:pt idx="6824">
                  <c:v>20201</c:v>
                </c:pt>
                <c:pt idx="6825">
                  <c:v>20204</c:v>
                </c:pt>
                <c:pt idx="6826">
                  <c:v>20205</c:v>
                </c:pt>
                <c:pt idx="6827">
                  <c:v>20206</c:v>
                </c:pt>
                <c:pt idx="6828">
                  <c:v>20207</c:v>
                </c:pt>
                <c:pt idx="6829">
                  <c:v>20208</c:v>
                </c:pt>
                <c:pt idx="6830">
                  <c:v>20211</c:v>
                </c:pt>
                <c:pt idx="6831">
                  <c:v>20212</c:v>
                </c:pt>
                <c:pt idx="6832">
                  <c:v>20213</c:v>
                </c:pt>
                <c:pt idx="6833">
                  <c:v>20214</c:v>
                </c:pt>
                <c:pt idx="6834">
                  <c:v>20215</c:v>
                </c:pt>
                <c:pt idx="6835">
                  <c:v>20218</c:v>
                </c:pt>
                <c:pt idx="6836">
                  <c:v>20219</c:v>
                </c:pt>
                <c:pt idx="6837">
                  <c:v>20220</c:v>
                </c:pt>
                <c:pt idx="6838">
                  <c:v>20221</c:v>
                </c:pt>
                <c:pt idx="6839">
                  <c:v>20222</c:v>
                </c:pt>
                <c:pt idx="6840">
                  <c:v>20225</c:v>
                </c:pt>
                <c:pt idx="6841">
                  <c:v>20226</c:v>
                </c:pt>
                <c:pt idx="6842">
                  <c:v>20227</c:v>
                </c:pt>
                <c:pt idx="6843">
                  <c:v>20228</c:v>
                </c:pt>
                <c:pt idx="6844">
                  <c:v>20229</c:v>
                </c:pt>
                <c:pt idx="6845">
                  <c:v>20232</c:v>
                </c:pt>
                <c:pt idx="6846">
                  <c:v>20233</c:v>
                </c:pt>
                <c:pt idx="6847">
                  <c:v>20234</c:v>
                </c:pt>
                <c:pt idx="6848">
                  <c:v>20235</c:v>
                </c:pt>
                <c:pt idx="6849">
                  <c:v>20236</c:v>
                </c:pt>
                <c:pt idx="6850">
                  <c:v>20240</c:v>
                </c:pt>
                <c:pt idx="6851">
                  <c:v>20241</c:v>
                </c:pt>
                <c:pt idx="6852">
                  <c:v>20242</c:v>
                </c:pt>
                <c:pt idx="6853">
                  <c:v>20243</c:v>
                </c:pt>
                <c:pt idx="6854">
                  <c:v>20246</c:v>
                </c:pt>
                <c:pt idx="6855">
                  <c:v>20247</c:v>
                </c:pt>
                <c:pt idx="6856">
                  <c:v>20248</c:v>
                </c:pt>
                <c:pt idx="6857">
                  <c:v>20249</c:v>
                </c:pt>
                <c:pt idx="6858">
                  <c:v>20250</c:v>
                </c:pt>
                <c:pt idx="6859">
                  <c:v>20253</c:v>
                </c:pt>
                <c:pt idx="6860">
                  <c:v>20254</c:v>
                </c:pt>
                <c:pt idx="6861">
                  <c:v>20255</c:v>
                </c:pt>
                <c:pt idx="6862">
                  <c:v>20256</c:v>
                </c:pt>
                <c:pt idx="6863">
                  <c:v>20257</c:v>
                </c:pt>
                <c:pt idx="6864">
                  <c:v>20260</c:v>
                </c:pt>
                <c:pt idx="6865">
                  <c:v>20261</c:v>
                </c:pt>
                <c:pt idx="6866">
                  <c:v>20262</c:v>
                </c:pt>
                <c:pt idx="6867">
                  <c:v>20263</c:v>
                </c:pt>
                <c:pt idx="6868">
                  <c:v>20264</c:v>
                </c:pt>
                <c:pt idx="6869">
                  <c:v>20267</c:v>
                </c:pt>
                <c:pt idx="6870">
                  <c:v>20268</c:v>
                </c:pt>
                <c:pt idx="6871">
                  <c:v>20269</c:v>
                </c:pt>
                <c:pt idx="6872">
                  <c:v>20270</c:v>
                </c:pt>
                <c:pt idx="6873">
                  <c:v>20271</c:v>
                </c:pt>
                <c:pt idx="6874">
                  <c:v>20275</c:v>
                </c:pt>
                <c:pt idx="6875">
                  <c:v>20276</c:v>
                </c:pt>
                <c:pt idx="6876">
                  <c:v>20277</c:v>
                </c:pt>
                <c:pt idx="6877">
                  <c:v>20278</c:v>
                </c:pt>
                <c:pt idx="6878">
                  <c:v>20281</c:v>
                </c:pt>
                <c:pt idx="6879">
                  <c:v>20282</c:v>
                </c:pt>
                <c:pt idx="6880">
                  <c:v>20283</c:v>
                </c:pt>
                <c:pt idx="6881">
                  <c:v>20284</c:v>
                </c:pt>
                <c:pt idx="6882">
                  <c:v>20285</c:v>
                </c:pt>
                <c:pt idx="6883">
                  <c:v>20288</c:v>
                </c:pt>
                <c:pt idx="6884">
                  <c:v>20289</c:v>
                </c:pt>
                <c:pt idx="6885">
                  <c:v>20290</c:v>
                </c:pt>
                <c:pt idx="6886">
                  <c:v>20291</c:v>
                </c:pt>
                <c:pt idx="6887">
                  <c:v>20292</c:v>
                </c:pt>
                <c:pt idx="6888">
                  <c:v>20295</c:v>
                </c:pt>
                <c:pt idx="6889">
                  <c:v>20296</c:v>
                </c:pt>
                <c:pt idx="6890">
                  <c:v>20297</c:v>
                </c:pt>
                <c:pt idx="6891">
                  <c:v>20298</c:v>
                </c:pt>
                <c:pt idx="6892">
                  <c:v>20299</c:v>
                </c:pt>
                <c:pt idx="6893">
                  <c:v>20302</c:v>
                </c:pt>
                <c:pt idx="6894">
                  <c:v>20303</c:v>
                </c:pt>
                <c:pt idx="6895">
                  <c:v>20304</c:v>
                </c:pt>
                <c:pt idx="6896">
                  <c:v>20305</c:v>
                </c:pt>
                <c:pt idx="6897">
                  <c:v>20306</c:v>
                </c:pt>
                <c:pt idx="6898">
                  <c:v>20309</c:v>
                </c:pt>
                <c:pt idx="6899">
                  <c:v>20310</c:v>
                </c:pt>
                <c:pt idx="6900">
                  <c:v>20311</c:v>
                </c:pt>
                <c:pt idx="6901">
                  <c:v>20312</c:v>
                </c:pt>
                <c:pt idx="6902">
                  <c:v>20313</c:v>
                </c:pt>
                <c:pt idx="6903">
                  <c:v>20316</c:v>
                </c:pt>
                <c:pt idx="6904">
                  <c:v>20317</c:v>
                </c:pt>
                <c:pt idx="6905">
                  <c:v>20318</c:v>
                </c:pt>
                <c:pt idx="6906">
                  <c:v>20319</c:v>
                </c:pt>
                <c:pt idx="6907">
                  <c:v>20320</c:v>
                </c:pt>
                <c:pt idx="6908">
                  <c:v>20323</c:v>
                </c:pt>
                <c:pt idx="6909">
                  <c:v>20324</c:v>
                </c:pt>
                <c:pt idx="6910">
                  <c:v>20325</c:v>
                </c:pt>
                <c:pt idx="6911">
                  <c:v>20326</c:v>
                </c:pt>
                <c:pt idx="6912">
                  <c:v>20327</c:v>
                </c:pt>
                <c:pt idx="6913">
                  <c:v>20330</c:v>
                </c:pt>
                <c:pt idx="6914">
                  <c:v>20331</c:v>
                </c:pt>
                <c:pt idx="6915">
                  <c:v>20332</c:v>
                </c:pt>
                <c:pt idx="6916">
                  <c:v>20333</c:v>
                </c:pt>
                <c:pt idx="6917">
                  <c:v>20334</c:v>
                </c:pt>
                <c:pt idx="6918">
                  <c:v>20338</c:v>
                </c:pt>
                <c:pt idx="6919">
                  <c:v>20339</c:v>
                </c:pt>
                <c:pt idx="6920">
                  <c:v>20340</c:v>
                </c:pt>
                <c:pt idx="6921">
                  <c:v>20341</c:v>
                </c:pt>
                <c:pt idx="6922">
                  <c:v>20344</c:v>
                </c:pt>
                <c:pt idx="6923">
                  <c:v>20345</c:v>
                </c:pt>
                <c:pt idx="6924">
                  <c:v>20346</c:v>
                </c:pt>
                <c:pt idx="6925">
                  <c:v>20347</c:v>
                </c:pt>
                <c:pt idx="6926">
                  <c:v>20348</c:v>
                </c:pt>
                <c:pt idx="6927">
                  <c:v>20351</c:v>
                </c:pt>
                <c:pt idx="6928">
                  <c:v>20352</c:v>
                </c:pt>
                <c:pt idx="6929">
                  <c:v>20353</c:v>
                </c:pt>
                <c:pt idx="6930">
                  <c:v>20354</c:v>
                </c:pt>
                <c:pt idx="6931">
                  <c:v>20355</c:v>
                </c:pt>
                <c:pt idx="6932">
                  <c:v>20358</c:v>
                </c:pt>
                <c:pt idx="6933">
                  <c:v>20359</c:v>
                </c:pt>
                <c:pt idx="6934">
                  <c:v>20360</c:v>
                </c:pt>
                <c:pt idx="6935">
                  <c:v>20361</c:v>
                </c:pt>
                <c:pt idx="6936">
                  <c:v>20362</c:v>
                </c:pt>
                <c:pt idx="6937">
                  <c:v>20365</c:v>
                </c:pt>
                <c:pt idx="6938">
                  <c:v>20366</c:v>
                </c:pt>
                <c:pt idx="6939">
                  <c:v>20367</c:v>
                </c:pt>
                <c:pt idx="6940">
                  <c:v>20368</c:v>
                </c:pt>
                <c:pt idx="6941">
                  <c:v>20369</c:v>
                </c:pt>
                <c:pt idx="6942">
                  <c:v>20372</c:v>
                </c:pt>
                <c:pt idx="6943">
                  <c:v>20373</c:v>
                </c:pt>
                <c:pt idx="6944">
                  <c:v>20374</c:v>
                </c:pt>
                <c:pt idx="6945">
                  <c:v>20375</c:v>
                </c:pt>
                <c:pt idx="6946">
                  <c:v>20376</c:v>
                </c:pt>
                <c:pt idx="6947">
                  <c:v>20379</c:v>
                </c:pt>
                <c:pt idx="6948">
                  <c:v>20380</c:v>
                </c:pt>
                <c:pt idx="6949">
                  <c:v>20381</c:v>
                </c:pt>
                <c:pt idx="6950">
                  <c:v>20382</c:v>
                </c:pt>
                <c:pt idx="6951">
                  <c:v>20383</c:v>
                </c:pt>
                <c:pt idx="6952">
                  <c:v>20386</c:v>
                </c:pt>
                <c:pt idx="6953">
                  <c:v>20387</c:v>
                </c:pt>
                <c:pt idx="6954">
                  <c:v>20388</c:v>
                </c:pt>
                <c:pt idx="6955">
                  <c:v>20389</c:v>
                </c:pt>
                <c:pt idx="6956">
                  <c:v>20390</c:v>
                </c:pt>
                <c:pt idx="6957">
                  <c:v>20393</c:v>
                </c:pt>
                <c:pt idx="6958">
                  <c:v>20394</c:v>
                </c:pt>
                <c:pt idx="6959">
                  <c:v>20395</c:v>
                </c:pt>
                <c:pt idx="6960">
                  <c:v>20396</c:v>
                </c:pt>
                <c:pt idx="6961">
                  <c:v>20397</c:v>
                </c:pt>
                <c:pt idx="6962">
                  <c:v>20400</c:v>
                </c:pt>
                <c:pt idx="6963">
                  <c:v>20402</c:v>
                </c:pt>
                <c:pt idx="6964">
                  <c:v>20403</c:v>
                </c:pt>
                <c:pt idx="6965">
                  <c:v>20404</c:v>
                </c:pt>
                <c:pt idx="6966">
                  <c:v>20407</c:v>
                </c:pt>
                <c:pt idx="6967">
                  <c:v>20408</c:v>
                </c:pt>
                <c:pt idx="6968">
                  <c:v>20409</c:v>
                </c:pt>
                <c:pt idx="6969">
                  <c:v>20410</c:v>
                </c:pt>
                <c:pt idx="6970">
                  <c:v>20411</c:v>
                </c:pt>
                <c:pt idx="6971">
                  <c:v>20414</c:v>
                </c:pt>
                <c:pt idx="6972">
                  <c:v>20415</c:v>
                </c:pt>
                <c:pt idx="6973">
                  <c:v>20416</c:v>
                </c:pt>
                <c:pt idx="6974">
                  <c:v>20418</c:v>
                </c:pt>
                <c:pt idx="6975">
                  <c:v>20421</c:v>
                </c:pt>
                <c:pt idx="6976">
                  <c:v>20422</c:v>
                </c:pt>
                <c:pt idx="6977">
                  <c:v>20423</c:v>
                </c:pt>
                <c:pt idx="6978">
                  <c:v>20424</c:v>
                </c:pt>
                <c:pt idx="6979">
                  <c:v>20425</c:v>
                </c:pt>
                <c:pt idx="6980">
                  <c:v>20428</c:v>
                </c:pt>
                <c:pt idx="6981">
                  <c:v>20429</c:v>
                </c:pt>
                <c:pt idx="6982">
                  <c:v>20430</c:v>
                </c:pt>
                <c:pt idx="6983">
                  <c:v>20431</c:v>
                </c:pt>
                <c:pt idx="6984">
                  <c:v>20432</c:v>
                </c:pt>
                <c:pt idx="6985">
                  <c:v>20435</c:v>
                </c:pt>
                <c:pt idx="6986">
                  <c:v>20436</c:v>
                </c:pt>
                <c:pt idx="6987">
                  <c:v>20437</c:v>
                </c:pt>
                <c:pt idx="6988">
                  <c:v>20438</c:v>
                </c:pt>
                <c:pt idx="6989">
                  <c:v>20439</c:v>
                </c:pt>
                <c:pt idx="6990">
                  <c:v>20442</c:v>
                </c:pt>
                <c:pt idx="6991">
                  <c:v>20443</c:v>
                </c:pt>
                <c:pt idx="6992">
                  <c:v>20444</c:v>
                </c:pt>
                <c:pt idx="6993">
                  <c:v>20445</c:v>
                </c:pt>
                <c:pt idx="6994">
                  <c:v>20446</c:v>
                </c:pt>
                <c:pt idx="6995">
                  <c:v>20450</c:v>
                </c:pt>
                <c:pt idx="6996">
                  <c:v>20451</c:v>
                </c:pt>
                <c:pt idx="6997">
                  <c:v>20452</c:v>
                </c:pt>
                <c:pt idx="6998">
                  <c:v>20453</c:v>
                </c:pt>
                <c:pt idx="6999">
                  <c:v>20457</c:v>
                </c:pt>
                <c:pt idx="7000">
                  <c:v>20458</c:v>
                </c:pt>
                <c:pt idx="7001">
                  <c:v>20459</c:v>
                </c:pt>
                <c:pt idx="7002">
                  <c:v>20460</c:v>
                </c:pt>
                <c:pt idx="7003">
                  <c:v>20463</c:v>
                </c:pt>
                <c:pt idx="7004">
                  <c:v>20464</c:v>
                </c:pt>
                <c:pt idx="7005">
                  <c:v>20465</c:v>
                </c:pt>
                <c:pt idx="7006">
                  <c:v>20466</c:v>
                </c:pt>
                <c:pt idx="7007">
                  <c:v>20467</c:v>
                </c:pt>
                <c:pt idx="7008">
                  <c:v>20470</c:v>
                </c:pt>
                <c:pt idx="7009">
                  <c:v>20471</c:v>
                </c:pt>
                <c:pt idx="7010">
                  <c:v>20472</c:v>
                </c:pt>
                <c:pt idx="7011">
                  <c:v>20473</c:v>
                </c:pt>
                <c:pt idx="7012">
                  <c:v>20474</c:v>
                </c:pt>
                <c:pt idx="7013">
                  <c:v>20477</c:v>
                </c:pt>
                <c:pt idx="7014">
                  <c:v>20478</c:v>
                </c:pt>
                <c:pt idx="7015">
                  <c:v>20479</c:v>
                </c:pt>
                <c:pt idx="7016">
                  <c:v>20480</c:v>
                </c:pt>
                <c:pt idx="7017">
                  <c:v>20481</c:v>
                </c:pt>
                <c:pt idx="7018">
                  <c:v>20484</c:v>
                </c:pt>
                <c:pt idx="7019">
                  <c:v>20485</c:v>
                </c:pt>
                <c:pt idx="7020">
                  <c:v>20486</c:v>
                </c:pt>
                <c:pt idx="7021">
                  <c:v>20487</c:v>
                </c:pt>
                <c:pt idx="7022">
                  <c:v>20488</c:v>
                </c:pt>
                <c:pt idx="7023">
                  <c:v>20491</c:v>
                </c:pt>
                <c:pt idx="7024">
                  <c:v>20492</c:v>
                </c:pt>
                <c:pt idx="7025">
                  <c:v>20493</c:v>
                </c:pt>
                <c:pt idx="7026">
                  <c:v>20494</c:v>
                </c:pt>
                <c:pt idx="7027">
                  <c:v>20495</c:v>
                </c:pt>
                <c:pt idx="7028">
                  <c:v>20498</c:v>
                </c:pt>
                <c:pt idx="7029">
                  <c:v>20499</c:v>
                </c:pt>
                <c:pt idx="7030">
                  <c:v>20500</c:v>
                </c:pt>
                <c:pt idx="7031">
                  <c:v>20501</c:v>
                </c:pt>
                <c:pt idx="7032">
                  <c:v>20502</c:v>
                </c:pt>
                <c:pt idx="7033">
                  <c:v>20505</c:v>
                </c:pt>
                <c:pt idx="7034">
                  <c:v>20506</c:v>
                </c:pt>
                <c:pt idx="7035">
                  <c:v>20508</c:v>
                </c:pt>
                <c:pt idx="7036">
                  <c:v>20509</c:v>
                </c:pt>
                <c:pt idx="7037">
                  <c:v>20512</c:v>
                </c:pt>
                <c:pt idx="7038">
                  <c:v>20513</c:v>
                </c:pt>
                <c:pt idx="7039">
                  <c:v>20514</c:v>
                </c:pt>
                <c:pt idx="7040">
                  <c:v>20515</c:v>
                </c:pt>
                <c:pt idx="7041">
                  <c:v>20516</c:v>
                </c:pt>
                <c:pt idx="7042">
                  <c:v>20519</c:v>
                </c:pt>
                <c:pt idx="7043">
                  <c:v>20520</c:v>
                </c:pt>
                <c:pt idx="7044">
                  <c:v>20521</c:v>
                </c:pt>
                <c:pt idx="7045">
                  <c:v>20522</c:v>
                </c:pt>
                <c:pt idx="7046">
                  <c:v>20523</c:v>
                </c:pt>
                <c:pt idx="7047">
                  <c:v>20526</c:v>
                </c:pt>
                <c:pt idx="7048">
                  <c:v>20527</c:v>
                </c:pt>
                <c:pt idx="7049">
                  <c:v>20528</c:v>
                </c:pt>
                <c:pt idx="7050">
                  <c:v>20529</c:v>
                </c:pt>
                <c:pt idx="7051">
                  <c:v>20530</c:v>
                </c:pt>
                <c:pt idx="7052">
                  <c:v>20533</c:v>
                </c:pt>
                <c:pt idx="7053">
                  <c:v>20534</c:v>
                </c:pt>
                <c:pt idx="7054">
                  <c:v>20535</c:v>
                </c:pt>
                <c:pt idx="7055">
                  <c:v>20536</c:v>
                </c:pt>
                <c:pt idx="7056">
                  <c:v>20537</c:v>
                </c:pt>
                <c:pt idx="7057">
                  <c:v>20540</c:v>
                </c:pt>
                <c:pt idx="7058">
                  <c:v>20541</c:v>
                </c:pt>
                <c:pt idx="7059">
                  <c:v>20542</c:v>
                </c:pt>
                <c:pt idx="7060">
                  <c:v>20543</c:v>
                </c:pt>
                <c:pt idx="7061">
                  <c:v>20547</c:v>
                </c:pt>
                <c:pt idx="7062">
                  <c:v>20548</c:v>
                </c:pt>
                <c:pt idx="7063">
                  <c:v>20549</c:v>
                </c:pt>
                <c:pt idx="7064">
                  <c:v>20550</c:v>
                </c:pt>
                <c:pt idx="7065">
                  <c:v>20551</c:v>
                </c:pt>
                <c:pt idx="7066">
                  <c:v>20554</c:v>
                </c:pt>
                <c:pt idx="7067">
                  <c:v>20555</c:v>
                </c:pt>
                <c:pt idx="7068">
                  <c:v>20556</c:v>
                </c:pt>
                <c:pt idx="7069">
                  <c:v>20557</c:v>
                </c:pt>
                <c:pt idx="7070">
                  <c:v>20558</c:v>
                </c:pt>
                <c:pt idx="7071">
                  <c:v>20561</c:v>
                </c:pt>
                <c:pt idx="7072">
                  <c:v>20562</c:v>
                </c:pt>
                <c:pt idx="7073">
                  <c:v>20563</c:v>
                </c:pt>
                <c:pt idx="7074">
                  <c:v>20564</c:v>
                </c:pt>
                <c:pt idx="7075">
                  <c:v>20565</c:v>
                </c:pt>
                <c:pt idx="7076">
                  <c:v>20568</c:v>
                </c:pt>
                <c:pt idx="7077">
                  <c:v>20569</c:v>
                </c:pt>
                <c:pt idx="7078">
                  <c:v>20570</c:v>
                </c:pt>
                <c:pt idx="7079">
                  <c:v>20571</c:v>
                </c:pt>
                <c:pt idx="7080">
                  <c:v>20572</c:v>
                </c:pt>
                <c:pt idx="7081">
                  <c:v>20575</c:v>
                </c:pt>
                <c:pt idx="7082">
                  <c:v>20576</c:v>
                </c:pt>
                <c:pt idx="7083">
                  <c:v>20577</c:v>
                </c:pt>
                <c:pt idx="7084">
                  <c:v>20578</c:v>
                </c:pt>
                <c:pt idx="7085">
                  <c:v>20579</c:v>
                </c:pt>
                <c:pt idx="7086">
                  <c:v>20582</c:v>
                </c:pt>
                <c:pt idx="7087">
                  <c:v>20583</c:v>
                </c:pt>
                <c:pt idx="7088">
                  <c:v>20584</c:v>
                </c:pt>
                <c:pt idx="7089">
                  <c:v>20585</c:v>
                </c:pt>
                <c:pt idx="7090">
                  <c:v>20586</c:v>
                </c:pt>
                <c:pt idx="7091">
                  <c:v>20589</c:v>
                </c:pt>
                <c:pt idx="7092">
                  <c:v>20590</c:v>
                </c:pt>
                <c:pt idx="7093">
                  <c:v>20591</c:v>
                </c:pt>
                <c:pt idx="7094">
                  <c:v>20592</c:v>
                </c:pt>
                <c:pt idx="7095">
                  <c:v>20593</c:v>
                </c:pt>
                <c:pt idx="7096">
                  <c:v>20596</c:v>
                </c:pt>
                <c:pt idx="7097">
                  <c:v>20597</c:v>
                </c:pt>
                <c:pt idx="7098">
                  <c:v>20598</c:v>
                </c:pt>
                <c:pt idx="7099">
                  <c:v>20599</c:v>
                </c:pt>
                <c:pt idx="7100">
                  <c:v>20600</c:v>
                </c:pt>
                <c:pt idx="7101">
                  <c:v>20603</c:v>
                </c:pt>
                <c:pt idx="7102">
                  <c:v>20604</c:v>
                </c:pt>
                <c:pt idx="7103">
                  <c:v>20606</c:v>
                </c:pt>
                <c:pt idx="7104">
                  <c:v>20607</c:v>
                </c:pt>
                <c:pt idx="7105">
                  <c:v>20610</c:v>
                </c:pt>
                <c:pt idx="7106">
                  <c:v>20611</c:v>
                </c:pt>
                <c:pt idx="7107">
                  <c:v>20612</c:v>
                </c:pt>
                <c:pt idx="7108">
                  <c:v>20613</c:v>
                </c:pt>
                <c:pt idx="7109">
                  <c:v>20614</c:v>
                </c:pt>
                <c:pt idx="7110">
                  <c:v>20617</c:v>
                </c:pt>
                <c:pt idx="7111">
                  <c:v>20618</c:v>
                </c:pt>
                <c:pt idx="7112">
                  <c:v>20619</c:v>
                </c:pt>
                <c:pt idx="7113">
                  <c:v>20620</c:v>
                </c:pt>
                <c:pt idx="7114">
                  <c:v>20621</c:v>
                </c:pt>
                <c:pt idx="7115">
                  <c:v>20624</c:v>
                </c:pt>
                <c:pt idx="7116">
                  <c:v>20625</c:v>
                </c:pt>
                <c:pt idx="7117">
                  <c:v>20626</c:v>
                </c:pt>
                <c:pt idx="7118">
                  <c:v>20627</c:v>
                </c:pt>
                <c:pt idx="7119">
                  <c:v>20628</c:v>
                </c:pt>
                <c:pt idx="7120">
                  <c:v>20631</c:v>
                </c:pt>
                <c:pt idx="7121">
                  <c:v>20632</c:v>
                </c:pt>
                <c:pt idx="7122">
                  <c:v>20633</c:v>
                </c:pt>
                <c:pt idx="7123">
                  <c:v>20634</c:v>
                </c:pt>
                <c:pt idx="7124">
                  <c:v>20635</c:v>
                </c:pt>
                <c:pt idx="7125">
                  <c:v>20638</c:v>
                </c:pt>
                <c:pt idx="7126">
                  <c:v>20639</c:v>
                </c:pt>
                <c:pt idx="7127">
                  <c:v>20641</c:v>
                </c:pt>
                <c:pt idx="7128">
                  <c:v>20642</c:v>
                </c:pt>
                <c:pt idx="7129">
                  <c:v>20645</c:v>
                </c:pt>
                <c:pt idx="7130">
                  <c:v>20646</c:v>
                </c:pt>
                <c:pt idx="7131">
                  <c:v>20647</c:v>
                </c:pt>
                <c:pt idx="7132">
                  <c:v>20648</c:v>
                </c:pt>
                <c:pt idx="7133">
                  <c:v>20649</c:v>
                </c:pt>
                <c:pt idx="7134">
                  <c:v>20652</c:v>
                </c:pt>
                <c:pt idx="7135">
                  <c:v>20653</c:v>
                </c:pt>
                <c:pt idx="7136">
                  <c:v>20654</c:v>
                </c:pt>
                <c:pt idx="7137">
                  <c:v>20655</c:v>
                </c:pt>
                <c:pt idx="7138">
                  <c:v>20656</c:v>
                </c:pt>
                <c:pt idx="7139">
                  <c:v>20659</c:v>
                </c:pt>
                <c:pt idx="7140">
                  <c:v>20660</c:v>
                </c:pt>
                <c:pt idx="7141">
                  <c:v>20661</c:v>
                </c:pt>
                <c:pt idx="7142">
                  <c:v>20662</c:v>
                </c:pt>
                <c:pt idx="7143">
                  <c:v>20663</c:v>
                </c:pt>
                <c:pt idx="7144">
                  <c:v>20666</c:v>
                </c:pt>
                <c:pt idx="7145">
                  <c:v>20667</c:v>
                </c:pt>
                <c:pt idx="7146">
                  <c:v>20668</c:v>
                </c:pt>
                <c:pt idx="7147">
                  <c:v>20669</c:v>
                </c:pt>
                <c:pt idx="7148">
                  <c:v>20670</c:v>
                </c:pt>
                <c:pt idx="7149">
                  <c:v>20673</c:v>
                </c:pt>
                <c:pt idx="7150">
                  <c:v>20674</c:v>
                </c:pt>
                <c:pt idx="7151">
                  <c:v>20675</c:v>
                </c:pt>
                <c:pt idx="7152">
                  <c:v>20676</c:v>
                </c:pt>
                <c:pt idx="7153">
                  <c:v>20677</c:v>
                </c:pt>
                <c:pt idx="7154">
                  <c:v>20680</c:v>
                </c:pt>
                <c:pt idx="7155">
                  <c:v>20681</c:v>
                </c:pt>
                <c:pt idx="7156">
                  <c:v>20682</c:v>
                </c:pt>
                <c:pt idx="7157">
                  <c:v>20683</c:v>
                </c:pt>
                <c:pt idx="7158">
                  <c:v>20684</c:v>
                </c:pt>
                <c:pt idx="7159">
                  <c:v>20687</c:v>
                </c:pt>
                <c:pt idx="7160">
                  <c:v>20688</c:v>
                </c:pt>
                <c:pt idx="7161">
                  <c:v>20689</c:v>
                </c:pt>
                <c:pt idx="7162">
                  <c:v>20690</c:v>
                </c:pt>
                <c:pt idx="7163">
                  <c:v>20691</c:v>
                </c:pt>
                <c:pt idx="7164">
                  <c:v>20694</c:v>
                </c:pt>
                <c:pt idx="7165">
                  <c:v>20695</c:v>
                </c:pt>
                <c:pt idx="7166">
                  <c:v>20696</c:v>
                </c:pt>
                <c:pt idx="7167">
                  <c:v>20697</c:v>
                </c:pt>
                <c:pt idx="7168">
                  <c:v>20698</c:v>
                </c:pt>
                <c:pt idx="7169">
                  <c:v>20702</c:v>
                </c:pt>
                <c:pt idx="7170">
                  <c:v>20703</c:v>
                </c:pt>
                <c:pt idx="7171">
                  <c:v>20704</c:v>
                </c:pt>
                <c:pt idx="7172">
                  <c:v>20705</c:v>
                </c:pt>
                <c:pt idx="7173">
                  <c:v>20708</c:v>
                </c:pt>
                <c:pt idx="7174">
                  <c:v>20709</c:v>
                </c:pt>
                <c:pt idx="7175">
                  <c:v>20710</c:v>
                </c:pt>
                <c:pt idx="7176">
                  <c:v>20711</c:v>
                </c:pt>
                <c:pt idx="7177">
                  <c:v>20712</c:v>
                </c:pt>
                <c:pt idx="7178">
                  <c:v>20715</c:v>
                </c:pt>
                <c:pt idx="7179">
                  <c:v>20716</c:v>
                </c:pt>
                <c:pt idx="7180">
                  <c:v>20717</c:v>
                </c:pt>
                <c:pt idx="7181">
                  <c:v>20718</c:v>
                </c:pt>
                <c:pt idx="7182">
                  <c:v>20719</c:v>
                </c:pt>
                <c:pt idx="7183">
                  <c:v>20722</c:v>
                </c:pt>
                <c:pt idx="7184">
                  <c:v>20723</c:v>
                </c:pt>
                <c:pt idx="7185">
                  <c:v>20724</c:v>
                </c:pt>
                <c:pt idx="7186">
                  <c:v>20725</c:v>
                </c:pt>
                <c:pt idx="7187">
                  <c:v>20726</c:v>
                </c:pt>
                <c:pt idx="7188">
                  <c:v>20729</c:v>
                </c:pt>
                <c:pt idx="7189">
                  <c:v>20730</c:v>
                </c:pt>
                <c:pt idx="7190">
                  <c:v>20731</c:v>
                </c:pt>
                <c:pt idx="7191">
                  <c:v>20732</c:v>
                </c:pt>
                <c:pt idx="7192">
                  <c:v>20733</c:v>
                </c:pt>
                <c:pt idx="7193">
                  <c:v>20736</c:v>
                </c:pt>
                <c:pt idx="7194">
                  <c:v>20737</c:v>
                </c:pt>
                <c:pt idx="7195">
                  <c:v>20738</c:v>
                </c:pt>
                <c:pt idx="7196">
                  <c:v>20739</c:v>
                </c:pt>
                <c:pt idx="7197">
                  <c:v>20740</c:v>
                </c:pt>
                <c:pt idx="7198">
                  <c:v>20743</c:v>
                </c:pt>
                <c:pt idx="7199">
                  <c:v>20744</c:v>
                </c:pt>
                <c:pt idx="7200">
                  <c:v>20745</c:v>
                </c:pt>
                <c:pt idx="7201">
                  <c:v>20746</c:v>
                </c:pt>
                <c:pt idx="7202">
                  <c:v>20747</c:v>
                </c:pt>
                <c:pt idx="7203">
                  <c:v>20750</c:v>
                </c:pt>
                <c:pt idx="7204">
                  <c:v>20751</c:v>
                </c:pt>
                <c:pt idx="7205">
                  <c:v>20752</c:v>
                </c:pt>
                <c:pt idx="7206">
                  <c:v>20753</c:v>
                </c:pt>
                <c:pt idx="7207">
                  <c:v>20754</c:v>
                </c:pt>
                <c:pt idx="7208">
                  <c:v>20757</c:v>
                </c:pt>
                <c:pt idx="7209">
                  <c:v>20758</c:v>
                </c:pt>
                <c:pt idx="7210">
                  <c:v>20759</c:v>
                </c:pt>
                <c:pt idx="7211">
                  <c:v>20760</c:v>
                </c:pt>
                <c:pt idx="7212">
                  <c:v>20761</c:v>
                </c:pt>
                <c:pt idx="7213">
                  <c:v>20764</c:v>
                </c:pt>
                <c:pt idx="7214">
                  <c:v>20766</c:v>
                </c:pt>
                <c:pt idx="7215">
                  <c:v>20767</c:v>
                </c:pt>
                <c:pt idx="7216">
                  <c:v>20768</c:v>
                </c:pt>
                <c:pt idx="7217">
                  <c:v>20771</c:v>
                </c:pt>
                <c:pt idx="7218">
                  <c:v>20772</c:v>
                </c:pt>
                <c:pt idx="7219">
                  <c:v>20773</c:v>
                </c:pt>
                <c:pt idx="7220">
                  <c:v>20774</c:v>
                </c:pt>
                <c:pt idx="7221">
                  <c:v>20775</c:v>
                </c:pt>
                <c:pt idx="7222">
                  <c:v>20778</c:v>
                </c:pt>
                <c:pt idx="7223">
                  <c:v>20779</c:v>
                </c:pt>
                <c:pt idx="7224">
                  <c:v>20780</c:v>
                </c:pt>
                <c:pt idx="7225">
                  <c:v>20782</c:v>
                </c:pt>
                <c:pt idx="7226">
                  <c:v>20785</c:v>
                </c:pt>
                <c:pt idx="7227">
                  <c:v>20786</c:v>
                </c:pt>
                <c:pt idx="7228">
                  <c:v>20787</c:v>
                </c:pt>
                <c:pt idx="7229">
                  <c:v>20788</c:v>
                </c:pt>
                <c:pt idx="7230">
                  <c:v>20789</c:v>
                </c:pt>
                <c:pt idx="7231">
                  <c:v>20792</c:v>
                </c:pt>
                <c:pt idx="7232">
                  <c:v>20793</c:v>
                </c:pt>
                <c:pt idx="7233">
                  <c:v>20794</c:v>
                </c:pt>
                <c:pt idx="7234">
                  <c:v>20795</c:v>
                </c:pt>
                <c:pt idx="7235">
                  <c:v>20796</c:v>
                </c:pt>
                <c:pt idx="7236">
                  <c:v>20799</c:v>
                </c:pt>
                <c:pt idx="7237">
                  <c:v>20800</c:v>
                </c:pt>
                <c:pt idx="7238">
                  <c:v>20801</c:v>
                </c:pt>
                <c:pt idx="7239">
                  <c:v>20802</c:v>
                </c:pt>
                <c:pt idx="7240">
                  <c:v>20803</c:v>
                </c:pt>
                <c:pt idx="7241">
                  <c:v>20806</c:v>
                </c:pt>
                <c:pt idx="7242">
                  <c:v>20807</c:v>
                </c:pt>
                <c:pt idx="7243">
                  <c:v>20808</c:v>
                </c:pt>
                <c:pt idx="7244">
                  <c:v>20809</c:v>
                </c:pt>
                <c:pt idx="7245">
                  <c:v>20810</c:v>
                </c:pt>
                <c:pt idx="7246">
                  <c:v>20815</c:v>
                </c:pt>
                <c:pt idx="7247">
                  <c:v>20816</c:v>
                </c:pt>
                <c:pt idx="7248">
                  <c:v>20817</c:v>
                </c:pt>
                <c:pt idx="7249">
                  <c:v>20820</c:v>
                </c:pt>
                <c:pt idx="7250">
                  <c:v>20822</c:v>
                </c:pt>
                <c:pt idx="7251">
                  <c:v>20823</c:v>
                </c:pt>
                <c:pt idx="7252">
                  <c:v>20824</c:v>
                </c:pt>
                <c:pt idx="7253">
                  <c:v>20827</c:v>
                </c:pt>
                <c:pt idx="7254">
                  <c:v>20828</c:v>
                </c:pt>
                <c:pt idx="7255">
                  <c:v>20829</c:v>
                </c:pt>
                <c:pt idx="7256">
                  <c:v>20830</c:v>
                </c:pt>
                <c:pt idx="7257">
                  <c:v>20831</c:v>
                </c:pt>
                <c:pt idx="7258">
                  <c:v>20834</c:v>
                </c:pt>
                <c:pt idx="7259">
                  <c:v>20835</c:v>
                </c:pt>
                <c:pt idx="7260">
                  <c:v>20836</c:v>
                </c:pt>
                <c:pt idx="7261">
                  <c:v>20837</c:v>
                </c:pt>
                <c:pt idx="7262">
                  <c:v>20838</c:v>
                </c:pt>
                <c:pt idx="7263">
                  <c:v>20841</c:v>
                </c:pt>
                <c:pt idx="7264">
                  <c:v>20842</c:v>
                </c:pt>
                <c:pt idx="7265">
                  <c:v>20843</c:v>
                </c:pt>
                <c:pt idx="7266">
                  <c:v>20844</c:v>
                </c:pt>
                <c:pt idx="7267">
                  <c:v>20845</c:v>
                </c:pt>
                <c:pt idx="7268">
                  <c:v>20848</c:v>
                </c:pt>
                <c:pt idx="7269">
                  <c:v>20849</c:v>
                </c:pt>
                <c:pt idx="7270">
                  <c:v>20850</c:v>
                </c:pt>
                <c:pt idx="7271">
                  <c:v>20851</c:v>
                </c:pt>
                <c:pt idx="7272">
                  <c:v>20852</c:v>
                </c:pt>
                <c:pt idx="7273">
                  <c:v>20855</c:v>
                </c:pt>
                <c:pt idx="7274">
                  <c:v>20856</c:v>
                </c:pt>
                <c:pt idx="7275">
                  <c:v>20857</c:v>
                </c:pt>
                <c:pt idx="7276">
                  <c:v>20858</c:v>
                </c:pt>
                <c:pt idx="7277">
                  <c:v>20859</c:v>
                </c:pt>
                <c:pt idx="7278">
                  <c:v>20862</c:v>
                </c:pt>
                <c:pt idx="7279">
                  <c:v>20863</c:v>
                </c:pt>
                <c:pt idx="7280">
                  <c:v>20864</c:v>
                </c:pt>
                <c:pt idx="7281">
                  <c:v>20865</c:v>
                </c:pt>
                <c:pt idx="7282">
                  <c:v>20866</c:v>
                </c:pt>
                <c:pt idx="7283">
                  <c:v>20869</c:v>
                </c:pt>
                <c:pt idx="7284">
                  <c:v>20870</c:v>
                </c:pt>
                <c:pt idx="7285">
                  <c:v>20871</c:v>
                </c:pt>
                <c:pt idx="7286">
                  <c:v>20872</c:v>
                </c:pt>
                <c:pt idx="7287">
                  <c:v>20876</c:v>
                </c:pt>
                <c:pt idx="7288">
                  <c:v>20877</c:v>
                </c:pt>
                <c:pt idx="7289">
                  <c:v>20878</c:v>
                </c:pt>
                <c:pt idx="7290">
                  <c:v>20879</c:v>
                </c:pt>
                <c:pt idx="7291">
                  <c:v>20880</c:v>
                </c:pt>
                <c:pt idx="7292">
                  <c:v>20883</c:v>
                </c:pt>
                <c:pt idx="7293">
                  <c:v>20884</c:v>
                </c:pt>
                <c:pt idx="7294">
                  <c:v>20885</c:v>
                </c:pt>
                <c:pt idx="7295">
                  <c:v>20886</c:v>
                </c:pt>
                <c:pt idx="7296">
                  <c:v>20887</c:v>
                </c:pt>
                <c:pt idx="7297">
                  <c:v>20890</c:v>
                </c:pt>
                <c:pt idx="7298">
                  <c:v>20891</c:v>
                </c:pt>
                <c:pt idx="7299">
                  <c:v>20892</c:v>
                </c:pt>
                <c:pt idx="7300">
                  <c:v>20893</c:v>
                </c:pt>
                <c:pt idx="7301">
                  <c:v>20894</c:v>
                </c:pt>
                <c:pt idx="7302">
                  <c:v>20897</c:v>
                </c:pt>
                <c:pt idx="7303">
                  <c:v>20898</c:v>
                </c:pt>
                <c:pt idx="7304">
                  <c:v>20899</c:v>
                </c:pt>
                <c:pt idx="7305">
                  <c:v>20900</c:v>
                </c:pt>
                <c:pt idx="7306">
                  <c:v>20901</c:v>
                </c:pt>
                <c:pt idx="7307">
                  <c:v>20904</c:v>
                </c:pt>
                <c:pt idx="7308">
                  <c:v>20905</c:v>
                </c:pt>
                <c:pt idx="7309">
                  <c:v>20906</c:v>
                </c:pt>
                <c:pt idx="7310">
                  <c:v>20907</c:v>
                </c:pt>
                <c:pt idx="7311">
                  <c:v>20908</c:v>
                </c:pt>
                <c:pt idx="7312">
                  <c:v>20911</c:v>
                </c:pt>
                <c:pt idx="7313">
                  <c:v>20912</c:v>
                </c:pt>
                <c:pt idx="7314">
                  <c:v>20913</c:v>
                </c:pt>
                <c:pt idx="7315">
                  <c:v>20914</c:v>
                </c:pt>
                <c:pt idx="7316">
                  <c:v>20915</c:v>
                </c:pt>
                <c:pt idx="7317">
                  <c:v>20918</c:v>
                </c:pt>
                <c:pt idx="7318">
                  <c:v>20919</c:v>
                </c:pt>
                <c:pt idx="7319">
                  <c:v>20920</c:v>
                </c:pt>
                <c:pt idx="7320">
                  <c:v>20921</c:v>
                </c:pt>
                <c:pt idx="7321">
                  <c:v>20922</c:v>
                </c:pt>
                <c:pt idx="7322">
                  <c:v>20925</c:v>
                </c:pt>
                <c:pt idx="7323">
                  <c:v>20926</c:v>
                </c:pt>
                <c:pt idx="7324">
                  <c:v>20927</c:v>
                </c:pt>
                <c:pt idx="7325">
                  <c:v>20928</c:v>
                </c:pt>
                <c:pt idx="7326">
                  <c:v>20932</c:v>
                </c:pt>
                <c:pt idx="7327">
                  <c:v>20933</c:v>
                </c:pt>
                <c:pt idx="7328">
                  <c:v>20934</c:v>
                </c:pt>
                <c:pt idx="7329">
                  <c:v>20935</c:v>
                </c:pt>
                <c:pt idx="7330">
                  <c:v>20936</c:v>
                </c:pt>
                <c:pt idx="7331">
                  <c:v>20939</c:v>
                </c:pt>
                <c:pt idx="7332">
                  <c:v>20940</c:v>
                </c:pt>
                <c:pt idx="7333">
                  <c:v>20941</c:v>
                </c:pt>
                <c:pt idx="7334">
                  <c:v>20942</c:v>
                </c:pt>
                <c:pt idx="7335">
                  <c:v>20943</c:v>
                </c:pt>
                <c:pt idx="7336">
                  <c:v>20946</c:v>
                </c:pt>
                <c:pt idx="7337">
                  <c:v>20947</c:v>
                </c:pt>
                <c:pt idx="7338">
                  <c:v>20948</c:v>
                </c:pt>
                <c:pt idx="7339">
                  <c:v>20949</c:v>
                </c:pt>
                <c:pt idx="7340">
                  <c:v>20950</c:v>
                </c:pt>
                <c:pt idx="7341">
                  <c:v>20953</c:v>
                </c:pt>
                <c:pt idx="7342">
                  <c:v>20954</c:v>
                </c:pt>
                <c:pt idx="7343">
                  <c:v>20955</c:v>
                </c:pt>
                <c:pt idx="7344">
                  <c:v>20956</c:v>
                </c:pt>
                <c:pt idx="7345">
                  <c:v>20957</c:v>
                </c:pt>
                <c:pt idx="7346">
                  <c:v>20960</c:v>
                </c:pt>
                <c:pt idx="7347">
                  <c:v>20961</c:v>
                </c:pt>
                <c:pt idx="7348">
                  <c:v>20962</c:v>
                </c:pt>
                <c:pt idx="7349">
                  <c:v>20963</c:v>
                </c:pt>
                <c:pt idx="7350">
                  <c:v>20964</c:v>
                </c:pt>
                <c:pt idx="7351">
                  <c:v>20967</c:v>
                </c:pt>
                <c:pt idx="7352">
                  <c:v>20968</c:v>
                </c:pt>
                <c:pt idx="7353">
                  <c:v>20969</c:v>
                </c:pt>
                <c:pt idx="7354">
                  <c:v>20971</c:v>
                </c:pt>
                <c:pt idx="7355">
                  <c:v>20974</c:v>
                </c:pt>
                <c:pt idx="7356">
                  <c:v>20975</c:v>
                </c:pt>
                <c:pt idx="7357">
                  <c:v>20976</c:v>
                </c:pt>
                <c:pt idx="7358">
                  <c:v>20977</c:v>
                </c:pt>
                <c:pt idx="7359">
                  <c:v>20978</c:v>
                </c:pt>
                <c:pt idx="7360">
                  <c:v>20981</c:v>
                </c:pt>
                <c:pt idx="7361">
                  <c:v>20982</c:v>
                </c:pt>
                <c:pt idx="7362">
                  <c:v>20983</c:v>
                </c:pt>
                <c:pt idx="7363">
                  <c:v>20984</c:v>
                </c:pt>
                <c:pt idx="7364">
                  <c:v>20985</c:v>
                </c:pt>
                <c:pt idx="7365">
                  <c:v>20988</c:v>
                </c:pt>
                <c:pt idx="7366">
                  <c:v>20989</c:v>
                </c:pt>
                <c:pt idx="7367">
                  <c:v>20990</c:v>
                </c:pt>
                <c:pt idx="7368">
                  <c:v>20991</c:v>
                </c:pt>
                <c:pt idx="7369">
                  <c:v>20992</c:v>
                </c:pt>
                <c:pt idx="7370">
                  <c:v>20995</c:v>
                </c:pt>
                <c:pt idx="7371">
                  <c:v>20996</c:v>
                </c:pt>
                <c:pt idx="7372">
                  <c:v>20997</c:v>
                </c:pt>
                <c:pt idx="7373">
                  <c:v>20998</c:v>
                </c:pt>
                <c:pt idx="7374">
                  <c:v>20999</c:v>
                </c:pt>
                <c:pt idx="7375">
                  <c:v>21002</c:v>
                </c:pt>
                <c:pt idx="7376">
                  <c:v>21003</c:v>
                </c:pt>
                <c:pt idx="7377">
                  <c:v>21004</c:v>
                </c:pt>
                <c:pt idx="7378">
                  <c:v>21006</c:v>
                </c:pt>
                <c:pt idx="7379">
                  <c:v>21009</c:v>
                </c:pt>
                <c:pt idx="7380">
                  <c:v>21010</c:v>
                </c:pt>
                <c:pt idx="7381">
                  <c:v>21011</c:v>
                </c:pt>
                <c:pt idx="7382">
                  <c:v>21012</c:v>
                </c:pt>
                <c:pt idx="7383">
                  <c:v>21013</c:v>
                </c:pt>
                <c:pt idx="7384">
                  <c:v>21016</c:v>
                </c:pt>
                <c:pt idx="7385">
                  <c:v>21017</c:v>
                </c:pt>
                <c:pt idx="7386">
                  <c:v>21018</c:v>
                </c:pt>
                <c:pt idx="7387">
                  <c:v>21019</c:v>
                </c:pt>
                <c:pt idx="7388">
                  <c:v>21020</c:v>
                </c:pt>
                <c:pt idx="7389">
                  <c:v>21023</c:v>
                </c:pt>
                <c:pt idx="7390">
                  <c:v>21024</c:v>
                </c:pt>
                <c:pt idx="7391">
                  <c:v>21025</c:v>
                </c:pt>
                <c:pt idx="7392">
                  <c:v>21026</c:v>
                </c:pt>
                <c:pt idx="7393">
                  <c:v>21027</c:v>
                </c:pt>
                <c:pt idx="7394">
                  <c:v>21030</c:v>
                </c:pt>
                <c:pt idx="7395">
                  <c:v>21031</c:v>
                </c:pt>
                <c:pt idx="7396">
                  <c:v>21032</c:v>
                </c:pt>
                <c:pt idx="7397">
                  <c:v>21033</c:v>
                </c:pt>
                <c:pt idx="7398">
                  <c:v>21034</c:v>
                </c:pt>
                <c:pt idx="7399">
                  <c:v>21037</c:v>
                </c:pt>
                <c:pt idx="7400">
                  <c:v>21038</c:v>
                </c:pt>
                <c:pt idx="7401">
                  <c:v>21039</c:v>
                </c:pt>
                <c:pt idx="7402">
                  <c:v>21040</c:v>
                </c:pt>
                <c:pt idx="7403">
                  <c:v>21041</c:v>
                </c:pt>
                <c:pt idx="7404">
                  <c:v>21044</c:v>
                </c:pt>
                <c:pt idx="7405">
                  <c:v>21045</c:v>
                </c:pt>
                <c:pt idx="7406">
                  <c:v>21046</c:v>
                </c:pt>
                <c:pt idx="7407">
                  <c:v>21047</c:v>
                </c:pt>
                <c:pt idx="7408">
                  <c:v>21048</c:v>
                </c:pt>
                <c:pt idx="7409">
                  <c:v>21051</c:v>
                </c:pt>
                <c:pt idx="7410">
                  <c:v>21052</c:v>
                </c:pt>
                <c:pt idx="7411">
                  <c:v>21053</c:v>
                </c:pt>
                <c:pt idx="7412">
                  <c:v>21054</c:v>
                </c:pt>
                <c:pt idx="7413">
                  <c:v>21055</c:v>
                </c:pt>
                <c:pt idx="7414">
                  <c:v>21058</c:v>
                </c:pt>
                <c:pt idx="7415">
                  <c:v>21059</c:v>
                </c:pt>
                <c:pt idx="7416">
                  <c:v>21060</c:v>
                </c:pt>
                <c:pt idx="7417">
                  <c:v>21061</c:v>
                </c:pt>
                <c:pt idx="7418">
                  <c:v>21062</c:v>
                </c:pt>
                <c:pt idx="7419">
                  <c:v>21066</c:v>
                </c:pt>
                <c:pt idx="7420">
                  <c:v>21067</c:v>
                </c:pt>
                <c:pt idx="7421">
                  <c:v>21068</c:v>
                </c:pt>
                <c:pt idx="7422">
                  <c:v>21069</c:v>
                </c:pt>
                <c:pt idx="7423">
                  <c:v>21072</c:v>
                </c:pt>
                <c:pt idx="7424">
                  <c:v>21073</c:v>
                </c:pt>
                <c:pt idx="7425">
                  <c:v>21074</c:v>
                </c:pt>
                <c:pt idx="7426">
                  <c:v>21075</c:v>
                </c:pt>
                <c:pt idx="7427">
                  <c:v>21076</c:v>
                </c:pt>
                <c:pt idx="7428">
                  <c:v>21079</c:v>
                </c:pt>
                <c:pt idx="7429">
                  <c:v>21080</c:v>
                </c:pt>
                <c:pt idx="7430">
                  <c:v>21081</c:v>
                </c:pt>
                <c:pt idx="7431">
                  <c:v>21082</c:v>
                </c:pt>
                <c:pt idx="7432">
                  <c:v>21083</c:v>
                </c:pt>
                <c:pt idx="7433">
                  <c:v>21086</c:v>
                </c:pt>
                <c:pt idx="7434">
                  <c:v>21087</c:v>
                </c:pt>
                <c:pt idx="7435">
                  <c:v>21088</c:v>
                </c:pt>
                <c:pt idx="7436">
                  <c:v>21089</c:v>
                </c:pt>
                <c:pt idx="7437">
                  <c:v>21090</c:v>
                </c:pt>
                <c:pt idx="7438">
                  <c:v>21093</c:v>
                </c:pt>
                <c:pt idx="7439">
                  <c:v>21094</c:v>
                </c:pt>
                <c:pt idx="7440">
                  <c:v>21095</c:v>
                </c:pt>
                <c:pt idx="7441">
                  <c:v>21096</c:v>
                </c:pt>
                <c:pt idx="7442">
                  <c:v>21097</c:v>
                </c:pt>
                <c:pt idx="7443">
                  <c:v>21100</c:v>
                </c:pt>
                <c:pt idx="7444">
                  <c:v>21101</c:v>
                </c:pt>
                <c:pt idx="7445">
                  <c:v>21102</c:v>
                </c:pt>
                <c:pt idx="7446">
                  <c:v>21103</c:v>
                </c:pt>
                <c:pt idx="7447">
                  <c:v>21104</c:v>
                </c:pt>
                <c:pt idx="7448">
                  <c:v>21107</c:v>
                </c:pt>
                <c:pt idx="7449">
                  <c:v>21108</c:v>
                </c:pt>
                <c:pt idx="7450">
                  <c:v>21109</c:v>
                </c:pt>
                <c:pt idx="7451">
                  <c:v>21110</c:v>
                </c:pt>
                <c:pt idx="7452">
                  <c:v>21111</c:v>
                </c:pt>
                <c:pt idx="7453">
                  <c:v>21114</c:v>
                </c:pt>
                <c:pt idx="7454">
                  <c:v>21115</c:v>
                </c:pt>
                <c:pt idx="7455">
                  <c:v>21116</c:v>
                </c:pt>
                <c:pt idx="7456">
                  <c:v>21117</c:v>
                </c:pt>
                <c:pt idx="7457">
                  <c:v>21118</c:v>
                </c:pt>
                <c:pt idx="7458">
                  <c:v>21121</c:v>
                </c:pt>
                <c:pt idx="7459">
                  <c:v>21122</c:v>
                </c:pt>
                <c:pt idx="7460">
                  <c:v>21123</c:v>
                </c:pt>
                <c:pt idx="7461">
                  <c:v>21124</c:v>
                </c:pt>
                <c:pt idx="7462">
                  <c:v>21125</c:v>
                </c:pt>
                <c:pt idx="7463">
                  <c:v>21128</c:v>
                </c:pt>
                <c:pt idx="7464">
                  <c:v>21130</c:v>
                </c:pt>
                <c:pt idx="7465">
                  <c:v>21131</c:v>
                </c:pt>
                <c:pt idx="7466">
                  <c:v>21132</c:v>
                </c:pt>
                <c:pt idx="7467">
                  <c:v>21135</c:v>
                </c:pt>
                <c:pt idx="7468">
                  <c:v>21136</c:v>
                </c:pt>
                <c:pt idx="7469">
                  <c:v>21137</c:v>
                </c:pt>
                <c:pt idx="7470">
                  <c:v>21138</c:v>
                </c:pt>
                <c:pt idx="7471">
                  <c:v>21139</c:v>
                </c:pt>
                <c:pt idx="7472">
                  <c:v>21142</c:v>
                </c:pt>
                <c:pt idx="7473">
                  <c:v>21143</c:v>
                </c:pt>
                <c:pt idx="7474">
                  <c:v>21144</c:v>
                </c:pt>
                <c:pt idx="7475">
                  <c:v>21145</c:v>
                </c:pt>
                <c:pt idx="7476">
                  <c:v>21146</c:v>
                </c:pt>
                <c:pt idx="7477">
                  <c:v>21149</c:v>
                </c:pt>
                <c:pt idx="7478">
                  <c:v>21150</c:v>
                </c:pt>
                <c:pt idx="7479">
                  <c:v>21151</c:v>
                </c:pt>
                <c:pt idx="7480">
                  <c:v>21153</c:v>
                </c:pt>
                <c:pt idx="7481">
                  <c:v>21156</c:v>
                </c:pt>
                <c:pt idx="7482">
                  <c:v>21157</c:v>
                </c:pt>
                <c:pt idx="7483">
                  <c:v>21158</c:v>
                </c:pt>
                <c:pt idx="7484">
                  <c:v>21159</c:v>
                </c:pt>
                <c:pt idx="7485">
                  <c:v>21160</c:v>
                </c:pt>
                <c:pt idx="7486">
                  <c:v>21163</c:v>
                </c:pt>
                <c:pt idx="7487">
                  <c:v>21164</c:v>
                </c:pt>
                <c:pt idx="7488">
                  <c:v>21165</c:v>
                </c:pt>
                <c:pt idx="7489">
                  <c:v>21166</c:v>
                </c:pt>
                <c:pt idx="7490">
                  <c:v>21167</c:v>
                </c:pt>
                <c:pt idx="7491">
                  <c:v>21170</c:v>
                </c:pt>
                <c:pt idx="7492">
                  <c:v>21171</c:v>
                </c:pt>
                <c:pt idx="7493">
                  <c:v>21172</c:v>
                </c:pt>
                <c:pt idx="7494">
                  <c:v>21173</c:v>
                </c:pt>
                <c:pt idx="7495">
                  <c:v>21174</c:v>
                </c:pt>
                <c:pt idx="7496">
                  <c:v>21177</c:v>
                </c:pt>
                <c:pt idx="7497">
                  <c:v>21178</c:v>
                </c:pt>
                <c:pt idx="7498">
                  <c:v>21180</c:v>
                </c:pt>
                <c:pt idx="7499">
                  <c:v>21181</c:v>
                </c:pt>
                <c:pt idx="7500">
                  <c:v>21184</c:v>
                </c:pt>
                <c:pt idx="7501">
                  <c:v>21185</c:v>
                </c:pt>
                <c:pt idx="7502">
                  <c:v>21187</c:v>
                </c:pt>
                <c:pt idx="7503">
                  <c:v>21188</c:v>
                </c:pt>
                <c:pt idx="7504">
                  <c:v>21191</c:v>
                </c:pt>
                <c:pt idx="7505">
                  <c:v>21192</c:v>
                </c:pt>
                <c:pt idx="7506">
                  <c:v>21193</c:v>
                </c:pt>
                <c:pt idx="7507">
                  <c:v>21194</c:v>
                </c:pt>
                <c:pt idx="7508">
                  <c:v>21195</c:v>
                </c:pt>
                <c:pt idx="7509">
                  <c:v>21198</c:v>
                </c:pt>
                <c:pt idx="7510">
                  <c:v>21199</c:v>
                </c:pt>
                <c:pt idx="7511">
                  <c:v>21200</c:v>
                </c:pt>
                <c:pt idx="7512">
                  <c:v>21201</c:v>
                </c:pt>
                <c:pt idx="7513">
                  <c:v>21202</c:v>
                </c:pt>
                <c:pt idx="7514">
                  <c:v>21205</c:v>
                </c:pt>
                <c:pt idx="7515">
                  <c:v>21206</c:v>
                </c:pt>
                <c:pt idx="7516">
                  <c:v>21207</c:v>
                </c:pt>
                <c:pt idx="7517">
                  <c:v>21208</c:v>
                </c:pt>
                <c:pt idx="7518">
                  <c:v>21209</c:v>
                </c:pt>
                <c:pt idx="7519">
                  <c:v>21212</c:v>
                </c:pt>
                <c:pt idx="7520">
                  <c:v>21213</c:v>
                </c:pt>
                <c:pt idx="7521">
                  <c:v>21214</c:v>
                </c:pt>
                <c:pt idx="7522">
                  <c:v>21215</c:v>
                </c:pt>
                <c:pt idx="7523">
                  <c:v>21216</c:v>
                </c:pt>
                <c:pt idx="7524">
                  <c:v>21219</c:v>
                </c:pt>
                <c:pt idx="7525">
                  <c:v>21220</c:v>
                </c:pt>
                <c:pt idx="7526">
                  <c:v>21221</c:v>
                </c:pt>
                <c:pt idx="7527">
                  <c:v>21222</c:v>
                </c:pt>
                <c:pt idx="7528">
                  <c:v>21223</c:v>
                </c:pt>
                <c:pt idx="7529">
                  <c:v>21226</c:v>
                </c:pt>
                <c:pt idx="7530">
                  <c:v>21227</c:v>
                </c:pt>
                <c:pt idx="7531">
                  <c:v>21228</c:v>
                </c:pt>
                <c:pt idx="7532">
                  <c:v>21229</c:v>
                </c:pt>
                <c:pt idx="7533">
                  <c:v>21230</c:v>
                </c:pt>
                <c:pt idx="7534">
                  <c:v>21233</c:v>
                </c:pt>
                <c:pt idx="7535">
                  <c:v>21234</c:v>
                </c:pt>
                <c:pt idx="7536">
                  <c:v>21235</c:v>
                </c:pt>
                <c:pt idx="7537">
                  <c:v>21236</c:v>
                </c:pt>
                <c:pt idx="7538">
                  <c:v>21237</c:v>
                </c:pt>
                <c:pt idx="7539">
                  <c:v>21240</c:v>
                </c:pt>
                <c:pt idx="7540">
                  <c:v>21241</c:v>
                </c:pt>
                <c:pt idx="7541">
                  <c:v>21242</c:v>
                </c:pt>
                <c:pt idx="7542">
                  <c:v>21243</c:v>
                </c:pt>
                <c:pt idx="7543">
                  <c:v>21244</c:v>
                </c:pt>
                <c:pt idx="7544">
                  <c:v>21247</c:v>
                </c:pt>
                <c:pt idx="7545">
                  <c:v>21248</c:v>
                </c:pt>
                <c:pt idx="7546">
                  <c:v>21249</c:v>
                </c:pt>
                <c:pt idx="7547">
                  <c:v>21250</c:v>
                </c:pt>
                <c:pt idx="7548">
                  <c:v>21251</c:v>
                </c:pt>
                <c:pt idx="7549">
                  <c:v>21254</c:v>
                </c:pt>
                <c:pt idx="7550">
                  <c:v>21255</c:v>
                </c:pt>
                <c:pt idx="7551">
                  <c:v>21256</c:v>
                </c:pt>
                <c:pt idx="7552">
                  <c:v>21257</c:v>
                </c:pt>
                <c:pt idx="7553">
                  <c:v>21258</c:v>
                </c:pt>
                <c:pt idx="7554">
                  <c:v>21261</c:v>
                </c:pt>
                <c:pt idx="7555">
                  <c:v>21262</c:v>
                </c:pt>
                <c:pt idx="7556">
                  <c:v>21263</c:v>
                </c:pt>
                <c:pt idx="7557">
                  <c:v>21264</c:v>
                </c:pt>
                <c:pt idx="7558">
                  <c:v>21265</c:v>
                </c:pt>
                <c:pt idx="7559">
                  <c:v>21268</c:v>
                </c:pt>
                <c:pt idx="7560">
                  <c:v>21269</c:v>
                </c:pt>
                <c:pt idx="7561">
                  <c:v>21270</c:v>
                </c:pt>
                <c:pt idx="7562">
                  <c:v>21271</c:v>
                </c:pt>
                <c:pt idx="7563">
                  <c:v>21272</c:v>
                </c:pt>
                <c:pt idx="7564">
                  <c:v>21275</c:v>
                </c:pt>
                <c:pt idx="7565">
                  <c:v>21276</c:v>
                </c:pt>
                <c:pt idx="7566">
                  <c:v>21277</c:v>
                </c:pt>
                <c:pt idx="7567">
                  <c:v>21278</c:v>
                </c:pt>
                <c:pt idx="7568">
                  <c:v>21282</c:v>
                </c:pt>
                <c:pt idx="7569">
                  <c:v>21283</c:v>
                </c:pt>
                <c:pt idx="7570">
                  <c:v>21284</c:v>
                </c:pt>
                <c:pt idx="7571">
                  <c:v>21285</c:v>
                </c:pt>
                <c:pt idx="7572">
                  <c:v>21286</c:v>
                </c:pt>
                <c:pt idx="7573">
                  <c:v>21289</c:v>
                </c:pt>
                <c:pt idx="7574">
                  <c:v>21290</c:v>
                </c:pt>
                <c:pt idx="7575">
                  <c:v>21291</c:v>
                </c:pt>
                <c:pt idx="7576">
                  <c:v>21292</c:v>
                </c:pt>
                <c:pt idx="7577">
                  <c:v>21293</c:v>
                </c:pt>
                <c:pt idx="7578">
                  <c:v>21296</c:v>
                </c:pt>
                <c:pt idx="7579">
                  <c:v>21297</c:v>
                </c:pt>
                <c:pt idx="7580">
                  <c:v>21298</c:v>
                </c:pt>
                <c:pt idx="7581">
                  <c:v>21299</c:v>
                </c:pt>
                <c:pt idx="7582">
                  <c:v>21300</c:v>
                </c:pt>
                <c:pt idx="7583">
                  <c:v>21303</c:v>
                </c:pt>
                <c:pt idx="7584">
                  <c:v>21304</c:v>
                </c:pt>
                <c:pt idx="7585">
                  <c:v>21305</c:v>
                </c:pt>
                <c:pt idx="7586">
                  <c:v>21306</c:v>
                </c:pt>
                <c:pt idx="7587">
                  <c:v>21307</c:v>
                </c:pt>
                <c:pt idx="7588">
                  <c:v>21310</c:v>
                </c:pt>
                <c:pt idx="7589">
                  <c:v>21311</c:v>
                </c:pt>
                <c:pt idx="7590">
                  <c:v>21312</c:v>
                </c:pt>
                <c:pt idx="7591">
                  <c:v>21313</c:v>
                </c:pt>
                <c:pt idx="7592">
                  <c:v>21314</c:v>
                </c:pt>
                <c:pt idx="7593">
                  <c:v>21317</c:v>
                </c:pt>
                <c:pt idx="7594">
                  <c:v>21318</c:v>
                </c:pt>
                <c:pt idx="7595">
                  <c:v>21319</c:v>
                </c:pt>
                <c:pt idx="7596">
                  <c:v>21320</c:v>
                </c:pt>
                <c:pt idx="7597">
                  <c:v>21321</c:v>
                </c:pt>
                <c:pt idx="7598">
                  <c:v>21324</c:v>
                </c:pt>
                <c:pt idx="7599">
                  <c:v>21325</c:v>
                </c:pt>
                <c:pt idx="7600">
                  <c:v>21326</c:v>
                </c:pt>
                <c:pt idx="7601">
                  <c:v>21327</c:v>
                </c:pt>
                <c:pt idx="7602">
                  <c:v>21328</c:v>
                </c:pt>
                <c:pt idx="7603">
                  <c:v>21331</c:v>
                </c:pt>
                <c:pt idx="7604">
                  <c:v>21332</c:v>
                </c:pt>
                <c:pt idx="7605">
                  <c:v>21333</c:v>
                </c:pt>
                <c:pt idx="7606">
                  <c:v>21334</c:v>
                </c:pt>
                <c:pt idx="7607">
                  <c:v>21338</c:v>
                </c:pt>
                <c:pt idx="7608">
                  <c:v>21339</c:v>
                </c:pt>
                <c:pt idx="7609">
                  <c:v>21340</c:v>
                </c:pt>
                <c:pt idx="7610">
                  <c:v>21341</c:v>
                </c:pt>
                <c:pt idx="7611">
                  <c:v>21342</c:v>
                </c:pt>
                <c:pt idx="7612">
                  <c:v>21345</c:v>
                </c:pt>
                <c:pt idx="7613">
                  <c:v>21346</c:v>
                </c:pt>
                <c:pt idx="7614">
                  <c:v>21347</c:v>
                </c:pt>
                <c:pt idx="7615">
                  <c:v>21348</c:v>
                </c:pt>
                <c:pt idx="7616">
                  <c:v>21349</c:v>
                </c:pt>
                <c:pt idx="7617">
                  <c:v>21352</c:v>
                </c:pt>
                <c:pt idx="7618">
                  <c:v>21353</c:v>
                </c:pt>
                <c:pt idx="7619">
                  <c:v>21354</c:v>
                </c:pt>
                <c:pt idx="7620">
                  <c:v>21355</c:v>
                </c:pt>
                <c:pt idx="7621">
                  <c:v>21356</c:v>
                </c:pt>
                <c:pt idx="7622">
                  <c:v>21359</c:v>
                </c:pt>
                <c:pt idx="7623">
                  <c:v>21360</c:v>
                </c:pt>
                <c:pt idx="7624">
                  <c:v>21361</c:v>
                </c:pt>
                <c:pt idx="7625">
                  <c:v>21362</c:v>
                </c:pt>
                <c:pt idx="7626">
                  <c:v>21363</c:v>
                </c:pt>
                <c:pt idx="7627">
                  <c:v>21366</c:v>
                </c:pt>
                <c:pt idx="7628">
                  <c:v>21367</c:v>
                </c:pt>
                <c:pt idx="7629">
                  <c:v>21368</c:v>
                </c:pt>
                <c:pt idx="7630">
                  <c:v>21369</c:v>
                </c:pt>
                <c:pt idx="7631">
                  <c:v>21373</c:v>
                </c:pt>
                <c:pt idx="7632">
                  <c:v>21374</c:v>
                </c:pt>
                <c:pt idx="7633">
                  <c:v>21375</c:v>
                </c:pt>
                <c:pt idx="7634">
                  <c:v>21376</c:v>
                </c:pt>
                <c:pt idx="7635">
                  <c:v>21377</c:v>
                </c:pt>
                <c:pt idx="7636">
                  <c:v>21380</c:v>
                </c:pt>
                <c:pt idx="7637">
                  <c:v>21381</c:v>
                </c:pt>
                <c:pt idx="7638">
                  <c:v>21382</c:v>
                </c:pt>
                <c:pt idx="7639">
                  <c:v>21383</c:v>
                </c:pt>
                <c:pt idx="7640">
                  <c:v>21384</c:v>
                </c:pt>
                <c:pt idx="7641">
                  <c:v>21387</c:v>
                </c:pt>
                <c:pt idx="7642">
                  <c:v>21388</c:v>
                </c:pt>
                <c:pt idx="7643">
                  <c:v>21389</c:v>
                </c:pt>
                <c:pt idx="7644">
                  <c:v>21390</c:v>
                </c:pt>
                <c:pt idx="7645">
                  <c:v>21391</c:v>
                </c:pt>
                <c:pt idx="7646">
                  <c:v>21394</c:v>
                </c:pt>
                <c:pt idx="7647">
                  <c:v>21395</c:v>
                </c:pt>
                <c:pt idx="7648">
                  <c:v>21396</c:v>
                </c:pt>
                <c:pt idx="7649">
                  <c:v>21397</c:v>
                </c:pt>
                <c:pt idx="7650">
                  <c:v>21398</c:v>
                </c:pt>
                <c:pt idx="7651">
                  <c:v>21401</c:v>
                </c:pt>
                <c:pt idx="7652">
                  <c:v>21402</c:v>
                </c:pt>
                <c:pt idx="7653">
                  <c:v>21403</c:v>
                </c:pt>
                <c:pt idx="7654">
                  <c:v>21404</c:v>
                </c:pt>
                <c:pt idx="7655">
                  <c:v>21405</c:v>
                </c:pt>
                <c:pt idx="7656">
                  <c:v>21408</c:v>
                </c:pt>
                <c:pt idx="7657">
                  <c:v>21409</c:v>
                </c:pt>
                <c:pt idx="7658">
                  <c:v>21410</c:v>
                </c:pt>
                <c:pt idx="7659">
                  <c:v>21411</c:v>
                </c:pt>
                <c:pt idx="7660">
                  <c:v>21412</c:v>
                </c:pt>
                <c:pt idx="7661">
                  <c:v>21415</c:v>
                </c:pt>
                <c:pt idx="7662">
                  <c:v>21416</c:v>
                </c:pt>
                <c:pt idx="7663">
                  <c:v>21417</c:v>
                </c:pt>
                <c:pt idx="7664">
                  <c:v>21418</c:v>
                </c:pt>
                <c:pt idx="7665">
                  <c:v>21419</c:v>
                </c:pt>
                <c:pt idx="7666">
                  <c:v>21422</c:v>
                </c:pt>
                <c:pt idx="7667">
                  <c:v>21423</c:v>
                </c:pt>
                <c:pt idx="7668">
                  <c:v>21424</c:v>
                </c:pt>
                <c:pt idx="7669">
                  <c:v>21425</c:v>
                </c:pt>
                <c:pt idx="7670">
                  <c:v>21426</c:v>
                </c:pt>
                <c:pt idx="7671">
                  <c:v>21430</c:v>
                </c:pt>
                <c:pt idx="7672">
                  <c:v>21431</c:v>
                </c:pt>
                <c:pt idx="7673">
                  <c:v>21432</c:v>
                </c:pt>
                <c:pt idx="7674">
                  <c:v>21433</c:v>
                </c:pt>
                <c:pt idx="7675">
                  <c:v>21436</c:v>
                </c:pt>
                <c:pt idx="7676">
                  <c:v>21437</c:v>
                </c:pt>
                <c:pt idx="7677">
                  <c:v>21438</c:v>
                </c:pt>
                <c:pt idx="7678">
                  <c:v>21439</c:v>
                </c:pt>
                <c:pt idx="7679">
                  <c:v>21440</c:v>
                </c:pt>
                <c:pt idx="7680">
                  <c:v>21443</c:v>
                </c:pt>
                <c:pt idx="7681">
                  <c:v>21444</c:v>
                </c:pt>
                <c:pt idx="7682">
                  <c:v>21445</c:v>
                </c:pt>
                <c:pt idx="7683">
                  <c:v>21446</c:v>
                </c:pt>
                <c:pt idx="7684">
                  <c:v>21447</c:v>
                </c:pt>
                <c:pt idx="7685">
                  <c:v>21450</c:v>
                </c:pt>
                <c:pt idx="7686">
                  <c:v>21451</c:v>
                </c:pt>
                <c:pt idx="7687">
                  <c:v>21452</c:v>
                </c:pt>
                <c:pt idx="7688">
                  <c:v>21453</c:v>
                </c:pt>
                <c:pt idx="7689">
                  <c:v>21454</c:v>
                </c:pt>
                <c:pt idx="7690">
                  <c:v>21457</c:v>
                </c:pt>
                <c:pt idx="7691">
                  <c:v>21458</c:v>
                </c:pt>
                <c:pt idx="7692">
                  <c:v>21459</c:v>
                </c:pt>
                <c:pt idx="7693">
                  <c:v>21460</c:v>
                </c:pt>
                <c:pt idx="7694">
                  <c:v>21461</c:v>
                </c:pt>
                <c:pt idx="7695">
                  <c:v>21464</c:v>
                </c:pt>
                <c:pt idx="7696">
                  <c:v>21465</c:v>
                </c:pt>
                <c:pt idx="7697">
                  <c:v>21466</c:v>
                </c:pt>
                <c:pt idx="7698">
                  <c:v>21467</c:v>
                </c:pt>
                <c:pt idx="7699">
                  <c:v>21468</c:v>
                </c:pt>
                <c:pt idx="7700">
                  <c:v>21471</c:v>
                </c:pt>
                <c:pt idx="7701">
                  <c:v>21472</c:v>
                </c:pt>
                <c:pt idx="7702">
                  <c:v>21473</c:v>
                </c:pt>
                <c:pt idx="7703">
                  <c:v>21474</c:v>
                </c:pt>
                <c:pt idx="7704">
                  <c:v>21475</c:v>
                </c:pt>
                <c:pt idx="7705">
                  <c:v>21478</c:v>
                </c:pt>
                <c:pt idx="7706">
                  <c:v>21479</c:v>
                </c:pt>
                <c:pt idx="7707">
                  <c:v>21480</c:v>
                </c:pt>
                <c:pt idx="7708">
                  <c:v>21481</c:v>
                </c:pt>
                <c:pt idx="7709">
                  <c:v>21482</c:v>
                </c:pt>
                <c:pt idx="7710">
                  <c:v>21485</c:v>
                </c:pt>
                <c:pt idx="7711">
                  <c:v>21486</c:v>
                </c:pt>
                <c:pt idx="7712">
                  <c:v>21487</c:v>
                </c:pt>
                <c:pt idx="7713">
                  <c:v>21488</c:v>
                </c:pt>
                <c:pt idx="7714">
                  <c:v>21489</c:v>
                </c:pt>
                <c:pt idx="7715">
                  <c:v>21492</c:v>
                </c:pt>
                <c:pt idx="7716">
                  <c:v>21494</c:v>
                </c:pt>
                <c:pt idx="7717">
                  <c:v>21495</c:v>
                </c:pt>
                <c:pt idx="7718">
                  <c:v>21496</c:v>
                </c:pt>
                <c:pt idx="7719">
                  <c:v>21499</c:v>
                </c:pt>
                <c:pt idx="7720">
                  <c:v>21500</c:v>
                </c:pt>
                <c:pt idx="7721">
                  <c:v>21501</c:v>
                </c:pt>
                <c:pt idx="7722">
                  <c:v>21502</c:v>
                </c:pt>
                <c:pt idx="7723">
                  <c:v>21503</c:v>
                </c:pt>
                <c:pt idx="7724">
                  <c:v>21506</c:v>
                </c:pt>
                <c:pt idx="7725">
                  <c:v>21507</c:v>
                </c:pt>
                <c:pt idx="7726">
                  <c:v>21508</c:v>
                </c:pt>
                <c:pt idx="7727">
                  <c:v>21509</c:v>
                </c:pt>
                <c:pt idx="7728">
                  <c:v>21510</c:v>
                </c:pt>
                <c:pt idx="7729">
                  <c:v>21513</c:v>
                </c:pt>
                <c:pt idx="7730">
                  <c:v>21514</c:v>
                </c:pt>
                <c:pt idx="7731">
                  <c:v>21515</c:v>
                </c:pt>
                <c:pt idx="7732">
                  <c:v>21517</c:v>
                </c:pt>
                <c:pt idx="7733">
                  <c:v>21520</c:v>
                </c:pt>
                <c:pt idx="7734">
                  <c:v>21521</c:v>
                </c:pt>
                <c:pt idx="7735">
                  <c:v>21522</c:v>
                </c:pt>
                <c:pt idx="7736">
                  <c:v>21523</c:v>
                </c:pt>
                <c:pt idx="7737">
                  <c:v>21524</c:v>
                </c:pt>
                <c:pt idx="7738">
                  <c:v>21527</c:v>
                </c:pt>
                <c:pt idx="7739">
                  <c:v>21528</c:v>
                </c:pt>
                <c:pt idx="7740">
                  <c:v>21529</c:v>
                </c:pt>
                <c:pt idx="7741">
                  <c:v>21530</c:v>
                </c:pt>
                <c:pt idx="7742">
                  <c:v>21531</c:v>
                </c:pt>
                <c:pt idx="7743">
                  <c:v>21534</c:v>
                </c:pt>
                <c:pt idx="7744">
                  <c:v>21535</c:v>
                </c:pt>
                <c:pt idx="7745">
                  <c:v>21536</c:v>
                </c:pt>
                <c:pt idx="7746">
                  <c:v>21537</c:v>
                </c:pt>
                <c:pt idx="7747">
                  <c:v>21538</c:v>
                </c:pt>
                <c:pt idx="7748">
                  <c:v>21541</c:v>
                </c:pt>
                <c:pt idx="7749">
                  <c:v>21542</c:v>
                </c:pt>
                <c:pt idx="7750">
                  <c:v>21543</c:v>
                </c:pt>
                <c:pt idx="7751">
                  <c:v>21548</c:v>
                </c:pt>
                <c:pt idx="7752">
                  <c:v>21549</c:v>
                </c:pt>
                <c:pt idx="7753">
                  <c:v>21550</c:v>
                </c:pt>
                <c:pt idx="7754">
                  <c:v>21552</c:v>
                </c:pt>
                <c:pt idx="7755">
                  <c:v>21555</c:v>
                </c:pt>
                <c:pt idx="7756">
                  <c:v>21556</c:v>
                </c:pt>
                <c:pt idx="7757">
                  <c:v>21557</c:v>
                </c:pt>
                <c:pt idx="7758">
                  <c:v>21558</c:v>
                </c:pt>
                <c:pt idx="7759">
                  <c:v>21559</c:v>
                </c:pt>
                <c:pt idx="7760">
                  <c:v>21562</c:v>
                </c:pt>
                <c:pt idx="7761">
                  <c:v>21563</c:v>
                </c:pt>
                <c:pt idx="7762">
                  <c:v>21564</c:v>
                </c:pt>
                <c:pt idx="7763">
                  <c:v>21565</c:v>
                </c:pt>
                <c:pt idx="7764">
                  <c:v>21566</c:v>
                </c:pt>
                <c:pt idx="7765">
                  <c:v>21569</c:v>
                </c:pt>
                <c:pt idx="7766">
                  <c:v>21570</c:v>
                </c:pt>
                <c:pt idx="7767">
                  <c:v>21571</c:v>
                </c:pt>
                <c:pt idx="7768">
                  <c:v>21572</c:v>
                </c:pt>
                <c:pt idx="7769">
                  <c:v>21573</c:v>
                </c:pt>
                <c:pt idx="7770">
                  <c:v>21576</c:v>
                </c:pt>
                <c:pt idx="7771">
                  <c:v>21577</c:v>
                </c:pt>
                <c:pt idx="7772">
                  <c:v>21578</c:v>
                </c:pt>
                <c:pt idx="7773">
                  <c:v>21579</c:v>
                </c:pt>
                <c:pt idx="7774">
                  <c:v>21580</c:v>
                </c:pt>
                <c:pt idx="7775">
                  <c:v>21583</c:v>
                </c:pt>
                <c:pt idx="7776">
                  <c:v>21584</c:v>
                </c:pt>
                <c:pt idx="7777">
                  <c:v>21585</c:v>
                </c:pt>
                <c:pt idx="7778">
                  <c:v>21586</c:v>
                </c:pt>
                <c:pt idx="7779">
                  <c:v>21587</c:v>
                </c:pt>
                <c:pt idx="7780">
                  <c:v>21590</c:v>
                </c:pt>
                <c:pt idx="7781">
                  <c:v>21591</c:v>
                </c:pt>
                <c:pt idx="7782">
                  <c:v>21592</c:v>
                </c:pt>
                <c:pt idx="7783">
                  <c:v>21593</c:v>
                </c:pt>
                <c:pt idx="7784">
                  <c:v>21594</c:v>
                </c:pt>
                <c:pt idx="7785">
                  <c:v>21597</c:v>
                </c:pt>
                <c:pt idx="7786">
                  <c:v>21598</c:v>
                </c:pt>
                <c:pt idx="7787">
                  <c:v>21599</c:v>
                </c:pt>
                <c:pt idx="7788">
                  <c:v>21600</c:v>
                </c:pt>
                <c:pt idx="7789">
                  <c:v>21601</c:v>
                </c:pt>
                <c:pt idx="7790">
                  <c:v>21605</c:v>
                </c:pt>
                <c:pt idx="7791">
                  <c:v>21606</c:v>
                </c:pt>
                <c:pt idx="7792">
                  <c:v>21607</c:v>
                </c:pt>
                <c:pt idx="7793">
                  <c:v>21608</c:v>
                </c:pt>
                <c:pt idx="7794">
                  <c:v>21611</c:v>
                </c:pt>
                <c:pt idx="7795">
                  <c:v>21612</c:v>
                </c:pt>
                <c:pt idx="7796">
                  <c:v>21613</c:v>
                </c:pt>
                <c:pt idx="7797">
                  <c:v>21614</c:v>
                </c:pt>
                <c:pt idx="7798">
                  <c:v>21615</c:v>
                </c:pt>
                <c:pt idx="7799">
                  <c:v>21618</c:v>
                </c:pt>
                <c:pt idx="7800">
                  <c:v>21619</c:v>
                </c:pt>
                <c:pt idx="7801">
                  <c:v>21620</c:v>
                </c:pt>
                <c:pt idx="7802">
                  <c:v>21621</c:v>
                </c:pt>
                <c:pt idx="7803">
                  <c:v>21622</c:v>
                </c:pt>
                <c:pt idx="7804">
                  <c:v>21625</c:v>
                </c:pt>
                <c:pt idx="7805">
                  <c:v>21626</c:v>
                </c:pt>
                <c:pt idx="7806">
                  <c:v>21627</c:v>
                </c:pt>
                <c:pt idx="7807">
                  <c:v>21628</c:v>
                </c:pt>
                <c:pt idx="7808">
                  <c:v>21629</c:v>
                </c:pt>
                <c:pt idx="7809">
                  <c:v>21632</c:v>
                </c:pt>
                <c:pt idx="7810">
                  <c:v>21633</c:v>
                </c:pt>
                <c:pt idx="7811">
                  <c:v>21634</c:v>
                </c:pt>
                <c:pt idx="7812">
                  <c:v>21635</c:v>
                </c:pt>
                <c:pt idx="7813">
                  <c:v>21639</c:v>
                </c:pt>
                <c:pt idx="7814">
                  <c:v>21640</c:v>
                </c:pt>
                <c:pt idx="7815">
                  <c:v>21641</c:v>
                </c:pt>
                <c:pt idx="7816">
                  <c:v>21642</c:v>
                </c:pt>
                <c:pt idx="7817">
                  <c:v>21643</c:v>
                </c:pt>
                <c:pt idx="7818">
                  <c:v>21646</c:v>
                </c:pt>
                <c:pt idx="7819">
                  <c:v>21647</c:v>
                </c:pt>
                <c:pt idx="7820">
                  <c:v>21648</c:v>
                </c:pt>
                <c:pt idx="7821">
                  <c:v>21649</c:v>
                </c:pt>
                <c:pt idx="7822">
                  <c:v>21650</c:v>
                </c:pt>
                <c:pt idx="7823">
                  <c:v>21653</c:v>
                </c:pt>
                <c:pt idx="7824">
                  <c:v>21654</c:v>
                </c:pt>
                <c:pt idx="7825">
                  <c:v>21655</c:v>
                </c:pt>
                <c:pt idx="7826">
                  <c:v>21656</c:v>
                </c:pt>
                <c:pt idx="7827">
                  <c:v>21657</c:v>
                </c:pt>
                <c:pt idx="7828">
                  <c:v>21660</c:v>
                </c:pt>
                <c:pt idx="7829">
                  <c:v>21661</c:v>
                </c:pt>
                <c:pt idx="7830">
                  <c:v>21662</c:v>
                </c:pt>
                <c:pt idx="7831">
                  <c:v>21663</c:v>
                </c:pt>
                <c:pt idx="7832">
                  <c:v>21664</c:v>
                </c:pt>
                <c:pt idx="7833">
                  <c:v>21667</c:v>
                </c:pt>
                <c:pt idx="7834">
                  <c:v>21668</c:v>
                </c:pt>
                <c:pt idx="7835">
                  <c:v>21669</c:v>
                </c:pt>
                <c:pt idx="7836">
                  <c:v>21670</c:v>
                </c:pt>
                <c:pt idx="7837">
                  <c:v>21671</c:v>
                </c:pt>
                <c:pt idx="7838">
                  <c:v>21674</c:v>
                </c:pt>
                <c:pt idx="7839">
                  <c:v>21675</c:v>
                </c:pt>
                <c:pt idx="7840">
                  <c:v>21676</c:v>
                </c:pt>
                <c:pt idx="7841">
                  <c:v>21677</c:v>
                </c:pt>
                <c:pt idx="7842">
                  <c:v>21678</c:v>
                </c:pt>
                <c:pt idx="7843">
                  <c:v>21681</c:v>
                </c:pt>
                <c:pt idx="7844">
                  <c:v>21682</c:v>
                </c:pt>
                <c:pt idx="7845">
                  <c:v>21683</c:v>
                </c:pt>
                <c:pt idx="7846">
                  <c:v>21684</c:v>
                </c:pt>
                <c:pt idx="7847">
                  <c:v>21685</c:v>
                </c:pt>
                <c:pt idx="7848">
                  <c:v>21688</c:v>
                </c:pt>
                <c:pt idx="7849">
                  <c:v>21689</c:v>
                </c:pt>
                <c:pt idx="7850">
                  <c:v>21690</c:v>
                </c:pt>
                <c:pt idx="7851">
                  <c:v>21691</c:v>
                </c:pt>
                <c:pt idx="7852">
                  <c:v>21692</c:v>
                </c:pt>
                <c:pt idx="7853">
                  <c:v>21695</c:v>
                </c:pt>
                <c:pt idx="7854">
                  <c:v>21696</c:v>
                </c:pt>
                <c:pt idx="7855">
                  <c:v>21697</c:v>
                </c:pt>
                <c:pt idx="7856">
                  <c:v>21698</c:v>
                </c:pt>
                <c:pt idx="7857">
                  <c:v>21699</c:v>
                </c:pt>
                <c:pt idx="7858">
                  <c:v>21702</c:v>
                </c:pt>
                <c:pt idx="7859">
                  <c:v>21703</c:v>
                </c:pt>
                <c:pt idx="7860">
                  <c:v>21704</c:v>
                </c:pt>
                <c:pt idx="7861">
                  <c:v>21705</c:v>
                </c:pt>
                <c:pt idx="7862">
                  <c:v>21706</c:v>
                </c:pt>
                <c:pt idx="7863">
                  <c:v>21709</c:v>
                </c:pt>
                <c:pt idx="7864">
                  <c:v>21710</c:v>
                </c:pt>
                <c:pt idx="7865">
                  <c:v>21711</c:v>
                </c:pt>
                <c:pt idx="7866">
                  <c:v>21712</c:v>
                </c:pt>
                <c:pt idx="7867">
                  <c:v>21713</c:v>
                </c:pt>
                <c:pt idx="7868">
                  <c:v>21716</c:v>
                </c:pt>
                <c:pt idx="7869">
                  <c:v>21717</c:v>
                </c:pt>
                <c:pt idx="7870">
                  <c:v>21718</c:v>
                </c:pt>
                <c:pt idx="7871">
                  <c:v>21719</c:v>
                </c:pt>
                <c:pt idx="7872">
                  <c:v>21720</c:v>
                </c:pt>
                <c:pt idx="7873">
                  <c:v>21723</c:v>
                </c:pt>
                <c:pt idx="7874">
                  <c:v>21724</c:v>
                </c:pt>
                <c:pt idx="7875">
                  <c:v>21725</c:v>
                </c:pt>
                <c:pt idx="7876">
                  <c:v>21726</c:v>
                </c:pt>
                <c:pt idx="7877">
                  <c:v>21727</c:v>
                </c:pt>
                <c:pt idx="7878">
                  <c:v>21730</c:v>
                </c:pt>
                <c:pt idx="7879">
                  <c:v>21731</c:v>
                </c:pt>
                <c:pt idx="7880">
                  <c:v>21732</c:v>
                </c:pt>
                <c:pt idx="7881">
                  <c:v>21733</c:v>
                </c:pt>
                <c:pt idx="7882">
                  <c:v>21737</c:v>
                </c:pt>
                <c:pt idx="7883">
                  <c:v>21738</c:v>
                </c:pt>
                <c:pt idx="7884">
                  <c:v>21739</c:v>
                </c:pt>
                <c:pt idx="7885">
                  <c:v>21740</c:v>
                </c:pt>
                <c:pt idx="7886">
                  <c:v>21741</c:v>
                </c:pt>
                <c:pt idx="7887">
                  <c:v>21744</c:v>
                </c:pt>
                <c:pt idx="7888">
                  <c:v>21745</c:v>
                </c:pt>
                <c:pt idx="7889">
                  <c:v>21746</c:v>
                </c:pt>
                <c:pt idx="7890">
                  <c:v>21747</c:v>
                </c:pt>
                <c:pt idx="7891">
                  <c:v>21748</c:v>
                </c:pt>
                <c:pt idx="7892">
                  <c:v>21751</c:v>
                </c:pt>
                <c:pt idx="7893">
                  <c:v>21752</c:v>
                </c:pt>
                <c:pt idx="7894">
                  <c:v>21753</c:v>
                </c:pt>
                <c:pt idx="7895">
                  <c:v>21754</c:v>
                </c:pt>
                <c:pt idx="7896">
                  <c:v>21755</c:v>
                </c:pt>
                <c:pt idx="7897">
                  <c:v>21758</c:v>
                </c:pt>
                <c:pt idx="7898">
                  <c:v>21759</c:v>
                </c:pt>
                <c:pt idx="7899">
                  <c:v>21760</c:v>
                </c:pt>
                <c:pt idx="7900">
                  <c:v>21761</c:v>
                </c:pt>
                <c:pt idx="7901">
                  <c:v>21762</c:v>
                </c:pt>
                <c:pt idx="7902">
                  <c:v>21765</c:v>
                </c:pt>
                <c:pt idx="7903">
                  <c:v>21766</c:v>
                </c:pt>
                <c:pt idx="7904">
                  <c:v>21767</c:v>
                </c:pt>
                <c:pt idx="7905">
                  <c:v>21768</c:v>
                </c:pt>
                <c:pt idx="7906">
                  <c:v>21769</c:v>
                </c:pt>
                <c:pt idx="7907">
                  <c:v>21772</c:v>
                </c:pt>
                <c:pt idx="7908">
                  <c:v>21773</c:v>
                </c:pt>
                <c:pt idx="7909">
                  <c:v>21774</c:v>
                </c:pt>
                <c:pt idx="7910">
                  <c:v>21775</c:v>
                </c:pt>
                <c:pt idx="7911">
                  <c:v>21776</c:v>
                </c:pt>
                <c:pt idx="7912">
                  <c:v>21779</c:v>
                </c:pt>
                <c:pt idx="7913">
                  <c:v>21780</c:v>
                </c:pt>
                <c:pt idx="7914">
                  <c:v>21781</c:v>
                </c:pt>
                <c:pt idx="7915">
                  <c:v>21782</c:v>
                </c:pt>
                <c:pt idx="7916">
                  <c:v>21783</c:v>
                </c:pt>
                <c:pt idx="7917">
                  <c:v>21786</c:v>
                </c:pt>
                <c:pt idx="7918">
                  <c:v>21787</c:v>
                </c:pt>
                <c:pt idx="7919">
                  <c:v>21788</c:v>
                </c:pt>
                <c:pt idx="7920">
                  <c:v>21789</c:v>
                </c:pt>
                <c:pt idx="7921">
                  <c:v>21790</c:v>
                </c:pt>
                <c:pt idx="7922">
                  <c:v>21793</c:v>
                </c:pt>
                <c:pt idx="7923">
                  <c:v>21794</c:v>
                </c:pt>
                <c:pt idx="7924">
                  <c:v>21795</c:v>
                </c:pt>
                <c:pt idx="7925">
                  <c:v>21796</c:v>
                </c:pt>
                <c:pt idx="7926">
                  <c:v>21797</c:v>
                </c:pt>
                <c:pt idx="7927">
                  <c:v>21801</c:v>
                </c:pt>
                <c:pt idx="7928">
                  <c:v>21802</c:v>
                </c:pt>
                <c:pt idx="7929">
                  <c:v>21803</c:v>
                </c:pt>
                <c:pt idx="7930">
                  <c:v>21804</c:v>
                </c:pt>
                <c:pt idx="7931">
                  <c:v>21807</c:v>
                </c:pt>
                <c:pt idx="7932">
                  <c:v>21808</c:v>
                </c:pt>
                <c:pt idx="7933">
                  <c:v>21809</c:v>
                </c:pt>
                <c:pt idx="7934">
                  <c:v>21810</c:v>
                </c:pt>
                <c:pt idx="7935">
                  <c:v>21811</c:v>
                </c:pt>
                <c:pt idx="7936">
                  <c:v>21814</c:v>
                </c:pt>
                <c:pt idx="7937">
                  <c:v>21815</c:v>
                </c:pt>
                <c:pt idx="7938">
                  <c:v>21816</c:v>
                </c:pt>
                <c:pt idx="7939">
                  <c:v>21817</c:v>
                </c:pt>
                <c:pt idx="7940">
                  <c:v>21818</c:v>
                </c:pt>
                <c:pt idx="7941">
                  <c:v>21821</c:v>
                </c:pt>
                <c:pt idx="7942">
                  <c:v>21822</c:v>
                </c:pt>
                <c:pt idx="7943">
                  <c:v>21823</c:v>
                </c:pt>
                <c:pt idx="7944">
                  <c:v>21824</c:v>
                </c:pt>
                <c:pt idx="7945">
                  <c:v>21825</c:v>
                </c:pt>
                <c:pt idx="7946">
                  <c:v>21828</c:v>
                </c:pt>
                <c:pt idx="7947">
                  <c:v>21829</c:v>
                </c:pt>
                <c:pt idx="7948">
                  <c:v>21830</c:v>
                </c:pt>
                <c:pt idx="7949">
                  <c:v>21831</c:v>
                </c:pt>
                <c:pt idx="7950">
                  <c:v>21832</c:v>
                </c:pt>
                <c:pt idx="7951">
                  <c:v>21835</c:v>
                </c:pt>
                <c:pt idx="7952">
                  <c:v>21836</c:v>
                </c:pt>
                <c:pt idx="7953">
                  <c:v>21837</c:v>
                </c:pt>
                <c:pt idx="7954">
                  <c:v>21838</c:v>
                </c:pt>
                <c:pt idx="7955">
                  <c:v>21839</c:v>
                </c:pt>
                <c:pt idx="7956">
                  <c:v>21842</c:v>
                </c:pt>
                <c:pt idx="7957">
                  <c:v>21843</c:v>
                </c:pt>
                <c:pt idx="7958">
                  <c:v>21844</c:v>
                </c:pt>
                <c:pt idx="7959">
                  <c:v>21845</c:v>
                </c:pt>
                <c:pt idx="7960">
                  <c:v>21846</c:v>
                </c:pt>
                <c:pt idx="7961">
                  <c:v>21849</c:v>
                </c:pt>
                <c:pt idx="7962">
                  <c:v>21850</c:v>
                </c:pt>
                <c:pt idx="7963">
                  <c:v>21851</c:v>
                </c:pt>
                <c:pt idx="7964">
                  <c:v>21852</c:v>
                </c:pt>
                <c:pt idx="7965">
                  <c:v>21853</c:v>
                </c:pt>
                <c:pt idx="7966">
                  <c:v>21856</c:v>
                </c:pt>
                <c:pt idx="7967">
                  <c:v>21858</c:v>
                </c:pt>
                <c:pt idx="7968">
                  <c:v>21859</c:v>
                </c:pt>
                <c:pt idx="7969">
                  <c:v>21860</c:v>
                </c:pt>
                <c:pt idx="7970">
                  <c:v>21863</c:v>
                </c:pt>
                <c:pt idx="7971">
                  <c:v>21864</c:v>
                </c:pt>
                <c:pt idx="7972">
                  <c:v>21865</c:v>
                </c:pt>
                <c:pt idx="7973">
                  <c:v>21866</c:v>
                </c:pt>
                <c:pt idx="7974">
                  <c:v>21867</c:v>
                </c:pt>
                <c:pt idx="7975">
                  <c:v>21870</c:v>
                </c:pt>
                <c:pt idx="7976">
                  <c:v>21871</c:v>
                </c:pt>
                <c:pt idx="7977">
                  <c:v>21872</c:v>
                </c:pt>
                <c:pt idx="7978">
                  <c:v>21873</c:v>
                </c:pt>
                <c:pt idx="7979">
                  <c:v>21874</c:v>
                </c:pt>
                <c:pt idx="7980">
                  <c:v>21877</c:v>
                </c:pt>
                <c:pt idx="7981">
                  <c:v>21878</c:v>
                </c:pt>
                <c:pt idx="7982">
                  <c:v>21879</c:v>
                </c:pt>
                <c:pt idx="7983">
                  <c:v>21881</c:v>
                </c:pt>
                <c:pt idx="7984">
                  <c:v>21884</c:v>
                </c:pt>
                <c:pt idx="7985">
                  <c:v>21885</c:v>
                </c:pt>
                <c:pt idx="7986">
                  <c:v>21886</c:v>
                </c:pt>
                <c:pt idx="7987">
                  <c:v>21887</c:v>
                </c:pt>
                <c:pt idx="7988">
                  <c:v>21888</c:v>
                </c:pt>
                <c:pt idx="7989">
                  <c:v>21891</c:v>
                </c:pt>
                <c:pt idx="7990">
                  <c:v>21892</c:v>
                </c:pt>
                <c:pt idx="7991">
                  <c:v>21893</c:v>
                </c:pt>
                <c:pt idx="7992">
                  <c:v>21894</c:v>
                </c:pt>
                <c:pt idx="7993">
                  <c:v>21895</c:v>
                </c:pt>
                <c:pt idx="7994">
                  <c:v>21898</c:v>
                </c:pt>
                <c:pt idx="7995">
                  <c:v>21899</c:v>
                </c:pt>
                <c:pt idx="7996">
                  <c:v>21900</c:v>
                </c:pt>
                <c:pt idx="7997">
                  <c:v>21901</c:v>
                </c:pt>
                <c:pt idx="7998">
                  <c:v>21902</c:v>
                </c:pt>
                <c:pt idx="7999">
                  <c:v>21905</c:v>
                </c:pt>
                <c:pt idx="8000">
                  <c:v>21906</c:v>
                </c:pt>
                <c:pt idx="8001">
                  <c:v>21907</c:v>
                </c:pt>
                <c:pt idx="8002">
                  <c:v>21908</c:v>
                </c:pt>
                <c:pt idx="8003">
                  <c:v>21912</c:v>
                </c:pt>
                <c:pt idx="8004">
                  <c:v>21913</c:v>
                </c:pt>
                <c:pt idx="8005">
                  <c:v>21914</c:v>
                </c:pt>
                <c:pt idx="8006">
                  <c:v>21915</c:v>
                </c:pt>
                <c:pt idx="8007">
                  <c:v>21919</c:v>
                </c:pt>
                <c:pt idx="8008">
                  <c:v>21920</c:v>
                </c:pt>
                <c:pt idx="8009">
                  <c:v>21921</c:v>
                </c:pt>
                <c:pt idx="8010">
                  <c:v>21922</c:v>
                </c:pt>
                <c:pt idx="8011">
                  <c:v>21923</c:v>
                </c:pt>
                <c:pt idx="8012">
                  <c:v>21926</c:v>
                </c:pt>
                <c:pt idx="8013">
                  <c:v>21927</c:v>
                </c:pt>
                <c:pt idx="8014">
                  <c:v>21928</c:v>
                </c:pt>
                <c:pt idx="8015">
                  <c:v>21929</c:v>
                </c:pt>
                <c:pt idx="8016">
                  <c:v>21930</c:v>
                </c:pt>
                <c:pt idx="8017">
                  <c:v>21933</c:v>
                </c:pt>
                <c:pt idx="8018">
                  <c:v>21934</c:v>
                </c:pt>
                <c:pt idx="8019">
                  <c:v>21935</c:v>
                </c:pt>
                <c:pt idx="8020">
                  <c:v>21936</c:v>
                </c:pt>
                <c:pt idx="8021">
                  <c:v>21937</c:v>
                </c:pt>
                <c:pt idx="8022">
                  <c:v>21940</c:v>
                </c:pt>
                <c:pt idx="8023">
                  <c:v>21941</c:v>
                </c:pt>
                <c:pt idx="8024">
                  <c:v>21942</c:v>
                </c:pt>
                <c:pt idx="8025">
                  <c:v>21943</c:v>
                </c:pt>
                <c:pt idx="8026">
                  <c:v>21944</c:v>
                </c:pt>
                <c:pt idx="8027">
                  <c:v>21947</c:v>
                </c:pt>
                <c:pt idx="8028">
                  <c:v>21948</c:v>
                </c:pt>
                <c:pt idx="8029">
                  <c:v>21949</c:v>
                </c:pt>
                <c:pt idx="8030">
                  <c:v>21950</c:v>
                </c:pt>
                <c:pt idx="8031">
                  <c:v>21951</c:v>
                </c:pt>
                <c:pt idx="8032">
                  <c:v>21954</c:v>
                </c:pt>
                <c:pt idx="8033">
                  <c:v>21955</c:v>
                </c:pt>
                <c:pt idx="8034">
                  <c:v>21956</c:v>
                </c:pt>
                <c:pt idx="8035">
                  <c:v>21957</c:v>
                </c:pt>
                <c:pt idx="8036">
                  <c:v>21958</c:v>
                </c:pt>
                <c:pt idx="8037">
                  <c:v>21961</c:v>
                </c:pt>
                <c:pt idx="8038">
                  <c:v>21962</c:v>
                </c:pt>
                <c:pt idx="8039">
                  <c:v>21963</c:v>
                </c:pt>
                <c:pt idx="8040">
                  <c:v>21964</c:v>
                </c:pt>
                <c:pt idx="8041">
                  <c:v>21965</c:v>
                </c:pt>
                <c:pt idx="8042">
                  <c:v>21969</c:v>
                </c:pt>
                <c:pt idx="8043">
                  <c:v>21970</c:v>
                </c:pt>
                <c:pt idx="8044">
                  <c:v>21971</c:v>
                </c:pt>
                <c:pt idx="8045">
                  <c:v>21972</c:v>
                </c:pt>
                <c:pt idx="8046">
                  <c:v>21975</c:v>
                </c:pt>
                <c:pt idx="8047">
                  <c:v>21976</c:v>
                </c:pt>
                <c:pt idx="8048">
                  <c:v>21977</c:v>
                </c:pt>
                <c:pt idx="8049">
                  <c:v>21978</c:v>
                </c:pt>
                <c:pt idx="8050">
                  <c:v>21979</c:v>
                </c:pt>
                <c:pt idx="8051">
                  <c:v>21982</c:v>
                </c:pt>
                <c:pt idx="8052">
                  <c:v>21983</c:v>
                </c:pt>
                <c:pt idx="8053">
                  <c:v>21984</c:v>
                </c:pt>
                <c:pt idx="8054">
                  <c:v>21985</c:v>
                </c:pt>
                <c:pt idx="8055">
                  <c:v>21986</c:v>
                </c:pt>
                <c:pt idx="8056">
                  <c:v>21989</c:v>
                </c:pt>
                <c:pt idx="8057">
                  <c:v>21990</c:v>
                </c:pt>
                <c:pt idx="8058">
                  <c:v>21991</c:v>
                </c:pt>
                <c:pt idx="8059">
                  <c:v>21992</c:v>
                </c:pt>
                <c:pt idx="8060">
                  <c:v>21993</c:v>
                </c:pt>
                <c:pt idx="8061">
                  <c:v>21996</c:v>
                </c:pt>
                <c:pt idx="8062">
                  <c:v>21997</c:v>
                </c:pt>
                <c:pt idx="8063">
                  <c:v>21998</c:v>
                </c:pt>
                <c:pt idx="8064">
                  <c:v>21999</c:v>
                </c:pt>
                <c:pt idx="8065">
                  <c:v>22000</c:v>
                </c:pt>
                <c:pt idx="8066">
                  <c:v>22003</c:v>
                </c:pt>
                <c:pt idx="8067">
                  <c:v>22004</c:v>
                </c:pt>
                <c:pt idx="8068">
                  <c:v>22005</c:v>
                </c:pt>
                <c:pt idx="8069">
                  <c:v>22006</c:v>
                </c:pt>
                <c:pt idx="8070">
                  <c:v>22007</c:v>
                </c:pt>
                <c:pt idx="8071">
                  <c:v>22010</c:v>
                </c:pt>
                <c:pt idx="8072">
                  <c:v>22011</c:v>
                </c:pt>
                <c:pt idx="8073">
                  <c:v>22012</c:v>
                </c:pt>
                <c:pt idx="8074">
                  <c:v>22013</c:v>
                </c:pt>
                <c:pt idx="8075">
                  <c:v>22014</c:v>
                </c:pt>
                <c:pt idx="8076">
                  <c:v>22017</c:v>
                </c:pt>
                <c:pt idx="8077">
                  <c:v>22018</c:v>
                </c:pt>
                <c:pt idx="8078">
                  <c:v>22019</c:v>
                </c:pt>
                <c:pt idx="8079">
                  <c:v>22020</c:v>
                </c:pt>
                <c:pt idx="8080">
                  <c:v>22024</c:v>
                </c:pt>
                <c:pt idx="8081">
                  <c:v>22025</c:v>
                </c:pt>
                <c:pt idx="8082">
                  <c:v>22026</c:v>
                </c:pt>
                <c:pt idx="8083">
                  <c:v>22027</c:v>
                </c:pt>
                <c:pt idx="8084">
                  <c:v>22028</c:v>
                </c:pt>
                <c:pt idx="8085">
                  <c:v>22031</c:v>
                </c:pt>
                <c:pt idx="8086">
                  <c:v>22032</c:v>
                </c:pt>
                <c:pt idx="8087">
                  <c:v>22033</c:v>
                </c:pt>
                <c:pt idx="8088">
                  <c:v>22034</c:v>
                </c:pt>
                <c:pt idx="8089">
                  <c:v>22035</c:v>
                </c:pt>
                <c:pt idx="8090">
                  <c:v>22038</c:v>
                </c:pt>
                <c:pt idx="8091">
                  <c:v>22039</c:v>
                </c:pt>
                <c:pt idx="8092">
                  <c:v>22040</c:v>
                </c:pt>
                <c:pt idx="8093">
                  <c:v>22041</c:v>
                </c:pt>
                <c:pt idx="8094">
                  <c:v>22042</c:v>
                </c:pt>
                <c:pt idx="8095">
                  <c:v>22045</c:v>
                </c:pt>
                <c:pt idx="8096">
                  <c:v>22046</c:v>
                </c:pt>
                <c:pt idx="8097">
                  <c:v>22047</c:v>
                </c:pt>
                <c:pt idx="8098">
                  <c:v>22048</c:v>
                </c:pt>
                <c:pt idx="8099">
                  <c:v>22049</c:v>
                </c:pt>
                <c:pt idx="8100">
                  <c:v>22052</c:v>
                </c:pt>
                <c:pt idx="8101">
                  <c:v>22053</c:v>
                </c:pt>
                <c:pt idx="8102">
                  <c:v>22054</c:v>
                </c:pt>
                <c:pt idx="8103">
                  <c:v>22055</c:v>
                </c:pt>
                <c:pt idx="8104">
                  <c:v>22056</c:v>
                </c:pt>
                <c:pt idx="8105">
                  <c:v>22059</c:v>
                </c:pt>
                <c:pt idx="8106">
                  <c:v>22060</c:v>
                </c:pt>
                <c:pt idx="8107">
                  <c:v>22061</c:v>
                </c:pt>
                <c:pt idx="8108">
                  <c:v>22062</c:v>
                </c:pt>
                <c:pt idx="8109">
                  <c:v>22063</c:v>
                </c:pt>
                <c:pt idx="8110">
                  <c:v>22067</c:v>
                </c:pt>
                <c:pt idx="8111">
                  <c:v>22068</c:v>
                </c:pt>
                <c:pt idx="8112">
                  <c:v>22069</c:v>
                </c:pt>
                <c:pt idx="8113">
                  <c:v>22070</c:v>
                </c:pt>
                <c:pt idx="8114">
                  <c:v>22073</c:v>
                </c:pt>
                <c:pt idx="8115">
                  <c:v>22074</c:v>
                </c:pt>
                <c:pt idx="8116">
                  <c:v>22075</c:v>
                </c:pt>
                <c:pt idx="8117">
                  <c:v>22076</c:v>
                </c:pt>
                <c:pt idx="8118">
                  <c:v>22077</c:v>
                </c:pt>
                <c:pt idx="8119">
                  <c:v>22080</c:v>
                </c:pt>
                <c:pt idx="8120">
                  <c:v>22081</c:v>
                </c:pt>
                <c:pt idx="8121">
                  <c:v>22082</c:v>
                </c:pt>
                <c:pt idx="8122">
                  <c:v>22083</c:v>
                </c:pt>
                <c:pt idx="8123">
                  <c:v>22084</c:v>
                </c:pt>
                <c:pt idx="8124">
                  <c:v>22087</c:v>
                </c:pt>
                <c:pt idx="8125">
                  <c:v>22088</c:v>
                </c:pt>
                <c:pt idx="8126">
                  <c:v>22089</c:v>
                </c:pt>
                <c:pt idx="8127">
                  <c:v>22090</c:v>
                </c:pt>
                <c:pt idx="8128">
                  <c:v>22091</c:v>
                </c:pt>
                <c:pt idx="8129">
                  <c:v>22094</c:v>
                </c:pt>
                <c:pt idx="8130">
                  <c:v>22095</c:v>
                </c:pt>
                <c:pt idx="8131">
                  <c:v>22096</c:v>
                </c:pt>
                <c:pt idx="8132">
                  <c:v>22097</c:v>
                </c:pt>
                <c:pt idx="8133">
                  <c:v>22098</c:v>
                </c:pt>
                <c:pt idx="8134">
                  <c:v>22102</c:v>
                </c:pt>
                <c:pt idx="8135">
                  <c:v>22103</c:v>
                </c:pt>
                <c:pt idx="8136">
                  <c:v>22104</c:v>
                </c:pt>
                <c:pt idx="8137">
                  <c:v>22105</c:v>
                </c:pt>
                <c:pt idx="8138">
                  <c:v>22108</c:v>
                </c:pt>
                <c:pt idx="8139">
                  <c:v>22109</c:v>
                </c:pt>
                <c:pt idx="8140">
                  <c:v>22110</c:v>
                </c:pt>
                <c:pt idx="8141">
                  <c:v>22111</c:v>
                </c:pt>
                <c:pt idx="8142">
                  <c:v>22112</c:v>
                </c:pt>
                <c:pt idx="8143">
                  <c:v>22115</c:v>
                </c:pt>
                <c:pt idx="8144">
                  <c:v>22116</c:v>
                </c:pt>
                <c:pt idx="8145">
                  <c:v>22117</c:v>
                </c:pt>
                <c:pt idx="8146">
                  <c:v>22118</c:v>
                </c:pt>
                <c:pt idx="8147">
                  <c:v>22119</c:v>
                </c:pt>
                <c:pt idx="8148">
                  <c:v>22122</c:v>
                </c:pt>
                <c:pt idx="8149">
                  <c:v>22123</c:v>
                </c:pt>
                <c:pt idx="8150">
                  <c:v>22124</c:v>
                </c:pt>
                <c:pt idx="8151">
                  <c:v>22125</c:v>
                </c:pt>
                <c:pt idx="8152">
                  <c:v>22126</c:v>
                </c:pt>
                <c:pt idx="8153">
                  <c:v>22129</c:v>
                </c:pt>
                <c:pt idx="8154">
                  <c:v>22130</c:v>
                </c:pt>
                <c:pt idx="8155">
                  <c:v>22131</c:v>
                </c:pt>
                <c:pt idx="8156">
                  <c:v>22132</c:v>
                </c:pt>
                <c:pt idx="8157">
                  <c:v>22133</c:v>
                </c:pt>
                <c:pt idx="8158">
                  <c:v>22136</c:v>
                </c:pt>
                <c:pt idx="8159">
                  <c:v>22137</c:v>
                </c:pt>
                <c:pt idx="8160">
                  <c:v>22138</c:v>
                </c:pt>
                <c:pt idx="8161">
                  <c:v>22139</c:v>
                </c:pt>
                <c:pt idx="8162">
                  <c:v>22140</c:v>
                </c:pt>
                <c:pt idx="8163">
                  <c:v>22143</c:v>
                </c:pt>
                <c:pt idx="8164">
                  <c:v>22144</c:v>
                </c:pt>
                <c:pt idx="8165">
                  <c:v>22145</c:v>
                </c:pt>
                <c:pt idx="8166">
                  <c:v>22146</c:v>
                </c:pt>
                <c:pt idx="8167">
                  <c:v>22147</c:v>
                </c:pt>
                <c:pt idx="8168">
                  <c:v>22150</c:v>
                </c:pt>
                <c:pt idx="8169">
                  <c:v>22151</c:v>
                </c:pt>
                <c:pt idx="8170">
                  <c:v>22152</c:v>
                </c:pt>
                <c:pt idx="8171">
                  <c:v>22153</c:v>
                </c:pt>
                <c:pt idx="8172">
                  <c:v>22154</c:v>
                </c:pt>
                <c:pt idx="8173">
                  <c:v>22157</c:v>
                </c:pt>
                <c:pt idx="8174">
                  <c:v>22158</c:v>
                </c:pt>
                <c:pt idx="8175">
                  <c:v>22159</c:v>
                </c:pt>
                <c:pt idx="8176">
                  <c:v>22160</c:v>
                </c:pt>
                <c:pt idx="8177">
                  <c:v>22161</c:v>
                </c:pt>
                <c:pt idx="8178">
                  <c:v>22165</c:v>
                </c:pt>
                <c:pt idx="8179">
                  <c:v>22166</c:v>
                </c:pt>
                <c:pt idx="8180">
                  <c:v>22167</c:v>
                </c:pt>
                <c:pt idx="8181">
                  <c:v>22168</c:v>
                </c:pt>
                <c:pt idx="8182">
                  <c:v>22171</c:v>
                </c:pt>
                <c:pt idx="8183">
                  <c:v>22172</c:v>
                </c:pt>
                <c:pt idx="8184">
                  <c:v>22173</c:v>
                </c:pt>
                <c:pt idx="8185">
                  <c:v>22174</c:v>
                </c:pt>
                <c:pt idx="8186">
                  <c:v>22175</c:v>
                </c:pt>
                <c:pt idx="8187">
                  <c:v>22178</c:v>
                </c:pt>
                <c:pt idx="8188">
                  <c:v>22179</c:v>
                </c:pt>
                <c:pt idx="8189">
                  <c:v>22180</c:v>
                </c:pt>
                <c:pt idx="8190">
                  <c:v>22181</c:v>
                </c:pt>
                <c:pt idx="8191">
                  <c:v>22182</c:v>
                </c:pt>
                <c:pt idx="8192">
                  <c:v>22185</c:v>
                </c:pt>
                <c:pt idx="8193">
                  <c:v>22186</c:v>
                </c:pt>
                <c:pt idx="8194">
                  <c:v>22187</c:v>
                </c:pt>
                <c:pt idx="8195">
                  <c:v>22188</c:v>
                </c:pt>
                <c:pt idx="8196">
                  <c:v>22189</c:v>
                </c:pt>
                <c:pt idx="8197">
                  <c:v>22192</c:v>
                </c:pt>
                <c:pt idx="8198">
                  <c:v>22193</c:v>
                </c:pt>
                <c:pt idx="8199">
                  <c:v>22194</c:v>
                </c:pt>
                <c:pt idx="8200">
                  <c:v>22195</c:v>
                </c:pt>
                <c:pt idx="8201">
                  <c:v>22196</c:v>
                </c:pt>
                <c:pt idx="8202">
                  <c:v>22199</c:v>
                </c:pt>
                <c:pt idx="8203">
                  <c:v>22200</c:v>
                </c:pt>
                <c:pt idx="8204">
                  <c:v>22201</c:v>
                </c:pt>
                <c:pt idx="8205">
                  <c:v>22202</c:v>
                </c:pt>
                <c:pt idx="8206">
                  <c:v>22203</c:v>
                </c:pt>
                <c:pt idx="8207">
                  <c:v>22206</c:v>
                </c:pt>
                <c:pt idx="8208">
                  <c:v>22207</c:v>
                </c:pt>
                <c:pt idx="8209">
                  <c:v>22208</c:v>
                </c:pt>
                <c:pt idx="8210">
                  <c:v>22209</c:v>
                </c:pt>
                <c:pt idx="8211">
                  <c:v>22210</c:v>
                </c:pt>
                <c:pt idx="8212">
                  <c:v>22213</c:v>
                </c:pt>
                <c:pt idx="8213">
                  <c:v>22214</c:v>
                </c:pt>
                <c:pt idx="8214">
                  <c:v>22215</c:v>
                </c:pt>
                <c:pt idx="8215">
                  <c:v>22216</c:v>
                </c:pt>
                <c:pt idx="8216">
                  <c:v>22217</c:v>
                </c:pt>
                <c:pt idx="8217">
                  <c:v>22220</c:v>
                </c:pt>
                <c:pt idx="8218">
                  <c:v>22221</c:v>
                </c:pt>
                <c:pt idx="8219">
                  <c:v>22222</c:v>
                </c:pt>
                <c:pt idx="8220">
                  <c:v>22223</c:v>
                </c:pt>
                <c:pt idx="8221">
                  <c:v>22224</c:v>
                </c:pt>
                <c:pt idx="8222">
                  <c:v>22227</c:v>
                </c:pt>
                <c:pt idx="8223">
                  <c:v>22229</c:v>
                </c:pt>
                <c:pt idx="8224">
                  <c:v>22230</c:v>
                </c:pt>
                <c:pt idx="8225">
                  <c:v>22231</c:v>
                </c:pt>
                <c:pt idx="8226">
                  <c:v>22234</c:v>
                </c:pt>
                <c:pt idx="8227">
                  <c:v>22235</c:v>
                </c:pt>
                <c:pt idx="8228">
                  <c:v>22236</c:v>
                </c:pt>
                <c:pt idx="8229">
                  <c:v>22237</c:v>
                </c:pt>
                <c:pt idx="8230">
                  <c:v>22238</c:v>
                </c:pt>
                <c:pt idx="8231">
                  <c:v>22241</c:v>
                </c:pt>
                <c:pt idx="8232">
                  <c:v>22242</c:v>
                </c:pt>
                <c:pt idx="8233">
                  <c:v>22243</c:v>
                </c:pt>
                <c:pt idx="8234">
                  <c:v>22245</c:v>
                </c:pt>
                <c:pt idx="8235">
                  <c:v>22248</c:v>
                </c:pt>
                <c:pt idx="8236">
                  <c:v>22249</c:v>
                </c:pt>
                <c:pt idx="8237">
                  <c:v>22250</c:v>
                </c:pt>
                <c:pt idx="8238">
                  <c:v>22251</c:v>
                </c:pt>
                <c:pt idx="8239">
                  <c:v>22252</c:v>
                </c:pt>
                <c:pt idx="8240">
                  <c:v>22255</c:v>
                </c:pt>
                <c:pt idx="8241">
                  <c:v>22256</c:v>
                </c:pt>
                <c:pt idx="8242">
                  <c:v>22257</c:v>
                </c:pt>
                <c:pt idx="8243">
                  <c:v>22258</c:v>
                </c:pt>
                <c:pt idx="8244">
                  <c:v>22259</c:v>
                </c:pt>
                <c:pt idx="8245">
                  <c:v>22262</c:v>
                </c:pt>
                <c:pt idx="8246">
                  <c:v>22263</c:v>
                </c:pt>
                <c:pt idx="8247">
                  <c:v>22264</c:v>
                </c:pt>
                <c:pt idx="8248">
                  <c:v>22265</c:v>
                </c:pt>
                <c:pt idx="8249">
                  <c:v>22266</c:v>
                </c:pt>
                <c:pt idx="8250">
                  <c:v>22269</c:v>
                </c:pt>
                <c:pt idx="8251">
                  <c:v>22270</c:v>
                </c:pt>
                <c:pt idx="8252">
                  <c:v>22271</c:v>
                </c:pt>
                <c:pt idx="8253">
                  <c:v>22272</c:v>
                </c:pt>
                <c:pt idx="8254">
                  <c:v>22273</c:v>
                </c:pt>
                <c:pt idx="8255">
                  <c:v>22277</c:v>
                </c:pt>
                <c:pt idx="8256">
                  <c:v>22278</c:v>
                </c:pt>
                <c:pt idx="8257">
                  <c:v>22279</c:v>
                </c:pt>
                <c:pt idx="8258">
                  <c:v>22280</c:v>
                </c:pt>
                <c:pt idx="8259">
                  <c:v>22284</c:v>
                </c:pt>
                <c:pt idx="8260">
                  <c:v>22285</c:v>
                </c:pt>
                <c:pt idx="8261">
                  <c:v>22286</c:v>
                </c:pt>
                <c:pt idx="8262">
                  <c:v>22287</c:v>
                </c:pt>
                <c:pt idx="8263">
                  <c:v>22290</c:v>
                </c:pt>
                <c:pt idx="8264">
                  <c:v>22291</c:v>
                </c:pt>
                <c:pt idx="8265">
                  <c:v>22292</c:v>
                </c:pt>
                <c:pt idx="8266">
                  <c:v>22293</c:v>
                </c:pt>
                <c:pt idx="8267">
                  <c:v>22294</c:v>
                </c:pt>
                <c:pt idx="8268">
                  <c:v>22297</c:v>
                </c:pt>
                <c:pt idx="8269">
                  <c:v>22298</c:v>
                </c:pt>
                <c:pt idx="8270">
                  <c:v>22299</c:v>
                </c:pt>
                <c:pt idx="8271">
                  <c:v>22300</c:v>
                </c:pt>
                <c:pt idx="8272">
                  <c:v>22301</c:v>
                </c:pt>
                <c:pt idx="8273">
                  <c:v>22304</c:v>
                </c:pt>
                <c:pt idx="8274">
                  <c:v>22305</c:v>
                </c:pt>
                <c:pt idx="8275">
                  <c:v>22306</c:v>
                </c:pt>
                <c:pt idx="8276">
                  <c:v>22307</c:v>
                </c:pt>
                <c:pt idx="8277">
                  <c:v>22308</c:v>
                </c:pt>
                <c:pt idx="8278">
                  <c:v>22311</c:v>
                </c:pt>
                <c:pt idx="8279">
                  <c:v>22312</c:v>
                </c:pt>
                <c:pt idx="8280">
                  <c:v>22313</c:v>
                </c:pt>
                <c:pt idx="8281">
                  <c:v>22314</c:v>
                </c:pt>
                <c:pt idx="8282">
                  <c:v>22315</c:v>
                </c:pt>
                <c:pt idx="8283">
                  <c:v>22318</c:v>
                </c:pt>
                <c:pt idx="8284">
                  <c:v>22319</c:v>
                </c:pt>
                <c:pt idx="8285">
                  <c:v>22320</c:v>
                </c:pt>
                <c:pt idx="8286">
                  <c:v>22321</c:v>
                </c:pt>
                <c:pt idx="8287">
                  <c:v>22322</c:v>
                </c:pt>
                <c:pt idx="8288">
                  <c:v>22325</c:v>
                </c:pt>
                <c:pt idx="8289">
                  <c:v>22326</c:v>
                </c:pt>
                <c:pt idx="8290">
                  <c:v>22327</c:v>
                </c:pt>
                <c:pt idx="8291">
                  <c:v>22328</c:v>
                </c:pt>
                <c:pt idx="8292">
                  <c:v>22329</c:v>
                </c:pt>
                <c:pt idx="8293">
                  <c:v>22332</c:v>
                </c:pt>
                <c:pt idx="8294">
                  <c:v>22333</c:v>
                </c:pt>
                <c:pt idx="8295">
                  <c:v>22335</c:v>
                </c:pt>
                <c:pt idx="8296">
                  <c:v>22336</c:v>
                </c:pt>
                <c:pt idx="8297">
                  <c:v>22339</c:v>
                </c:pt>
                <c:pt idx="8298">
                  <c:v>22340</c:v>
                </c:pt>
                <c:pt idx="8299">
                  <c:v>22341</c:v>
                </c:pt>
                <c:pt idx="8300">
                  <c:v>22342</c:v>
                </c:pt>
                <c:pt idx="8301">
                  <c:v>22343</c:v>
                </c:pt>
                <c:pt idx="8302">
                  <c:v>22346</c:v>
                </c:pt>
                <c:pt idx="8303">
                  <c:v>22347</c:v>
                </c:pt>
                <c:pt idx="8304">
                  <c:v>22348</c:v>
                </c:pt>
                <c:pt idx="8305">
                  <c:v>22349</c:v>
                </c:pt>
                <c:pt idx="8306">
                  <c:v>22350</c:v>
                </c:pt>
                <c:pt idx="8307">
                  <c:v>22353</c:v>
                </c:pt>
                <c:pt idx="8308">
                  <c:v>22354</c:v>
                </c:pt>
                <c:pt idx="8309">
                  <c:v>22355</c:v>
                </c:pt>
                <c:pt idx="8310">
                  <c:v>22356</c:v>
                </c:pt>
                <c:pt idx="8311">
                  <c:v>22357</c:v>
                </c:pt>
                <c:pt idx="8312">
                  <c:v>22360</c:v>
                </c:pt>
                <c:pt idx="8313">
                  <c:v>22361</c:v>
                </c:pt>
                <c:pt idx="8314">
                  <c:v>22362</c:v>
                </c:pt>
                <c:pt idx="8315">
                  <c:v>22363</c:v>
                </c:pt>
                <c:pt idx="8316">
                  <c:v>22364</c:v>
                </c:pt>
                <c:pt idx="8317">
                  <c:v>22367</c:v>
                </c:pt>
                <c:pt idx="8318">
                  <c:v>22368</c:v>
                </c:pt>
                <c:pt idx="8319">
                  <c:v>22369</c:v>
                </c:pt>
                <c:pt idx="8320">
                  <c:v>22370</c:v>
                </c:pt>
                <c:pt idx="8321">
                  <c:v>22374</c:v>
                </c:pt>
                <c:pt idx="8322">
                  <c:v>22375</c:v>
                </c:pt>
                <c:pt idx="8323">
                  <c:v>22376</c:v>
                </c:pt>
                <c:pt idx="8324">
                  <c:v>22377</c:v>
                </c:pt>
                <c:pt idx="8325">
                  <c:v>22378</c:v>
                </c:pt>
                <c:pt idx="8326">
                  <c:v>22381</c:v>
                </c:pt>
                <c:pt idx="8327">
                  <c:v>22382</c:v>
                </c:pt>
                <c:pt idx="8328">
                  <c:v>22383</c:v>
                </c:pt>
                <c:pt idx="8329">
                  <c:v>22384</c:v>
                </c:pt>
                <c:pt idx="8330">
                  <c:v>22385</c:v>
                </c:pt>
                <c:pt idx="8331">
                  <c:v>22388</c:v>
                </c:pt>
                <c:pt idx="8332">
                  <c:v>22389</c:v>
                </c:pt>
                <c:pt idx="8333">
                  <c:v>22390</c:v>
                </c:pt>
                <c:pt idx="8334">
                  <c:v>22391</c:v>
                </c:pt>
                <c:pt idx="8335">
                  <c:v>22392</c:v>
                </c:pt>
                <c:pt idx="8336">
                  <c:v>22395</c:v>
                </c:pt>
                <c:pt idx="8337">
                  <c:v>22396</c:v>
                </c:pt>
                <c:pt idx="8338">
                  <c:v>22397</c:v>
                </c:pt>
                <c:pt idx="8339">
                  <c:v>22398</c:v>
                </c:pt>
                <c:pt idx="8340">
                  <c:v>22399</c:v>
                </c:pt>
                <c:pt idx="8341">
                  <c:v>22402</c:v>
                </c:pt>
                <c:pt idx="8342">
                  <c:v>22403</c:v>
                </c:pt>
                <c:pt idx="8343">
                  <c:v>22404</c:v>
                </c:pt>
                <c:pt idx="8344">
                  <c:v>22405</c:v>
                </c:pt>
                <c:pt idx="8345">
                  <c:v>22406</c:v>
                </c:pt>
                <c:pt idx="8346">
                  <c:v>22409</c:v>
                </c:pt>
                <c:pt idx="8347">
                  <c:v>22410</c:v>
                </c:pt>
                <c:pt idx="8348">
                  <c:v>22411</c:v>
                </c:pt>
                <c:pt idx="8349">
                  <c:v>22412</c:v>
                </c:pt>
                <c:pt idx="8350">
                  <c:v>22413</c:v>
                </c:pt>
                <c:pt idx="8351">
                  <c:v>22416</c:v>
                </c:pt>
                <c:pt idx="8352">
                  <c:v>22417</c:v>
                </c:pt>
                <c:pt idx="8353">
                  <c:v>22418</c:v>
                </c:pt>
                <c:pt idx="8354">
                  <c:v>22419</c:v>
                </c:pt>
                <c:pt idx="8355">
                  <c:v>22420</c:v>
                </c:pt>
                <c:pt idx="8356">
                  <c:v>22423</c:v>
                </c:pt>
                <c:pt idx="8357">
                  <c:v>22424</c:v>
                </c:pt>
                <c:pt idx="8358">
                  <c:v>22425</c:v>
                </c:pt>
                <c:pt idx="8359">
                  <c:v>22426</c:v>
                </c:pt>
                <c:pt idx="8360">
                  <c:v>22427</c:v>
                </c:pt>
                <c:pt idx="8361">
                  <c:v>22432</c:v>
                </c:pt>
                <c:pt idx="8362">
                  <c:v>22433</c:v>
                </c:pt>
                <c:pt idx="8363">
                  <c:v>22434</c:v>
                </c:pt>
                <c:pt idx="8364">
                  <c:v>22437</c:v>
                </c:pt>
                <c:pt idx="8365">
                  <c:v>22438</c:v>
                </c:pt>
                <c:pt idx="8366">
                  <c:v>22439</c:v>
                </c:pt>
                <c:pt idx="8367">
                  <c:v>22440</c:v>
                </c:pt>
                <c:pt idx="8368">
                  <c:v>22441</c:v>
                </c:pt>
                <c:pt idx="8369">
                  <c:v>22444</c:v>
                </c:pt>
                <c:pt idx="8370">
                  <c:v>22445</c:v>
                </c:pt>
                <c:pt idx="8371">
                  <c:v>22446</c:v>
                </c:pt>
                <c:pt idx="8372">
                  <c:v>22447</c:v>
                </c:pt>
                <c:pt idx="8373">
                  <c:v>22448</c:v>
                </c:pt>
                <c:pt idx="8374">
                  <c:v>22451</c:v>
                </c:pt>
                <c:pt idx="8375">
                  <c:v>22452</c:v>
                </c:pt>
                <c:pt idx="8376">
                  <c:v>22453</c:v>
                </c:pt>
                <c:pt idx="8377">
                  <c:v>22454</c:v>
                </c:pt>
                <c:pt idx="8378">
                  <c:v>22455</c:v>
                </c:pt>
                <c:pt idx="8379">
                  <c:v>22458</c:v>
                </c:pt>
                <c:pt idx="8380">
                  <c:v>22459</c:v>
                </c:pt>
                <c:pt idx="8381">
                  <c:v>22460</c:v>
                </c:pt>
                <c:pt idx="8382">
                  <c:v>22461</c:v>
                </c:pt>
                <c:pt idx="8383">
                  <c:v>22462</c:v>
                </c:pt>
                <c:pt idx="8384">
                  <c:v>22465</c:v>
                </c:pt>
                <c:pt idx="8385">
                  <c:v>22467</c:v>
                </c:pt>
                <c:pt idx="8386">
                  <c:v>22468</c:v>
                </c:pt>
                <c:pt idx="8387">
                  <c:v>22469</c:v>
                </c:pt>
                <c:pt idx="8388">
                  <c:v>22472</c:v>
                </c:pt>
                <c:pt idx="8389">
                  <c:v>22473</c:v>
                </c:pt>
                <c:pt idx="8390">
                  <c:v>22474</c:v>
                </c:pt>
                <c:pt idx="8391">
                  <c:v>22475</c:v>
                </c:pt>
                <c:pt idx="8392">
                  <c:v>22476</c:v>
                </c:pt>
                <c:pt idx="8393">
                  <c:v>22479</c:v>
                </c:pt>
                <c:pt idx="8394">
                  <c:v>22480</c:v>
                </c:pt>
                <c:pt idx="8395">
                  <c:v>22481</c:v>
                </c:pt>
                <c:pt idx="8396">
                  <c:v>22482</c:v>
                </c:pt>
                <c:pt idx="8397">
                  <c:v>22483</c:v>
                </c:pt>
                <c:pt idx="8398">
                  <c:v>22486</c:v>
                </c:pt>
                <c:pt idx="8399">
                  <c:v>22487</c:v>
                </c:pt>
                <c:pt idx="8400">
                  <c:v>22488</c:v>
                </c:pt>
                <c:pt idx="8401">
                  <c:v>22489</c:v>
                </c:pt>
                <c:pt idx="8402">
                  <c:v>22490</c:v>
                </c:pt>
                <c:pt idx="8403">
                  <c:v>22493</c:v>
                </c:pt>
                <c:pt idx="8404">
                  <c:v>22494</c:v>
                </c:pt>
                <c:pt idx="8405">
                  <c:v>22495</c:v>
                </c:pt>
                <c:pt idx="8406">
                  <c:v>22496</c:v>
                </c:pt>
                <c:pt idx="8407">
                  <c:v>22497</c:v>
                </c:pt>
                <c:pt idx="8408">
                  <c:v>22500</c:v>
                </c:pt>
                <c:pt idx="8409">
                  <c:v>22501</c:v>
                </c:pt>
                <c:pt idx="8410">
                  <c:v>22502</c:v>
                </c:pt>
                <c:pt idx="8411">
                  <c:v>22503</c:v>
                </c:pt>
                <c:pt idx="8412">
                  <c:v>22504</c:v>
                </c:pt>
                <c:pt idx="8413">
                  <c:v>22507</c:v>
                </c:pt>
                <c:pt idx="8414">
                  <c:v>22508</c:v>
                </c:pt>
                <c:pt idx="8415">
                  <c:v>22509</c:v>
                </c:pt>
                <c:pt idx="8416">
                  <c:v>22510</c:v>
                </c:pt>
                <c:pt idx="8417">
                  <c:v>22511</c:v>
                </c:pt>
                <c:pt idx="8418">
                  <c:v>22514</c:v>
                </c:pt>
                <c:pt idx="8419">
                  <c:v>22515</c:v>
                </c:pt>
                <c:pt idx="8420">
                  <c:v>22516</c:v>
                </c:pt>
                <c:pt idx="8421">
                  <c:v>22517</c:v>
                </c:pt>
                <c:pt idx="8422">
                  <c:v>22518</c:v>
                </c:pt>
                <c:pt idx="8423">
                  <c:v>22521</c:v>
                </c:pt>
                <c:pt idx="8424">
                  <c:v>22522</c:v>
                </c:pt>
                <c:pt idx="8425">
                  <c:v>22523</c:v>
                </c:pt>
                <c:pt idx="8426">
                  <c:v>22524</c:v>
                </c:pt>
                <c:pt idx="8427">
                  <c:v>22525</c:v>
                </c:pt>
                <c:pt idx="8428">
                  <c:v>22529</c:v>
                </c:pt>
                <c:pt idx="8429">
                  <c:v>22530</c:v>
                </c:pt>
                <c:pt idx="8430">
                  <c:v>22531</c:v>
                </c:pt>
                <c:pt idx="8431">
                  <c:v>22532</c:v>
                </c:pt>
                <c:pt idx="8432">
                  <c:v>22535</c:v>
                </c:pt>
                <c:pt idx="8433">
                  <c:v>22536</c:v>
                </c:pt>
                <c:pt idx="8434">
                  <c:v>22537</c:v>
                </c:pt>
                <c:pt idx="8435">
                  <c:v>22538</c:v>
                </c:pt>
                <c:pt idx="8436">
                  <c:v>22539</c:v>
                </c:pt>
                <c:pt idx="8437">
                  <c:v>22542</c:v>
                </c:pt>
                <c:pt idx="8438">
                  <c:v>22543</c:v>
                </c:pt>
                <c:pt idx="8439">
                  <c:v>22544</c:v>
                </c:pt>
                <c:pt idx="8440">
                  <c:v>22545</c:v>
                </c:pt>
                <c:pt idx="8441">
                  <c:v>22546</c:v>
                </c:pt>
                <c:pt idx="8442">
                  <c:v>22549</c:v>
                </c:pt>
                <c:pt idx="8443">
                  <c:v>22550</c:v>
                </c:pt>
                <c:pt idx="8444">
                  <c:v>22551</c:v>
                </c:pt>
                <c:pt idx="8445">
                  <c:v>22552</c:v>
                </c:pt>
                <c:pt idx="8446">
                  <c:v>22553</c:v>
                </c:pt>
                <c:pt idx="8447">
                  <c:v>22556</c:v>
                </c:pt>
                <c:pt idx="8448">
                  <c:v>22557</c:v>
                </c:pt>
                <c:pt idx="8449">
                  <c:v>22558</c:v>
                </c:pt>
                <c:pt idx="8450">
                  <c:v>22559</c:v>
                </c:pt>
                <c:pt idx="8451">
                  <c:v>22560</c:v>
                </c:pt>
                <c:pt idx="8452">
                  <c:v>22563</c:v>
                </c:pt>
                <c:pt idx="8453">
                  <c:v>22564</c:v>
                </c:pt>
                <c:pt idx="8454">
                  <c:v>22565</c:v>
                </c:pt>
                <c:pt idx="8455">
                  <c:v>22566</c:v>
                </c:pt>
                <c:pt idx="8456">
                  <c:v>22567</c:v>
                </c:pt>
                <c:pt idx="8457">
                  <c:v>22570</c:v>
                </c:pt>
                <c:pt idx="8458">
                  <c:v>22571</c:v>
                </c:pt>
                <c:pt idx="8459">
                  <c:v>22572</c:v>
                </c:pt>
                <c:pt idx="8460">
                  <c:v>22573</c:v>
                </c:pt>
                <c:pt idx="8461">
                  <c:v>22574</c:v>
                </c:pt>
                <c:pt idx="8462">
                  <c:v>22577</c:v>
                </c:pt>
                <c:pt idx="8463">
                  <c:v>22578</c:v>
                </c:pt>
                <c:pt idx="8464">
                  <c:v>22579</c:v>
                </c:pt>
                <c:pt idx="8465">
                  <c:v>22580</c:v>
                </c:pt>
                <c:pt idx="8466">
                  <c:v>22581</c:v>
                </c:pt>
                <c:pt idx="8467">
                  <c:v>22584</c:v>
                </c:pt>
                <c:pt idx="8468">
                  <c:v>22585</c:v>
                </c:pt>
                <c:pt idx="8469">
                  <c:v>22586</c:v>
                </c:pt>
                <c:pt idx="8470">
                  <c:v>22587</c:v>
                </c:pt>
                <c:pt idx="8471">
                  <c:v>22588</c:v>
                </c:pt>
                <c:pt idx="8472">
                  <c:v>22591</c:v>
                </c:pt>
                <c:pt idx="8473">
                  <c:v>22593</c:v>
                </c:pt>
                <c:pt idx="8474">
                  <c:v>22594</c:v>
                </c:pt>
                <c:pt idx="8475">
                  <c:v>22595</c:v>
                </c:pt>
                <c:pt idx="8476">
                  <c:v>22598</c:v>
                </c:pt>
                <c:pt idx="8477">
                  <c:v>22599</c:v>
                </c:pt>
                <c:pt idx="8478">
                  <c:v>22600</c:v>
                </c:pt>
                <c:pt idx="8479">
                  <c:v>22601</c:v>
                </c:pt>
                <c:pt idx="8480">
                  <c:v>22602</c:v>
                </c:pt>
                <c:pt idx="8481">
                  <c:v>22605</c:v>
                </c:pt>
                <c:pt idx="8482">
                  <c:v>22606</c:v>
                </c:pt>
                <c:pt idx="8483">
                  <c:v>22607</c:v>
                </c:pt>
                <c:pt idx="8484">
                  <c:v>22609</c:v>
                </c:pt>
                <c:pt idx="8485">
                  <c:v>22612</c:v>
                </c:pt>
                <c:pt idx="8486">
                  <c:v>22613</c:v>
                </c:pt>
                <c:pt idx="8487">
                  <c:v>22614</c:v>
                </c:pt>
                <c:pt idx="8488">
                  <c:v>22615</c:v>
                </c:pt>
                <c:pt idx="8489">
                  <c:v>22616</c:v>
                </c:pt>
                <c:pt idx="8490">
                  <c:v>22619</c:v>
                </c:pt>
                <c:pt idx="8491">
                  <c:v>22620</c:v>
                </c:pt>
                <c:pt idx="8492">
                  <c:v>22621</c:v>
                </c:pt>
                <c:pt idx="8493">
                  <c:v>22622</c:v>
                </c:pt>
                <c:pt idx="8494">
                  <c:v>22623</c:v>
                </c:pt>
                <c:pt idx="8495">
                  <c:v>22626</c:v>
                </c:pt>
                <c:pt idx="8496">
                  <c:v>22627</c:v>
                </c:pt>
                <c:pt idx="8497">
                  <c:v>22628</c:v>
                </c:pt>
                <c:pt idx="8498">
                  <c:v>22629</c:v>
                </c:pt>
                <c:pt idx="8499">
                  <c:v>22630</c:v>
                </c:pt>
                <c:pt idx="8500">
                  <c:v>22633</c:v>
                </c:pt>
                <c:pt idx="8501">
                  <c:v>22634</c:v>
                </c:pt>
                <c:pt idx="8502">
                  <c:v>22635</c:v>
                </c:pt>
                <c:pt idx="8503">
                  <c:v>22636</c:v>
                </c:pt>
                <c:pt idx="8504">
                  <c:v>22637</c:v>
                </c:pt>
                <c:pt idx="8505">
                  <c:v>22641</c:v>
                </c:pt>
                <c:pt idx="8506">
                  <c:v>22642</c:v>
                </c:pt>
                <c:pt idx="8507">
                  <c:v>22643</c:v>
                </c:pt>
                <c:pt idx="8508">
                  <c:v>22644</c:v>
                </c:pt>
                <c:pt idx="8509">
                  <c:v>22648</c:v>
                </c:pt>
                <c:pt idx="8510">
                  <c:v>22649</c:v>
                </c:pt>
                <c:pt idx="8511">
                  <c:v>22650</c:v>
                </c:pt>
                <c:pt idx="8512">
                  <c:v>22651</c:v>
                </c:pt>
                <c:pt idx="8513">
                  <c:v>22654</c:v>
                </c:pt>
                <c:pt idx="8514">
                  <c:v>22655</c:v>
                </c:pt>
                <c:pt idx="8515">
                  <c:v>22656</c:v>
                </c:pt>
                <c:pt idx="8516">
                  <c:v>22657</c:v>
                </c:pt>
                <c:pt idx="8517">
                  <c:v>22658</c:v>
                </c:pt>
                <c:pt idx="8518">
                  <c:v>22661</c:v>
                </c:pt>
                <c:pt idx="8519">
                  <c:v>22662</c:v>
                </c:pt>
                <c:pt idx="8520">
                  <c:v>22663</c:v>
                </c:pt>
                <c:pt idx="8521">
                  <c:v>22664</c:v>
                </c:pt>
                <c:pt idx="8522">
                  <c:v>22665</c:v>
                </c:pt>
                <c:pt idx="8523">
                  <c:v>22668</c:v>
                </c:pt>
                <c:pt idx="8524">
                  <c:v>22669</c:v>
                </c:pt>
                <c:pt idx="8525">
                  <c:v>22670</c:v>
                </c:pt>
                <c:pt idx="8526">
                  <c:v>22671</c:v>
                </c:pt>
                <c:pt idx="8527">
                  <c:v>22672</c:v>
                </c:pt>
                <c:pt idx="8528">
                  <c:v>22675</c:v>
                </c:pt>
                <c:pt idx="8529">
                  <c:v>22676</c:v>
                </c:pt>
                <c:pt idx="8530">
                  <c:v>22677</c:v>
                </c:pt>
                <c:pt idx="8531">
                  <c:v>22678</c:v>
                </c:pt>
                <c:pt idx="8532">
                  <c:v>22679</c:v>
                </c:pt>
                <c:pt idx="8533">
                  <c:v>22682</c:v>
                </c:pt>
                <c:pt idx="8534">
                  <c:v>22683</c:v>
                </c:pt>
                <c:pt idx="8535">
                  <c:v>22684</c:v>
                </c:pt>
                <c:pt idx="8536">
                  <c:v>22685</c:v>
                </c:pt>
                <c:pt idx="8537">
                  <c:v>22686</c:v>
                </c:pt>
                <c:pt idx="8538">
                  <c:v>22689</c:v>
                </c:pt>
                <c:pt idx="8539">
                  <c:v>22690</c:v>
                </c:pt>
                <c:pt idx="8540">
                  <c:v>22691</c:v>
                </c:pt>
                <c:pt idx="8541">
                  <c:v>22692</c:v>
                </c:pt>
                <c:pt idx="8542">
                  <c:v>22693</c:v>
                </c:pt>
                <c:pt idx="8543">
                  <c:v>22696</c:v>
                </c:pt>
                <c:pt idx="8544">
                  <c:v>22697</c:v>
                </c:pt>
                <c:pt idx="8545">
                  <c:v>22698</c:v>
                </c:pt>
                <c:pt idx="8546">
                  <c:v>22700</c:v>
                </c:pt>
                <c:pt idx="8547">
                  <c:v>22703</c:v>
                </c:pt>
                <c:pt idx="8548">
                  <c:v>22704</c:v>
                </c:pt>
                <c:pt idx="8549">
                  <c:v>22705</c:v>
                </c:pt>
                <c:pt idx="8550">
                  <c:v>22706</c:v>
                </c:pt>
                <c:pt idx="8551">
                  <c:v>22707</c:v>
                </c:pt>
                <c:pt idx="8552">
                  <c:v>22710</c:v>
                </c:pt>
                <c:pt idx="8553">
                  <c:v>22711</c:v>
                </c:pt>
                <c:pt idx="8554">
                  <c:v>22712</c:v>
                </c:pt>
                <c:pt idx="8555">
                  <c:v>22713</c:v>
                </c:pt>
                <c:pt idx="8556">
                  <c:v>22714</c:v>
                </c:pt>
                <c:pt idx="8557">
                  <c:v>22717</c:v>
                </c:pt>
                <c:pt idx="8558">
                  <c:v>22718</c:v>
                </c:pt>
                <c:pt idx="8559">
                  <c:v>22719</c:v>
                </c:pt>
                <c:pt idx="8560">
                  <c:v>22720</c:v>
                </c:pt>
                <c:pt idx="8561">
                  <c:v>22721</c:v>
                </c:pt>
                <c:pt idx="8562">
                  <c:v>22724</c:v>
                </c:pt>
                <c:pt idx="8563">
                  <c:v>22725</c:v>
                </c:pt>
                <c:pt idx="8564">
                  <c:v>22726</c:v>
                </c:pt>
                <c:pt idx="8565">
                  <c:v>22727</c:v>
                </c:pt>
                <c:pt idx="8566">
                  <c:v>22728</c:v>
                </c:pt>
                <c:pt idx="8567">
                  <c:v>22731</c:v>
                </c:pt>
                <c:pt idx="8568">
                  <c:v>22732</c:v>
                </c:pt>
                <c:pt idx="8569">
                  <c:v>22733</c:v>
                </c:pt>
                <c:pt idx="8570">
                  <c:v>22734</c:v>
                </c:pt>
                <c:pt idx="8571">
                  <c:v>22735</c:v>
                </c:pt>
                <c:pt idx="8572">
                  <c:v>22738</c:v>
                </c:pt>
                <c:pt idx="8573">
                  <c:v>22739</c:v>
                </c:pt>
                <c:pt idx="8574">
                  <c:v>22740</c:v>
                </c:pt>
                <c:pt idx="8575">
                  <c:v>22741</c:v>
                </c:pt>
                <c:pt idx="8576">
                  <c:v>22742</c:v>
                </c:pt>
                <c:pt idx="8577">
                  <c:v>22745</c:v>
                </c:pt>
                <c:pt idx="8578">
                  <c:v>22746</c:v>
                </c:pt>
                <c:pt idx="8579">
                  <c:v>22747</c:v>
                </c:pt>
                <c:pt idx="8580">
                  <c:v>22748</c:v>
                </c:pt>
                <c:pt idx="8581">
                  <c:v>22749</c:v>
                </c:pt>
                <c:pt idx="8582">
                  <c:v>22752</c:v>
                </c:pt>
                <c:pt idx="8583">
                  <c:v>22753</c:v>
                </c:pt>
                <c:pt idx="8584">
                  <c:v>22754</c:v>
                </c:pt>
                <c:pt idx="8585">
                  <c:v>22755</c:v>
                </c:pt>
                <c:pt idx="8586">
                  <c:v>22759</c:v>
                </c:pt>
                <c:pt idx="8587">
                  <c:v>22760</c:v>
                </c:pt>
                <c:pt idx="8588">
                  <c:v>22761</c:v>
                </c:pt>
                <c:pt idx="8589">
                  <c:v>22762</c:v>
                </c:pt>
                <c:pt idx="8590">
                  <c:v>22763</c:v>
                </c:pt>
                <c:pt idx="8591">
                  <c:v>22766</c:v>
                </c:pt>
                <c:pt idx="8592">
                  <c:v>22767</c:v>
                </c:pt>
                <c:pt idx="8593">
                  <c:v>22768</c:v>
                </c:pt>
                <c:pt idx="8594">
                  <c:v>22769</c:v>
                </c:pt>
                <c:pt idx="8595">
                  <c:v>22770</c:v>
                </c:pt>
                <c:pt idx="8596">
                  <c:v>22773</c:v>
                </c:pt>
                <c:pt idx="8597">
                  <c:v>22774</c:v>
                </c:pt>
                <c:pt idx="8598">
                  <c:v>22775</c:v>
                </c:pt>
                <c:pt idx="8599">
                  <c:v>22776</c:v>
                </c:pt>
                <c:pt idx="8600">
                  <c:v>22777</c:v>
                </c:pt>
                <c:pt idx="8601">
                  <c:v>22780</c:v>
                </c:pt>
                <c:pt idx="8602">
                  <c:v>22781</c:v>
                </c:pt>
                <c:pt idx="8603">
                  <c:v>22782</c:v>
                </c:pt>
                <c:pt idx="8604">
                  <c:v>22783</c:v>
                </c:pt>
                <c:pt idx="8605">
                  <c:v>22784</c:v>
                </c:pt>
                <c:pt idx="8606">
                  <c:v>22787</c:v>
                </c:pt>
                <c:pt idx="8607">
                  <c:v>22788</c:v>
                </c:pt>
                <c:pt idx="8608">
                  <c:v>22789</c:v>
                </c:pt>
                <c:pt idx="8609">
                  <c:v>22790</c:v>
                </c:pt>
                <c:pt idx="8610">
                  <c:v>22791</c:v>
                </c:pt>
                <c:pt idx="8611">
                  <c:v>22794</c:v>
                </c:pt>
                <c:pt idx="8612">
                  <c:v>22795</c:v>
                </c:pt>
                <c:pt idx="8613">
                  <c:v>22797</c:v>
                </c:pt>
                <c:pt idx="8614">
                  <c:v>22798</c:v>
                </c:pt>
                <c:pt idx="8615">
                  <c:v>22801</c:v>
                </c:pt>
                <c:pt idx="8616">
                  <c:v>22802</c:v>
                </c:pt>
                <c:pt idx="8617">
                  <c:v>22803</c:v>
                </c:pt>
                <c:pt idx="8618">
                  <c:v>22804</c:v>
                </c:pt>
                <c:pt idx="8619">
                  <c:v>22805</c:v>
                </c:pt>
                <c:pt idx="8620">
                  <c:v>22808</c:v>
                </c:pt>
                <c:pt idx="8621">
                  <c:v>22809</c:v>
                </c:pt>
                <c:pt idx="8622">
                  <c:v>22810</c:v>
                </c:pt>
                <c:pt idx="8623">
                  <c:v>22811</c:v>
                </c:pt>
                <c:pt idx="8624">
                  <c:v>22812</c:v>
                </c:pt>
                <c:pt idx="8625">
                  <c:v>22815</c:v>
                </c:pt>
                <c:pt idx="8626">
                  <c:v>22816</c:v>
                </c:pt>
                <c:pt idx="8627">
                  <c:v>22817</c:v>
                </c:pt>
                <c:pt idx="8628">
                  <c:v>22818</c:v>
                </c:pt>
                <c:pt idx="8629">
                  <c:v>22819</c:v>
                </c:pt>
                <c:pt idx="8630">
                  <c:v>22822</c:v>
                </c:pt>
                <c:pt idx="8631">
                  <c:v>22823</c:v>
                </c:pt>
                <c:pt idx="8632">
                  <c:v>22824</c:v>
                </c:pt>
                <c:pt idx="8633">
                  <c:v>22825</c:v>
                </c:pt>
                <c:pt idx="8634">
                  <c:v>22826</c:v>
                </c:pt>
                <c:pt idx="8635">
                  <c:v>22829</c:v>
                </c:pt>
                <c:pt idx="8636">
                  <c:v>22830</c:v>
                </c:pt>
                <c:pt idx="8637">
                  <c:v>22832</c:v>
                </c:pt>
                <c:pt idx="8638">
                  <c:v>22833</c:v>
                </c:pt>
                <c:pt idx="8639">
                  <c:v>22836</c:v>
                </c:pt>
                <c:pt idx="8640">
                  <c:v>22837</c:v>
                </c:pt>
                <c:pt idx="8641">
                  <c:v>22838</c:v>
                </c:pt>
                <c:pt idx="8642">
                  <c:v>22839</c:v>
                </c:pt>
                <c:pt idx="8643">
                  <c:v>22840</c:v>
                </c:pt>
                <c:pt idx="8644">
                  <c:v>22843</c:v>
                </c:pt>
                <c:pt idx="8645">
                  <c:v>22844</c:v>
                </c:pt>
                <c:pt idx="8646">
                  <c:v>22845</c:v>
                </c:pt>
                <c:pt idx="8647">
                  <c:v>22846</c:v>
                </c:pt>
                <c:pt idx="8648">
                  <c:v>22847</c:v>
                </c:pt>
                <c:pt idx="8649">
                  <c:v>22850</c:v>
                </c:pt>
                <c:pt idx="8650">
                  <c:v>22851</c:v>
                </c:pt>
                <c:pt idx="8651">
                  <c:v>22852</c:v>
                </c:pt>
                <c:pt idx="8652">
                  <c:v>22853</c:v>
                </c:pt>
                <c:pt idx="8653">
                  <c:v>22854</c:v>
                </c:pt>
                <c:pt idx="8654">
                  <c:v>22857</c:v>
                </c:pt>
                <c:pt idx="8655">
                  <c:v>22858</c:v>
                </c:pt>
                <c:pt idx="8656">
                  <c:v>22859</c:v>
                </c:pt>
                <c:pt idx="8657">
                  <c:v>22860</c:v>
                </c:pt>
                <c:pt idx="8658">
                  <c:v>22861</c:v>
                </c:pt>
                <c:pt idx="8659">
                  <c:v>22864</c:v>
                </c:pt>
                <c:pt idx="8660">
                  <c:v>22865</c:v>
                </c:pt>
                <c:pt idx="8661">
                  <c:v>22866</c:v>
                </c:pt>
                <c:pt idx="8662">
                  <c:v>22867</c:v>
                </c:pt>
                <c:pt idx="8663">
                  <c:v>22868</c:v>
                </c:pt>
                <c:pt idx="8664">
                  <c:v>22871</c:v>
                </c:pt>
                <c:pt idx="8665">
                  <c:v>22872</c:v>
                </c:pt>
                <c:pt idx="8666">
                  <c:v>22873</c:v>
                </c:pt>
                <c:pt idx="8667">
                  <c:v>22874</c:v>
                </c:pt>
                <c:pt idx="8668">
                  <c:v>22875</c:v>
                </c:pt>
                <c:pt idx="8669">
                  <c:v>22878</c:v>
                </c:pt>
                <c:pt idx="8670">
                  <c:v>22879</c:v>
                </c:pt>
                <c:pt idx="8671">
                  <c:v>22880</c:v>
                </c:pt>
                <c:pt idx="8672">
                  <c:v>22881</c:v>
                </c:pt>
                <c:pt idx="8673">
                  <c:v>22882</c:v>
                </c:pt>
                <c:pt idx="8674">
                  <c:v>22885</c:v>
                </c:pt>
                <c:pt idx="8675">
                  <c:v>22886</c:v>
                </c:pt>
                <c:pt idx="8676">
                  <c:v>22887</c:v>
                </c:pt>
                <c:pt idx="8677">
                  <c:v>22888</c:v>
                </c:pt>
                <c:pt idx="8678">
                  <c:v>22889</c:v>
                </c:pt>
                <c:pt idx="8679">
                  <c:v>22893</c:v>
                </c:pt>
                <c:pt idx="8680">
                  <c:v>22894</c:v>
                </c:pt>
                <c:pt idx="8681">
                  <c:v>22895</c:v>
                </c:pt>
                <c:pt idx="8682">
                  <c:v>22896</c:v>
                </c:pt>
                <c:pt idx="8683">
                  <c:v>22899</c:v>
                </c:pt>
                <c:pt idx="8684">
                  <c:v>22900</c:v>
                </c:pt>
                <c:pt idx="8685">
                  <c:v>22901</c:v>
                </c:pt>
                <c:pt idx="8686">
                  <c:v>22902</c:v>
                </c:pt>
                <c:pt idx="8687">
                  <c:v>22903</c:v>
                </c:pt>
                <c:pt idx="8688">
                  <c:v>22906</c:v>
                </c:pt>
                <c:pt idx="8689">
                  <c:v>22907</c:v>
                </c:pt>
                <c:pt idx="8690">
                  <c:v>22908</c:v>
                </c:pt>
                <c:pt idx="8691">
                  <c:v>22909</c:v>
                </c:pt>
                <c:pt idx="8692">
                  <c:v>22910</c:v>
                </c:pt>
                <c:pt idx="8693">
                  <c:v>22913</c:v>
                </c:pt>
                <c:pt idx="8694">
                  <c:v>22914</c:v>
                </c:pt>
                <c:pt idx="8695">
                  <c:v>22915</c:v>
                </c:pt>
                <c:pt idx="8696">
                  <c:v>22916</c:v>
                </c:pt>
                <c:pt idx="8697">
                  <c:v>22917</c:v>
                </c:pt>
                <c:pt idx="8698">
                  <c:v>22920</c:v>
                </c:pt>
                <c:pt idx="8699">
                  <c:v>22921</c:v>
                </c:pt>
                <c:pt idx="8700">
                  <c:v>22922</c:v>
                </c:pt>
                <c:pt idx="8701">
                  <c:v>22923</c:v>
                </c:pt>
                <c:pt idx="8702">
                  <c:v>22924</c:v>
                </c:pt>
                <c:pt idx="8703">
                  <c:v>22927</c:v>
                </c:pt>
                <c:pt idx="8704">
                  <c:v>22928</c:v>
                </c:pt>
                <c:pt idx="8705">
                  <c:v>22929</c:v>
                </c:pt>
                <c:pt idx="8706">
                  <c:v>22930</c:v>
                </c:pt>
                <c:pt idx="8707">
                  <c:v>22931</c:v>
                </c:pt>
                <c:pt idx="8708">
                  <c:v>22934</c:v>
                </c:pt>
                <c:pt idx="8709">
                  <c:v>22935</c:v>
                </c:pt>
                <c:pt idx="8710">
                  <c:v>22936</c:v>
                </c:pt>
                <c:pt idx="8711">
                  <c:v>22937</c:v>
                </c:pt>
                <c:pt idx="8712">
                  <c:v>22938</c:v>
                </c:pt>
                <c:pt idx="8713">
                  <c:v>22941</c:v>
                </c:pt>
                <c:pt idx="8714">
                  <c:v>22942</c:v>
                </c:pt>
                <c:pt idx="8715">
                  <c:v>22943</c:v>
                </c:pt>
                <c:pt idx="8716">
                  <c:v>22944</c:v>
                </c:pt>
                <c:pt idx="8717">
                  <c:v>22945</c:v>
                </c:pt>
                <c:pt idx="8718">
                  <c:v>22948</c:v>
                </c:pt>
                <c:pt idx="8719">
                  <c:v>22949</c:v>
                </c:pt>
                <c:pt idx="8720">
                  <c:v>22950</c:v>
                </c:pt>
                <c:pt idx="8721">
                  <c:v>22951</c:v>
                </c:pt>
                <c:pt idx="8722">
                  <c:v>22952</c:v>
                </c:pt>
                <c:pt idx="8723">
                  <c:v>22955</c:v>
                </c:pt>
                <c:pt idx="8724">
                  <c:v>22957</c:v>
                </c:pt>
                <c:pt idx="8725">
                  <c:v>22958</c:v>
                </c:pt>
                <c:pt idx="8726">
                  <c:v>22959</c:v>
                </c:pt>
                <c:pt idx="8727">
                  <c:v>22962</c:v>
                </c:pt>
                <c:pt idx="8728">
                  <c:v>22963</c:v>
                </c:pt>
                <c:pt idx="8729">
                  <c:v>22964</c:v>
                </c:pt>
                <c:pt idx="8730">
                  <c:v>22965</c:v>
                </c:pt>
                <c:pt idx="8731">
                  <c:v>22966</c:v>
                </c:pt>
                <c:pt idx="8732">
                  <c:v>22969</c:v>
                </c:pt>
                <c:pt idx="8733">
                  <c:v>22970</c:v>
                </c:pt>
                <c:pt idx="8734">
                  <c:v>22971</c:v>
                </c:pt>
                <c:pt idx="8735">
                  <c:v>22973</c:v>
                </c:pt>
                <c:pt idx="8736">
                  <c:v>22976</c:v>
                </c:pt>
                <c:pt idx="8737">
                  <c:v>22977</c:v>
                </c:pt>
                <c:pt idx="8738">
                  <c:v>22978</c:v>
                </c:pt>
                <c:pt idx="8739">
                  <c:v>22979</c:v>
                </c:pt>
                <c:pt idx="8740">
                  <c:v>22980</c:v>
                </c:pt>
                <c:pt idx="8741">
                  <c:v>22983</c:v>
                </c:pt>
                <c:pt idx="8742">
                  <c:v>22984</c:v>
                </c:pt>
                <c:pt idx="8743">
                  <c:v>22985</c:v>
                </c:pt>
                <c:pt idx="8744">
                  <c:v>22986</c:v>
                </c:pt>
                <c:pt idx="8745">
                  <c:v>22987</c:v>
                </c:pt>
                <c:pt idx="8746">
                  <c:v>22990</c:v>
                </c:pt>
                <c:pt idx="8747">
                  <c:v>22991</c:v>
                </c:pt>
                <c:pt idx="8748">
                  <c:v>22992</c:v>
                </c:pt>
                <c:pt idx="8749">
                  <c:v>22993</c:v>
                </c:pt>
                <c:pt idx="8750">
                  <c:v>22994</c:v>
                </c:pt>
                <c:pt idx="8751">
                  <c:v>22997</c:v>
                </c:pt>
                <c:pt idx="8752">
                  <c:v>22998</c:v>
                </c:pt>
                <c:pt idx="8753">
                  <c:v>22999</c:v>
                </c:pt>
                <c:pt idx="8754">
                  <c:v>23000</c:v>
                </c:pt>
                <c:pt idx="8755">
                  <c:v>23001</c:v>
                </c:pt>
                <c:pt idx="8756">
                  <c:v>23004</c:v>
                </c:pt>
                <c:pt idx="8757">
                  <c:v>23006</c:v>
                </c:pt>
                <c:pt idx="8758">
                  <c:v>23007</c:v>
                </c:pt>
                <c:pt idx="8759">
                  <c:v>23008</c:v>
                </c:pt>
                <c:pt idx="8760">
                  <c:v>23011</c:v>
                </c:pt>
                <c:pt idx="8761">
                  <c:v>23013</c:v>
                </c:pt>
                <c:pt idx="8762">
                  <c:v>23014</c:v>
                </c:pt>
                <c:pt idx="8763">
                  <c:v>23015</c:v>
                </c:pt>
                <c:pt idx="8764">
                  <c:v>23018</c:v>
                </c:pt>
                <c:pt idx="8765">
                  <c:v>23019</c:v>
                </c:pt>
                <c:pt idx="8766">
                  <c:v>23020</c:v>
                </c:pt>
                <c:pt idx="8767">
                  <c:v>23021</c:v>
                </c:pt>
                <c:pt idx="8768">
                  <c:v>23022</c:v>
                </c:pt>
                <c:pt idx="8769">
                  <c:v>23025</c:v>
                </c:pt>
                <c:pt idx="8770">
                  <c:v>23026</c:v>
                </c:pt>
                <c:pt idx="8771">
                  <c:v>23027</c:v>
                </c:pt>
                <c:pt idx="8772">
                  <c:v>23028</c:v>
                </c:pt>
                <c:pt idx="8773">
                  <c:v>23029</c:v>
                </c:pt>
                <c:pt idx="8774">
                  <c:v>23032</c:v>
                </c:pt>
                <c:pt idx="8775">
                  <c:v>23033</c:v>
                </c:pt>
                <c:pt idx="8776">
                  <c:v>23034</c:v>
                </c:pt>
                <c:pt idx="8777">
                  <c:v>23035</c:v>
                </c:pt>
                <c:pt idx="8778">
                  <c:v>23036</c:v>
                </c:pt>
                <c:pt idx="8779">
                  <c:v>23039</c:v>
                </c:pt>
                <c:pt idx="8780">
                  <c:v>23040</c:v>
                </c:pt>
                <c:pt idx="8781">
                  <c:v>23041</c:v>
                </c:pt>
                <c:pt idx="8782">
                  <c:v>23042</c:v>
                </c:pt>
                <c:pt idx="8783">
                  <c:v>23043</c:v>
                </c:pt>
                <c:pt idx="8784">
                  <c:v>23046</c:v>
                </c:pt>
                <c:pt idx="8785">
                  <c:v>23047</c:v>
                </c:pt>
                <c:pt idx="8786">
                  <c:v>23048</c:v>
                </c:pt>
                <c:pt idx="8787">
                  <c:v>23049</c:v>
                </c:pt>
                <c:pt idx="8788">
                  <c:v>23050</c:v>
                </c:pt>
                <c:pt idx="8789">
                  <c:v>23053</c:v>
                </c:pt>
                <c:pt idx="8790">
                  <c:v>23054</c:v>
                </c:pt>
                <c:pt idx="8791">
                  <c:v>23055</c:v>
                </c:pt>
                <c:pt idx="8792">
                  <c:v>23056</c:v>
                </c:pt>
                <c:pt idx="8793">
                  <c:v>23057</c:v>
                </c:pt>
                <c:pt idx="8794">
                  <c:v>23060</c:v>
                </c:pt>
                <c:pt idx="8795">
                  <c:v>23061</c:v>
                </c:pt>
                <c:pt idx="8796">
                  <c:v>23062</c:v>
                </c:pt>
                <c:pt idx="8797">
                  <c:v>23063</c:v>
                </c:pt>
                <c:pt idx="8798">
                  <c:v>23067</c:v>
                </c:pt>
                <c:pt idx="8799">
                  <c:v>23068</c:v>
                </c:pt>
                <c:pt idx="8800">
                  <c:v>23069</c:v>
                </c:pt>
                <c:pt idx="8801">
                  <c:v>23070</c:v>
                </c:pt>
                <c:pt idx="8802">
                  <c:v>23071</c:v>
                </c:pt>
                <c:pt idx="8803">
                  <c:v>23074</c:v>
                </c:pt>
                <c:pt idx="8804">
                  <c:v>23075</c:v>
                </c:pt>
                <c:pt idx="8805">
                  <c:v>23076</c:v>
                </c:pt>
                <c:pt idx="8806">
                  <c:v>23077</c:v>
                </c:pt>
                <c:pt idx="8807">
                  <c:v>23078</c:v>
                </c:pt>
                <c:pt idx="8808">
                  <c:v>23081</c:v>
                </c:pt>
                <c:pt idx="8809">
                  <c:v>23082</c:v>
                </c:pt>
                <c:pt idx="8810">
                  <c:v>23083</c:v>
                </c:pt>
                <c:pt idx="8811">
                  <c:v>23084</c:v>
                </c:pt>
                <c:pt idx="8812">
                  <c:v>23085</c:v>
                </c:pt>
                <c:pt idx="8813">
                  <c:v>23088</c:v>
                </c:pt>
                <c:pt idx="8814">
                  <c:v>23089</c:v>
                </c:pt>
                <c:pt idx="8815">
                  <c:v>23090</c:v>
                </c:pt>
                <c:pt idx="8816">
                  <c:v>23091</c:v>
                </c:pt>
                <c:pt idx="8817">
                  <c:v>23092</c:v>
                </c:pt>
                <c:pt idx="8818">
                  <c:v>23095</c:v>
                </c:pt>
                <c:pt idx="8819">
                  <c:v>23096</c:v>
                </c:pt>
                <c:pt idx="8820">
                  <c:v>23097</c:v>
                </c:pt>
                <c:pt idx="8821">
                  <c:v>23098</c:v>
                </c:pt>
                <c:pt idx="8822">
                  <c:v>23099</c:v>
                </c:pt>
                <c:pt idx="8823">
                  <c:v>23102</c:v>
                </c:pt>
                <c:pt idx="8824">
                  <c:v>23103</c:v>
                </c:pt>
                <c:pt idx="8825">
                  <c:v>23104</c:v>
                </c:pt>
                <c:pt idx="8826">
                  <c:v>23105</c:v>
                </c:pt>
                <c:pt idx="8827">
                  <c:v>23106</c:v>
                </c:pt>
                <c:pt idx="8828">
                  <c:v>23109</c:v>
                </c:pt>
                <c:pt idx="8829">
                  <c:v>23110</c:v>
                </c:pt>
                <c:pt idx="8830">
                  <c:v>23111</c:v>
                </c:pt>
                <c:pt idx="8831">
                  <c:v>23112</c:v>
                </c:pt>
                <c:pt idx="8832">
                  <c:v>23116</c:v>
                </c:pt>
                <c:pt idx="8833">
                  <c:v>23117</c:v>
                </c:pt>
                <c:pt idx="8834">
                  <c:v>23118</c:v>
                </c:pt>
                <c:pt idx="8835">
                  <c:v>23119</c:v>
                </c:pt>
                <c:pt idx="8836">
                  <c:v>23120</c:v>
                </c:pt>
                <c:pt idx="8837">
                  <c:v>23123</c:v>
                </c:pt>
                <c:pt idx="8838">
                  <c:v>23124</c:v>
                </c:pt>
                <c:pt idx="8839">
                  <c:v>23125</c:v>
                </c:pt>
                <c:pt idx="8840">
                  <c:v>23126</c:v>
                </c:pt>
                <c:pt idx="8841">
                  <c:v>23127</c:v>
                </c:pt>
                <c:pt idx="8842">
                  <c:v>23130</c:v>
                </c:pt>
                <c:pt idx="8843">
                  <c:v>23131</c:v>
                </c:pt>
                <c:pt idx="8844">
                  <c:v>23132</c:v>
                </c:pt>
                <c:pt idx="8845">
                  <c:v>23133</c:v>
                </c:pt>
                <c:pt idx="8846">
                  <c:v>23134</c:v>
                </c:pt>
                <c:pt idx="8847">
                  <c:v>23137</c:v>
                </c:pt>
                <c:pt idx="8848">
                  <c:v>23138</c:v>
                </c:pt>
                <c:pt idx="8849">
                  <c:v>23139</c:v>
                </c:pt>
                <c:pt idx="8850">
                  <c:v>23140</c:v>
                </c:pt>
                <c:pt idx="8851">
                  <c:v>23141</c:v>
                </c:pt>
                <c:pt idx="8852">
                  <c:v>23144</c:v>
                </c:pt>
                <c:pt idx="8853">
                  <c:v>23145</c:v>
                </c:pt>
                <c:pt idx="8854">
                  <c:v>23146</c:v>
                </c:pt>
                <c:pt idx="8855">
                  <c:v>23147</c:v>
                </c:pt>
                <c:pt idx="8856">
                  <c:v>23148</c:v>
                </c:pt>
                <c:pt idx="8857">
                  <c:v>23151</c:v>
                </c:pt>
                <c:pt idx="8858">
                  <c:v>23152</c:v>
                </c:pt>
                <c:pt idx="8859">
                  <c:v>23153</c:v>
                </c:pt>
                <c:pt idx="8860">
                  <c:v>23154</c:v>
                </c:pt>
                <c:pt idx="8861">
                  <c:v>23155</c:v>
                </c:pt>
                <c:pt idx="8862">
                  <c:v>23158</c:v>
                </c:pt>
                <c:pt idx="8863">
                  <c:v>23159</c:v>
                </c:pt>
                <c:pt idx="8864">
                  <c:v>23160</c:v>
                </c:pt>
                <c:pt idx="8865">
                  <c:v>23162</c:v>
                </c:pt>
                <c:pt idx="8866">
                  <c:v>23165</c:v>
                </c:pt>
                <c:pt idx="8867">
                  <c:v>23166</c:v>
                </c:pt>
                <c:pt idx="8868">
                  <c:v>23167</c:v>
                </c:pt>
                <c:pt idx="8869">
                  <c:v>23168</c:v>
                </c:pt>
                <c:pt idx="8870">
                  <c:v>23169</c:v>
                </c:pt>
                <c:pt idx="8871">
                  <c:v>23172</c:v>
                </c:pt>
                <c:pt idx="8872">
                  <c:v>23173</c:v>
                </c:pt>
                <c:pt idx="8873">
                  <c:v>23174</c:v>
                </c:pt>
                <c:pt idx="8874">
                  <c:v>23175</c:v>
                </c:pt>
                <c:pt idx="8875">
                  <c:v>23176</c:v>
                </c:pt>
                <c:pt idx="8876">
                  <c:v>23179</c:v>
                </c:pt>
                <c:pt idx="8877">
                  <c:v>23180</c:v>
                </c:pt>
                <c:pt idx="8878">
                  <c:v>23181</c:v>
                </c:pt>
                <c:pt idx="8879">
                  <c:v>23182</c:v>
                </c:pt>
                <c:pt idx="8880">
                  <c:v>23183</c:v>
                </c:pt>
                <c:pt idx="8881">
                  <c:v>23186</c:v>
                </c:pt>
                <c:pt idx="8882">
                  <c:v>23187</c:v>
                </c:pt>
                <c:pt idx="8883">
                  <c:v>23188</c:v>
                </c:pt>
                <c:pt idx="8884">
                  <c:v>23189</c:v>
                </c:pt>
                <c:pt idx="8885">
                  <c:v>23190</c:v>
                </c:pt>
                <c:pt idx="8886">
                  <c:v>23193</c:v>
                </c:pt>
                <c:pt idx="8887">
                  <c:v>23194</c:v>
                </c:pt>
                <c:pt idx="8888">
                  <c:v>23195</c:v>
                </c:pt>
                <c:pt idx="8889">
                  <c:v>23197</c:v>
                </c:pt>
                <c:pt idx="8890">
                  <c:v>23200</c:v>
                </c:pt>
                <c:pt idx="8891">
                  <c:v>23201</c:v>
                </c:pt>
                <c:pt idx="8892">
                  <c:v>23202</c:v>
                </c:pt>
                <c:pt idx="8893">
                  <c:v>23203</c:v>
                </c:pt>
                <c:pt idx="8894">
                  <c:v>23204</c:v>
                </c:pt>
                <c:pt idx="8895">
                  <c:v>23207</c:v>
                </c:pt>
                <c:pt idx="8896">
                  <c:v>23208</c:v>
                </c:pt>
                <c:pt idx="8897">
                  <c:v>23209</c:v>
                </c:pt>
                <c:pt idx="8898">
                  <c:v>23210</c:v>
                </c:pt>
                <c:pt idx="8899">
                  <c:v>23211</c:v>
                </c:pt>
                <c:pt idx="8900">
                  <c:v>23214</c:v>
                </c:pt>
                <c:pt idx="8901">
                  <c:v>23215</c:v>
                </c:pt>
                <c:pt idx="8902">
                  <c:v>23216</c:v>
                </c:pt>
                <c:pt idx="8903">
                  <c:v>23217</c:v>
                </c:pt>
                <c:pt idx="8904">
                  <c:v>23218</c:v>
                </c:pt>
                <c:pt idx="8905">
                  <c:v>23221</c:v>
                </c:pt>
                <c:pt idx="8906">
                  <c:v>23222</c:v>
                </c:pt>
                <c:pt idx="8907">
                  <c:v>23223</c:v>
                </c:pt>
                <c:pt idx="8908">
                  <c:v>23224</c:v>
                </c:pt>
                <c:pt idx="8909">
                  <c:v>23225</c:v>
                </c:pt>
                <c:pt idx="8910">
                  <c:v>23228</c:v>
                </c:pt>
                <c:pt idx="8911">
                  <c:v>23229</c:v>
                </c:pt>
                <c:pt idx="8912">
                  <c:v>23230</c:v>
                </c:pt>
                <c:pt idx="8913">
                  <c:v>23231</c:v>
                </c:pt>
                <c:pt idx="8914">
                  <c:v>23232</c:v>
                </c:pt>
                <c:pt idx="8915">
                  <c:v>23235</c:v>
                </c:pt>
                <c:pt idx="8916">
                  <c:v>23236</c:v>
                </c:pt>
                <c:pt idx="8917">
                  <c:v>23237</c:v>
                </c:pt>
                <c:pt idx="8918">
                  <c:v>23238</c:v>
                </c:pt>
                <c:pt idx="8919">
                  <c:v>23239</c:v>
                </c:pt>
                <c:pt idx="8920">
                  <c:v>23242</c:v>
                </c:pt>
                <c:pt idx="8921">
                  <c:v>23243</c:v>
                </c:pt>
                <c:pt idx="8922">
                  <c:v>23244</c:v>
                </c:pt>
                <c:pt idx="8923">
                  <c:v>23245</c:v>
                </c:pt>
                <c:pt idx="8924">
                  <c:v>23246</c:v>
                </c:pt>
                <c:pt idx="8925">
                  <c:v>23249</c:v>
                </c:pt>
                <c:pt idx="8926">
                  <c:v>23250</c:v>
                </c:pt>
                <c:pt idx="8927">
                  <c:v>23251</c:v>
                </c:pt>
                <c:pt idx="8928">
                  <c:v>23252</c:v>
                </c:pt>
                <c:pt idx="8929">
                  <c:v>23253</c:v>
                </c:pt>
                <c:pt idx="8930">
                  <c:v>23257</c:v>
                </c:pt>
                <c:pt idx="8931">
                  <c:v>23258</c:v>
                </c:pt>
                <c:pt idx="8932">
                  <c:v>23259</c:v>
                </c:pt>
                <c:pt idx="8933">
                  <c:v>23260</c:v>
                </c:pt>
                <c:pt idx="8934">
                  <c:v>23263</c:v>
                </c:pt>
                <c:pt idx="8935">
                  <c:v>23264</c:v>
                </c:pt>
                <c:pt idx="8936">
                  <c:v>23265</c:v>
                </c:pt>
                <c:pt idx="8937">
                  <c:v>23266</c:v>
                </c:pt>
                <c:pt idx="8938">
                  <c:v>23267</c:v>
                </c:pt>
                <c:pt idx="8939">
                  <c:v>23270</c:v>
                </c:pt>
                <c:pt idx="8940">
                  <c:v>23271</c:v>
                </c:pt>
                <c:pt idx="8941">
                  <c:v>23272</c:v>
                </c:pt>
                <c:pt idx="8942">
                  <c:v>23273</c:v>
                </c:pt>
                <c:pt idx="8943">
                  <c:v>23274</c:v>
                </c:pt>
                <c:pt idx="8944">
                  <c:v>23277</c:v>
                </c:pt>
                <c:pt idx="8945">
                  <c:v>23278</c:v>
                </c:pt>
                <c:pt idx="8946">
                  <c:v>23279</c:v>
                </c:pt>
                <c:pt idx="8947">
                  <c:v>23280</c:v>
                </c:pt>
                <c:pt idx="8948">
                  <c:v>23281</c:v>
                </c:pt>
                <c:pt idx="8949">
                  <c:v>23284</c:v>
                </c:pt>
                <c:pt idx="8950">
                  <c:v>23285</c:v>
                </c:pt>
                <c:pt idx="8951">
                  <c:v>23286</c:v>
                </c:pt>
                <c:pt idx="8952">
                  <c:v>23287</c:v>
                </c:pt>
                <c:pt idx="8953">
                  <c:v>23288</c:v>
                </c:pt>
                <c:pt idx="8954">
                  <c:v>23291</c:v>
                </c:pt>
                <c:pt idx="8955">
                  <c:v>23292</c:v>
                </c:pt>
                <c:pt idx="8956">
                  <c:v>23293</c:v>
                </c:pt>
                <c:pt idx="8957">
                  <c:v>23294</c:v>
                </c:pt>
                <c:pt idx="8958">
                  <c:v>23295</c:v>
                </c:pt>
                <c:pt idx="8959">
                  <c:v>23298</c:v>
                </c:pt>
                <c:pt idx="8960">
                  <c:v>23299</c:v>
                </c:pt>
                <c:pt idx="8961">
                  <c:v>23300</c:v>
                </c:pt>
                <c:pt idx="8962">
                  <c:v>23301</c:v>
                </c:pt>
                <c:pt idx="8963">
                  <c:v>23302</c:v>
                </c:pt>
                <c:pt idx="8964">
                  <c:v>23305</c:v>
                </c:pt>
                <c:pt idx="8965">
                  <c:v>23306</c:v>
                </c:pt>
                <c:pt idx="8966">
                  <c:v>23307</c:v>
                </c:pt>
                <c:pt idx="8967">
                  <c:v>23308</c:v>
                </c:pt>
                <c:pt idx="8968">
                  <c:v>23309</c:v>
                </c:pt>
                <c:pt idx="8969">
                  <c:v>23312</c:v>
                </c:pt>
                <c:pt idx="8970">
                  <c:v>23313</c:v>
                </c:pt>
                <c:pt idx="8971">
                  <c:v>23314</c:v>
                </c:pt>
                <c:pt idx="8972">
                  <c:v>23315</c:v>
                </c:pt>
                <c:pt idx="8973">
                  <c:v>23316</c:v>
                </c:pt>
                <c:pt idx="8974">
                  <c:v>23319</c:v>
                </c:pt>
                <c:pt idx="8975">
                  <c:v>23321</c:v>
                </c:pt>
                <c:pt idx="8976">
                  <c:v>23322</c:v>
                </c:pt>
                <c:pt idx="8977">
                  <c:v>23323</c:v>
                </c:pt>
                <c:pt idx="8978">
                  <c:v>23326</c:v>
                </c:pt>
                <c:pt idx="8979">
                  <c:v>23327</c:v>
                </c:pt>
                <c:pt idx="8980">
                  <c:v>23328</c:v>
                </c:pt>
                <c:pt idx="8981">
                  <c:v>23329</c:v>
                </c:pt>
                <c:pt idx="8982">
                  <c:v>23330</c:v>
                </c:pt>
                <c:pt idx="8983">
                  <c:v>23333</c:v>
                </c:pt>
                <c:pt idx="8984">
                  <c:v>23334</c:v>
                </c:pt>
                <c:pt idx="8985">
                  <c:v>23335</c:v>
                </c:pt>
                <c:pt idx="8986">
                  <c:v>23336</c:v>
                </c:pt>
                <c:pt idx="8987">
                  <c:v>23337</c:v>
                </c:pt>
                <c:pt idx="8988">
                  <c:v>23341</c:v>
                </c:pt>
                <c:pt idx="8989">
                  <c:v>23342</c:v>
                </c:pt>
                <c:pt idx="8990">
                  <c:v>23344</c:v>
                </c:pt>
                <c:pt idx="8991">
                  <c:v>23347</c:v>
                </c:pt>
                <c:pt idx="8992">
                  <c:v>23348</c:v>
                </c:pt>
                <c:pt idx="8993">
                  <c:v>23349</c:v>
                </c:pt>
                <c:pt idx="8994">
                  <c:v>23350</c:v>
                </c:pt>
                <c:pt idx="8995">
                  <c:v>23351</c:v>
                </c:pt>
                <c:pt idx="8996">
                  <c:v>23354</c:v>
                </c:pt>
                <c:pt idx="8997">
                  <c:v>23355</c:v>
                </c:pt>
                <c:pt idx="8998">
                  <c:v>23356</c:v>
                </c:pt>
                <c:pt idx="8999">
                  <c:v>23357</c:v>
                </c:pt>
                <c:pt idx="9000">
                  <c:v>23358</c:v>
                </c:pt>
                <c:pt idx="9001">
                  <c:v>23361</c:v>
                </c:pt>
                <c:pt idx="9002">
                  <c:v>23362</c:v>
                </c:pt>
                <c:pt idx="9003">
                  <c:v>23363</c:v>
                </c:pt>
                <c:pt idx="9004">
                  <c:v>23364</c:v>
                </c:pt>
                <c:pt idx="9005">
                  <c:v>23365</c:v>
                </c:pt>
                <c:pt idx="9006">
                  <c:v>23368</c:v>
                </c:pt>
                <c:pt idx="9007">
                  <c:v>23369</c:v>
                </c:pt>
                <c:pt idx="9008">
                  <c:v>23371</c:v>
                </c:pt>
                <c:pt idx="9009">
                  <c:v>23372</c:v>
                </c:pt>
                <c:pt idx="9010">
                  <c:v>23375</c:v>
                </c:pt>
                <c:pt idx="9011">
                  <c:v>23376</c:v>
                </c:pt>
                <c:pt idx="9012">
                  <c:v>23378</c:v>
                </c:pt>
                <c:pt idx="9013">
                  <c:v>23379</c:v>
                </c:pt>
                <c:pt idx="9014">
                  <c:v>23382</c:v>
                </c:pt>
                <c:pt idx="9015">
                  <c:v>23383</c:v>
                </c:pt>
                <c:pt idx="9016">
                  <c:v>23384</c:v>
                </c:pt>
                <c:pt idx="9017">
                  <c:v>23385</c:v>
                </c:pt>
                <c:pt idx="9018">
                  <c:v>23386</c:v>
                </c:pt>
                <c:pt idx="9019">
                  <c:v>23389</c:v>
                </c:pt>
                <c:pt idx="9020">
                  <c:v>23390</c:v>
                </c:pt>
                <c:pt idx="9021">
                  <c:v>23391</c:v>
                </c:pt>
                <c:pt idx="9022">
                  <c:v>23392</c:v>
                </c:pt>
                <c:pt idx="9023">
                  <c:v>23393</c:v>
                </c:pt>
                <c:pt idx="9024">
                  <c:v>23396</c:v>
                </c:pt>
                <c:pt idx="9025">
                  <c:v>23397</c:v>
                </c:pt>
                <c:pt idx="9026">
                  <c:v>23398</c:v>
                </c:pt>
                <c:pt idx="9027">
                  <c:v>23399</c:v>
                </c:pt>
                <c:pt idx="9028">
                  <c:v>23400</c:v>
                </c:pt>
                <c:pt idx="9029">
                  <c:v>23403</c:v>
                </c:pt>
                <c:pt idx="9030">
                  <c:v>23404</c:v>
                </c:pt>
                <c:pt idx="9031">
                  <c:v>23405</c:v>
                </c:pt>
                <c:pt idx="9032">
                  <c:v>23406</c:v>
                </c:pt>
                <c:pt idx="9033">
                  <c:v>23407</c:v>
                </c:pt>
                <c:pt idx="9034">
                  <c:v>23410</c:v>
                </c:pt>
                <c:pt idx="9035">
                  <c:v>23411</c:v>
                </c:pt>
                <c:pt idx="9036">
                  <c:v>23412</c:v>
                </c:pt>
                <c:pt idx="9037">
                  <c:v>23413</c:v>
                </c:pt>
                <c:pt idx="9038">
                  <c:v>23414</c:v>
                </c:pt>
                <c:pt idx="9039">
                  <c:v>23417</c:v>
                </c:pt>
                <c:pt idx="9040">
                  <c:v>23418</c:v>
                </c:pt>
                <c:pt idx="9041">
                  <c:v>23419</c:v>
                </c:pt>
                <c:pt idx="9042">
                  <c:v>23420</c:v>
                </c:pt>
                <c:pt idx="9043">
                  <c:v>23421</c:v>
                </c:pt>
                <c:pt idx="9044">
                  <c:v>23424</c:v>
                </c:pt>
                <c:pt idx="9045">
                  <c:v>23425</c:v>
                </c:pt>
                <c:pt idx="9046">
                  <c:v>23426</c:v>
                </c:pt>
                <c:pt idx="9047">
                  <c:v>23427</c:v>
                </c:pt>
                <c:pt idx="9048">
                  <c:v>23431</c:v>
                </c:pt>
                <c:pt idx="9049">
                  <c:v>23432</c:v>
                </c:pt>
                <c:pt idx="9050">
                  <c:v>23433</c:v>
                </c:pt>
                <c:pt idx="9051">
                  <c:v>23434</c:v>
                </c:pt>
                <c:pt idx="9052">
                  <c:v>23435</c:v>
                </c:pt>
                <c:pt idx="9053">
                  <c:v>23438</c:v>
                </c:pt>
                <c:pt idx="9054">
                  <c:v>23439</c:v>
                </c:pt>
                <c:pt idx="9055">
                  <c:v>23440</c:v>
                </c:pt>
                <c:pt idx="9056">
                  <c:v>23441</c:v>
                </c:pt>
                <c:pt idx="9057">
                  <c:v>23442</c:v>
                </c:pt>
                <c:pt idx="9058">
                  <c:v>23445</c:v>
                </c:pt>
                <c:pt idx="9059">
                  <c:v>23446</c:v>
                </c:pt>
                <c:pt idx="9060">
                  <c:v>23447</c:v>
                </c:pt>
                <c:pt idx="9061">
                  <c:v>23448</c:v>
                </c:pt>
                <c:pt idx="9062">
                  <c:v>23449</c:v>
                </c:pt>
                <c:pt idx="9063">
                  <c:v>23452</c:v>
                </c:pt>
                <c:pt idx="9064">
                  <c:v>23453</c:v>
                </c:pt>
                <c:pt idx="9065">
                  <c:v>23454</c:v>
                </c:pt>
                <c:pt idx="9066">
                  <c:v>23455</c:v>
                </c:pt>
                <c:pt idx="9067">
                  <c:v>23456</c:v>
                </c:pt>
                <c:pt idx="9068">
                  <c:v>23459</c:v>
                </c:pt>
                <c:pt idx="9069">
                  <c:v>23460</c:v>
                </c:pt>
                <c:pt idx="9070">
                  <c:v>23461</c:v>
                </c:pt>
                <c:pt idx="9071">
                  <c:v>23462</c:v>
                </c:pt>
                <c:pt idx="9072">
                  <c:v>23466</c:v>
                </c:pt>
                <c:pt idx="9073">
                  <c:v>23467</c:v>
                </c:pt>
                <c:pt idx="9074">
                  <c:v>23468</c:v>
                </c:pt>
                <c:pt idx="9075">
                  <c:v>23469</c:v>
                </c:pt>
                <c:pt idx="9076">
                  <c:v>23470</c:v>
                </c:pt>
                <c:pt idx="9077">
                  <c:v>23473</c:v>
                </c:pt>
                <c:pt idx="9078">
                  <c:v>23474</c:v>
                </c:pt>
                <c:pt idx="9079">
                  <c:v>23475</c:v>
                </c:pt>
                <c:pt idx="9080">
                  <c:v>23476</c:v>
                </c:pt>
                <c:pt idx="9081">
                  <c:v>23477</c:v>
                </c:pt>
                <c:pt idx="9082">
                  <c:v>23480</c:v>
                </c:pt>
                <c:pt idx="9083">
                  <c:v>23481</c:v>
                </c:pt>
                <c:pt idx="9084">
                  <c:v>23482</c:v>
                </c:pt>
                <c:pt idx="9085">
                  <c:v>23483</c:v>
                </c:pt>
                <c:pt idx="9086">
                  <c:v>23484</c:v>
                </c:pt>
                <c:pt idx="9087">
                  <c:v>23487</c:v>
                </c:pt>
                <c:pt idx="9088">
                  <c:v>23488</c:v>
                </c:pt>
                <c:pt idx="9089">
                  <c:v>23489</c:v>
                </c:pt>
                <c:pt idx="9090">
                  <c:v>23490</c:v>
                </c:pt>
                <c:pt idx="9091">
                  <c:v>23491</c:v>
                </c:pt>
                <c:pt idx="9092">
                  <c:v>23494</c:v>
                </c:pt>
                <c:pt idx="9093">
                  <c:v>23495</c:v>
                </c:pt>
                <c:pt idx="9094">
                  <c:v>23496</c:v>
                </c:pt>
                <c:pt idx="9095">
                  <c:v>23497</c:v>
                </c:pt>
                <c:pt idx="9096">
                  <c:v>23498</c:v>
                </c:pt>
                <c:pt idx="9097">
                  <c:v>23501</c:v>
                </c:pt>
                <c:pt idx="9098">
                  <c:v>23502</c:v>
                </c:pt>
                <c:pt idx="9099">
                  <c:v>23503</c:v>
                </c:pt>
                <c:pt idx="9100">
                  <c:v>23504</c:v>
                </c:pt>
                <c:pt idx="9101">
                  <c:v>23505</c:v>
                </c:pt>
                <c:pt idx="9102">
                  <c:v>23508</c:v>
                </c:pt>
                <c:pt idx="9103">
                  <c:v>23509</c:v>
                </c:pt>
                <c:pt idx="9104">
                  <c:v>23510</c:v>
                </c:pt>
                <c:pt idx="9105">
                  <c:v>23511</c:v>
                </c:pt>
                <c:pt idx="9106">
                  <c:v>23512</c:v>
                </c:pt>
                <c:pt idx="9107">
                  <c:v>23515</c:v>
                </c:pt>
                <c:pt idx="9108">
                  <c:v>23516</c:v>
                </c:pt>
                <c:pt idx="9109">
                  <c:v>23517</c:v>
                </c:pt>
                <c:pt idx="9110">
                  <c:v>23518</c:v>
                </c:pt>
                <c:pt idx="9111">
                  <c:v>23519</c:v>
                </c:pt>
                <c:pt idx="9112">
                  <c:v>23522</c:v>
                </c:pt>
                <c:pt idx="9113">
                  <c:v>23523</c:v>
                </c:pt>
                <c:pt idx="9114">
                  <c:v>23524</c:v>
                </c:pt>
                <c:pt idx="9115">
                  <c:v>23525</c:v>
                </c:pt>
                <c:pt idx="9116">
                  <c:v>23529</c:v>
                </c:pt>
                <c:pt idx="9117">
                  <c:v>23530</c:v>
                </c:pt>
                <c:pt idx="9118">
                  <c:v>23531</c:v>
                </c:pt>
                <c:pt idx="9119">
                  <c:v>23532</c:v>
                </c:pt>
                <c:pt idx="9120">
                  <c:v>23533</c:v>
                </c:pt>
                <c:pt idx="9121">
                  <c:v>23536</c:v>
                </c:pt>
                <c:pt idx="9122">
                  <c:v>23537</c:v>
                </c:pt>
                <c:pt idx="9123">
                  <c:v>23538</c:v>
                </c:pt>
                <c:pt idx="9124">
                  <c:v>23539</c:v>
                </c:pt>
                <c:pt idx="9125">
                  <c:v>23540</c:v>
                </c:pt>
                <c:pt idx="9126">
                  <c:v>23543</c:v>
                </c:pt>
                <c:pt idx="9127">
                  <c:v>23544</c:v>
                </c:pt>
                <c:pt idx="9128">
                  <c:v>23545</c:v>
                </c:pt>
                <c:pt idx="9129">
                  <c:v>23546</c:v>
                </c:pt>
                <c:pt idx="9130">
                  <c:v>23547</c:v>
                </c:pt>
                <c:pt idx="9131">
                  <c:v>23550</c:v>
                </c:pt>
                <c:pt idx="9132">
                  <c:v>23551</c:v>
                </c:pt>
                <c:pt idx="9133">
                  <c:v>23552</c:v>
                </c:pt>
                <c:pt idx="9134">
                  <c:v>23553</c:v>
                </c:pt>
                <c:pt idx="9135">
                  <c:v>23554</c:v>
                </c:pt>
                <c:pt idx="9136">
                  <c:v>23557</c:v>
                </c:pt>
                <c:pt idx="9137">
                  <c:v>23558</c:v>
                </c:pt>
                <c:pt idx="9138">
                  <c:v>23559</c:v>
                </c:pt>
                <c:pt idx="9139">
                  <c:v>23560</c:v>
                </c:pt>
                <c:pt idx="9140">
                  <c:v>23564</c:v>
                </c:pt>
                <c:pt idx="9141">
                  <c:v>23565</c:v>
                </c:pt>
                <c:pt idx="9142">
                  <c:v>23566</c:v>
                </c:pt>
                <c:pt idx="9143">
                  <c:v>23567</c:v>
                </c:pt>
                <c:pt idx="9144">
                  <c:v>23568</c:v>
                </c:pt>
                <c:pt idx="9145">
                  <c:v>23571</c:v>
                </c:pt>
                <c:pt idx="9146">
                  <c:v>23572</c:v>
                </c:pt>
                <c:pt idx="9147">
                  <c:v>23573</c:v>
                </c:pt>
                <c:pt idx="9148">
                  <c:v>23574</c:v>
                </c:pt>
                <c:pt idx="9149">
                  <c:v>23575</c:v>
                </c:pt>
                <c:pt idx="9150">
                  <c:v>23578</c:v>
                </c:pt>
                <c:pt idx="9151">
                  <c:v>23579</c:v>
                </c:pt>
                <c:pt idx="9152">
                  <c:v>23580</c:v>
                </c:pt>
                <c:pt idx="9153">
                  <c:v>23581</c:v>
                </c:pt>
                <c:pt idx="9154">
                  <c:v>23582</c:v>
                </c:pt>
                <c:pt idx="9155">
                  <c:v>23585</c:v>
                </c:pt>
                <c:pt idx="9156">
                  <c:v>23586</c:v>
                </c:pt>
                <c:pt idx="9157">
                  <c:v>23587</c:v>
                </c:pt>
                <c:pt idx="9158">
                  <c:v>23588</c:v>
                </c:pt>
                <c:pt idx="9159">
                  <c:v>23589</c:v>
                </c:pt>
                <c:pt idx="9160">
                  <c:v>23592</c:v>
                </c:pt>
                <c:pt idx="9161">
                  <c:v>23593</c:v>
                </c:pt>
                <c:pt idx="9162">
                  <c:v>23594</c:v>
                </c:pt>
                <c:pt idx="9163">
                  <c:v>23595</c:v>
                </c:pt>
                <c:pt idx="9164">
                  <c:v>23596</c:v>
                </c:pt>
                <c:pt idx="9165">
                  <c:v>23599</c:v>
                </c:pt>
                <c:pt idx="9166">
                  <c:v>23600</c:v>
                </c:pt>
                <c:pt idx="9167">
                  <c:v>23601</c:v>
                </c:pt>
                <c:pt idx="9168">
                  <c:v>23602</c:v>
                </c:pt>
                <c:pt idx="9169">
                  <c:v>23603</c:v>
                </c:pt>
                <c:pt idx="9170">
                  <c:v>23606</c:v>
                </c:pt>
                <c:pt idx="9171">
                  <c:v>23607</c:v>
                </c:pt>
                <c:pt idx="9172">
                  <c:v>23608</c:v>
                </c:pt>
                <c:pt idx="9173">
                  <c:v>23609</c:v>
                </c:pt>
                <c:pt idx="9174">
                  <c:v>23610</c:v>
                </c:pt>
                <c:pt idx="9175">
                  <c:v>23613</c:v>
                </c:pt>
                <c:pt idx="9176">
                  <c:v>23614</c:v>
                </c:pt>
                <c:pt idx="9177">
                  <c:v>23615</c:v>
                </c:pt>
                <c:pt idx="9178">
                  <c:v>23616</c:v>
                </c:pt>
                <c:pt idx="9179">
                  <c:v>23617</c:v>
                </c:pt>
                <c:pt idx="9180">
                  <c:v>23620</c:v>
                </c:pt>
                <c:pt idx="9181">
                  <c:v>23621</c:v>
                </c:pt>
                <c:pt idx="9182">
                  <c:v>23622</c:v>
                </c:pt>
                <c:pt idx="9183">
                  <c:v>23623</c:v>
                </c:pt>
                <c:pt idx="9184">
                  <c:v>23624</c:v>
                </c:pt>
                <c:pt idx="9185">
                  <c:v>23628</c:v>
                </c:pt>
                <c:pt idx="9186">
                  <c:v>23629</c:v>
                </c:pt>
                <c:pt idx="9187">
                  <c:v>23630</c:v>
                </c:pt>
                <c:pt idx="9188">
                  <c:v>23631</c:v>
                </c:pt>
                <c:pt idx="9189">
                  <c:v>23634</c:v>
                </c:pt>
                <c:pt idx="9190">
                  <c:v>23635</c:v>
                </c:pt>
                <c:pt idx="9191">
                  <c:v>23636</c:v>
                </c:pt>
                <c:pt idx="9192">
                  <c:v>23637</c:v>
                </c:pt>
                <c:pt idx="9193">
                  <c:v>23638</c:v>
                </c:pt>
                <c:pt idx="9194">
                  <c:v>23641</c:v>
                </c:pt>
                <c:pt idx="9195">
                  <c:v>23642</c:v>
                </c:pt>
                <c:pt idx="9196">
                  <c:v>23643</c:v>
                </c:pt>
                <c:pt idx="9197">
                  <c:v>23644</c:v>
                </c:pt>
                <c:pt idx="9198">
                  <c:v>23645</c:v>
                </c:pt>
                <c:pt idx="9199">
                  <c:v>23648</c:v>
                </c:pt>
                <c:pt idx="9200">
                  <c:v>23649</c:v>
                </c:pt>
                <c:pt idx="9201">
                  <c:v>23650</c:v>
                </c:pt>
                <c:pt idx="9202">
                  <c:v>23651</c:v>
                </c:pt>
                <c:pt idx="9203">
                  <c:v>23652</c:v>
                </c:pt>
                <c:pt idx="9204">
                  <c:v>23655</c:v>
                </c:pt>
                <c:pt idx="9205">
                  <c:v>23656</c:v>
                </c:pt>
                <c:pt idx="9206">
                  <c:v>23657</c:v>
                </c:pt>
                <c:pt idx="9207">
                  <c:v>23658</c:v>
                </c:pt>
                <c:pt idx="9208">
                  <c:v>23659</c:v>
                </c:pt>
                <c:pt idx="9209">
                  <c:v>23662</c:v>
                </c:pt>
                <c:pt idx="9210">
                  <c:v>23663</c:v>
                </c:pt>
                <c:pt idx="9211">
                  <c:v>23664</c:v>
                </c:pt>
                <c:pt idx="9212">
                  <c:v>23665</c:v>
                </c:pt>
                <c:pt idx="9213">
                  <c:v>23666</c:v>
                </c:pt>
                <c:pt idx="9214">
                  <c:v>23669</c:v>
                </c:pt>
                <c:pt idx="9215">
                  <c:v>23670</c:v>
                </c:pt>
                <c:pt idx="9216">
                  <c:v>23671</c:v>
                </c:pt>
                <c:pt idx="9217">
                  <c:v>23672</c:v>
                </c:pt>
                <c:pt idx="9218">
                  <c:v>23673</c:v>
                </c:pt>
                <c:pt idx="9219">
                  <c:v>23676</c:v>
                </c:pt>
                <c:pt idx="9220">
                  <c:v>23677</c:v>
                </c:pt>
                <c:pt idx="9221">
                  <c:v>23678</c:v>
                </c:pt>
                <c:pt idx="9222">
                  <c:v>23679</c:v>
                </c:pt>
                <c:pt idx="9223">
                  <c:v>23680</c:v>
                </c:pt>
                <c:pt idx="9224">
                  <c:v>23683</c:v>
                </c:pt>
                <c:pt idx="9225">
                  <c:v>23685</c:v>
                </c:pt>
                <c:pt idx="9226">
                  <c:v>23686</c:v>
                </c:pt>
                <c:pt idx="9227">
                  <c:v>23687</c:v>
                </c:pt>
                <c:pt idx="9228">
                  <c:v>23690</c:v>
                </c:pt>
                <c:pt idx="9229">
                  <c:v>23691</c:v>
                </c:pt>
                <c:pt idx="9230">
                  <c:v>23692</c:v>
                </c:pt>
                <c:pt idx="9231">
                  <c:v>23693</c:v>
                </c:pt>
                <c:pt idx="9232">
                  <c:v>23694</c:v>
                </c:pt>
                <c:pt idx="9233">
                  <c:v>23697</c:v>
                </c:pt>
                <c:pt idx="9234">
                  <c:v>23698</c:v>
                </c:pt>
                <c:pt idx="9235">
                  <c:v>23699</c:v>
                </c:pt>
                <c:pt idx="9236">
                  <c:v>23700</c:v>
                </c:pt>
                <c:pt idx="9237">
                  <c:v>23701</c:v>
                </c:pt>
                <c:pt idx="9238">
                  <c:v>23704</c:v>
                </c:pt>
                <c:pt idx="9239">
                  <c:v>23705</c:v>
                </c:pt>
                <c:pt idx="9240">
                  <c:v>23706</c:v>
                </c:pt>
                <c:pt idx="9241">
                  <c:v>23708</c:v>
                </c:pt>
                <c:pt idx="9242">
                  <c:v>23711</c:v>
                </c:pt>
                <c:pt idx="9243">
                  <c:v>23712</c:v>
                </c:pt>
                <c:pt idx="9244">
                  <c:v>23713</c:v>
                </c:pt>
                <c:pt idx="9245">
                  <c:v>23714</c:v>
                </c:pt>
                <c:pt idx="9246">
                  <c:v>23715</c:v>
                </c:pt>
                <c:pt idx="9247">
                  <c:v>23718</c:v>
                </c:pt>
                <c:pt idx="9248">
                  <c:v>23719</c:v>
                </c:pt>
                <c:pt idx="9249">
                  <c:v>23720</c:v>
                </c:pt>
                <c:pt idx="9250">
                  <c:v>23721</c:v>
                </c:pt>
                <c:pt idx="9251">
                  <c:v>23722</c:v>
                </c:pt>
                <c:pt idx="9252">
                  <c:v>23725</c:v>
                </c:pt>
                <c:pt idx="9253">
                  <c:v>23726</c:v>
                </c:pt>
                <c:pt idx="9254">
                  <c:v>23727</c:v>
                </c:pt>
                <c:pt idx="9255">
                  <c:v>23728</c:v>
                </c:pt>
                <c:pt idx="9256">
                  <c:v>23729</c:v>
                </c:pt>
                <c:pt idx="9257">
                  <c:v>23732</c:v>
                </c:pt>
                <c:pt idx="9258">
                  <c:v>23733</c:v>
                </c:pt>
                <c:pt idx="9259">
                  <c:v>23734</c:v>
                </c:pt>
                <c:pt idx="9260">
                  <c:v>23735</c:v>
                </c:pt>
                <c:pt idx="9261">
                  <c:v>23739</c:v>
                </c:pt>
                <c:pt idx="9262">
                  <c:v>23740</c:v>
                </c:pt>
                <c:pt idx="9263">
                  <c:v>23741</c:v>
                </c:pt>
                <c:pt idx="9264">
                  <c:v>23742</c:v>
                </c:pt>
                <c:pt idx="9265">
                  <c:v>23746</c:v>
                </c:pt>
                <c:pt idx="9266">
                  <c:v>23747</c:v>
                </c:pt>
                <c:pt idx="9267">
                  <c:v>23748</c:v>
                </c:pt>
                <c:pt idx="9268">
                  <c:v>23749</c:v>
                </c:pt>
                <c:pt idx="9269">
                  <c:v>23750</c:v>
                </c:pt>
                <c:pt idx="9270">
                  <c:v>23753</c:v>
                </c:pt>
                <c:pt idx="9271">
                  <c:v>23754</c:v>
                </c:pt>
                <c:pt idx="9272">
                  <c:v>23755</c:v>
                </c:pt>
                <c:pt idx="9273">
                  <c:v>23756</c:v>
                </c:pt>
                <c:pt idx="9274">
                  <c:v>23757</c:v>
                </c:pt>
                <c:pt idx="9275">
                  <c:v>23760</c:v>
                </c:pt>
                <c:pt idx="9276">
                  <c:v>23761</c:v>
                </c:pt>
                <c:pt idx="9277">
                  <c:v>23762</c:v>
                </c:pt>
                <c:pt idx="9278">
                  <c:v>23763</c:v>
                </c:pt>
                <c:pt idx="9279">
                  <c:v>23764</c:v>
                </c:pt>
                <c:pt idx="9280">
                  <c:v>23767</c:v>
                </c:pt>
                <c:pt idx="9281">
                  <c:v>23768</c:v>
                </c:pt>
                <c:pt idx="9282">
                  <c:v>23769</c:v>
                </c:pt>
                <c:pt idx="9283">
                  <c:v>23770</c:v>
                </c:pt>
                <c:pt idx="9284">
                  <c:v>23771</c:v>
                </c:pt>
                <c:pt idx="9285">
                  <c:v>23774</c:v>
                </c:pt>
                <c:pt idx="9286">
                  <c:v>23775</c:v>
                </c:pt>
                <c:pt idx="9287">
                  <c:v>23776</c:v>
                </c:pt>
                <c:pt idx="9288">
                  <c:v>23777</c:v>
                </c:pt>
                <c:pt idx="9289">
                  <c:v>23778</c:v>
                </c:pt>
                <c:pt idx="9290">
                  <c:v>23781</c:v>
                </c:pt>
                <c:pt idx="9291">
                  <c:v>23782</c:v>
                </c:pt>
                <c:pt idx="9292">
                  <c:v>23783</c:v>
                </c:pt>
                <c:pt idx="9293">
                  <c:v>23784</c:v>
                </c:pt>
                <c:pt idx="9294">
                  <c:v>23785</c:v>
                </c:pt>
                <c:pt idx="9295">
                  <c:v>23788</c:v>
                </c:pt>
                <c:pt idx="9296">
                  <c:v>23789</c:v>
                </c:pt>
                <c:pt idx="9297">
                  <c:v>23790</c:v>
                </c:pt>
                <c:pt idx="9298">
                  <c:v>23791</c:v>
                </c:pt>
                <c:pt idx="9299">
                  <c:v>23792</c:v>
                </c:pt>
                <c:pt idx="9300">
                  <c:v>23796</c:v>
                </c:pt>
                <c:pt idx="9301">
                  <c:v>23797</c:v>
                </c:pt>
                <c:pt idx="9302">
                  <c:v>23798</c:v>
                </c:pt>
                <c:pt idx="9303">
                  <c:v>23799</c:v>
                </c:pt>
                <c:pt idx="9304">
                  <c:v>23802</c:v>
                </c:pt>
                <c:pt idx="9305">
                  <c:v>23803</c:v>
                </c:pt>
                <c:pt idx="9306">
                  <c:v>23804</c:v>
                </c:pt>
                <c:pt idx="9307">
                  <c:v>23805</c:v>
                </c:pt>
                <c:pt idx="9308">
                  <c:v>23806</c:v>
                </c:pt>
                <c:pt idx="9309">
                  <c:v>23809</c:v>
                </c:pt>
                <c:pt idx="9310">
                  <c:v>23810</c:v>
                </c:pt>
                <c:pt idx="9311">
                  <c:v>23811</c:v>
                </c:pt>
                <c:pt idx="9312">
                  <c:v>23812</c:v>
                </c:pt>
                <c:pt idx="9313">
                  <c:v>23813</c:v>
                </c:pt>
                <c:pt idx="9314">
                  <c:v>23816</c:v>
                </c:pt>
                <c:pt idx="9315">
                  <c:v>23817</c:v>
                </c:pt>
                <c:pt idx="9316">
                  <c:v>23818</c:v>
                </c:pt>
                <c:pt idx="9317">
                  <c:v>23819</c:v>
                </c:pt>
                <c:pt idx="9318">
                  <c:v>23820</c:v>
                </c:pt>
                <c:pt idx="9319">
                  <c:v>23823</c:v>
                </c:pt>
                <c:pt idx="9320">
                  <c:v>23824</c:v>
                </c:pt>
                <c:pt idx="9321">
                  <c:v>23825</c:v>
                </c:pt>
                <c:pt idx="9322">
                  <c:v>23826</c:v>
                </c:pt>
                <c:pt idx="9323">
                  <c:v>23827</c:v>
                </c:pt>
                <c:pt idx="9324">
                  <c:v>23830</c:v>
                </c:pt>
                <c:pt idx="9325">
                  <c:v>23831</c:v>
                </c:pt>
                <c:pt idx="9326">
                  <c:v>23832</c:v>
                </c:pt>
                <c:pt idx="9327">
                  <c:v>23833</c:v>
                </c:pt>
                <c:pt idx="9328">
                  <c:v>23834</c:v>
                </c:pt>
                <c:pt idx="9329">
                  <c:v>23837</c:v>
                </c:pt>
                <c:pt idx="9330">
                  <c:v>23838</c:v>
                </c:pt>
                <c:pt idx="9331">
                  <c:v>23839</c:v>
                </c:pt>
                <c:pt idx="9332">
                  <c:v>23840</c:v>
                </c:pt>
                <c:pt idx="9333">
                  <c:v>23841</c:v>
                </c:pt>
                <c:pt idx="9334">
                  <c:v>23844</c:v>
                </c:pt>
                <c:pt idx="9335">
                  <c:v>23845</c:v>
                </c:pt>
                <c:pt idx="9336">
                  <c:v>23846</c:v>
                </c:pt>
                <c:pt idx="9337">
                  <c:v>23847</c:v>
                </c:pt>
                <c:pt idx="9338">
                  <c:v>23851</c:v>
                </c:pt>
                <c:pt idx="9339">
                  <c:v>23852</c:v>
                </c:pt>
                <c:pt idx="9340">
                  <c:v>23853</c:v>
                </c:pt>
                <c:pt idx="9341">
                  <c:v>23854</c:v>
                </c:pt>
                <c:pt idx="9342">
                  <c:v>23855</c:v>
                </c:pt>
                <c:pt idx="9343">
                  <c:v>23858</c:v>
                </c:pt>
                <c:pt idx="9344">
                  <c:v>23859</c:v>
                </c:pt>
                <c:pt idx="9345">
                  <c:v>23860</c:v>
                </c:pt>
                <c:pt idx="9346">
                  <c:v>23861</c:v>
                </c:pt>
                <c:pt idx="9347">
                  <c:v>23862</c:v>
                </c:pt>
                <c:pt idx="9348">
                  <c:v>23865</c:v>
                </c:pt>
                <c:pt idx="9349">
                  <c:v>23866</c:v>
                </c:pt>
                <c:pt idx="9350">
                  <c:v>23867</c:v>
                </c:pt>
                <c:pt idx="9351">
                  <c:v>23868</c:v>
                </c:pt>
                <c:pt idx="9352">
                  <c:v>23869</c:v>
                </c:pt>
                <c:pt idx="9353">
                  <c:v>23872</c:v>
                </c:pt>
                <c:pt idx="9354">
                  <c:v>23873</c:v>
                </c:pt>
                <c:pt idx="9355">
                  <c:v>23874</c:v>
                </c:pt>
                <c:pt idx="9356">
                  <c:v>23875</c:v>
                </c:pt>
                <c:pt idx="9357">
                  <c:v>23876</c:v>
                </c:pt>
                <c:pt idx="9358">
                  <c:v>23879</c:v>
                </c:pt>
                <c:pt idx="9359">
                  <c:v>23880</c:v>
                </c:pt>
                <c:pt idx="9360">
                  <c:v>23881</c:v>
                </c:pt>
                <c:pt idx="9361">
                  <c:v>23882</c:v>
                </c:pt>
                <c:pt idx="9362">
                  <c:v>23883</c:v>
                </c:pt>
                <c:pt idx="9363">
                  <c:v>23886</c:v>
                </c:pt>
                <c:pt idx="9364">
                  <c:v>23887</c:v>
                </c:pt>
                <c:pt idx="9365">
                  <c:v>23888</c:v>
                </c:pt>
                <c:pt idx="9366">
                  <c:v>23889</c:v>
                </c:pt>
                <c:pt idx="9367">
                  <c:v>23890</c:v>
                </c:pt>
                <c:pt idx="9368">
                  <c:v>23894</c:v>
                </c:pt>
                <c:pt idx="9369">
                  <c:v>23895</c:v>
                </c:pt>
                <c:pt idx="9370">
                  <c:v>23896</c:v>
                </c:pt>
                <c:pt idx="9371">
                  <c:v>23897</c:v>
                </c:pt>
                <c:pt idx="9372">
                  <c:v>23900</c:v>
                </c:pt>
                <c:pt idx="9373">
                  <c:v>23901</c:v>
                </c:pt>
                <c:pt idx="9374">
                  <c:v>23902</c:v>
                </c:pt>
                <c:pt idx="9375">
                  <c:v>23903</c:v>
                </c:pt>
                <c:pt idx="9376">
                  <c:v>23904</c:v>
                </c:pt>
                <c:pt idx="9377">
                  <c:v>23907</c:v>
                </c:pt>
                <c:pt idx="9378">
                  <c:v>23908</c:v>
                </c:pt>
                <c:pt idx="9379">
                  <c:v>23909</c:v>
                </c:pt>
                <c:pt idx="9380">
                  <c:v>23910</c:v>
                </c:pt>
                <c:pt idx="9381">
                  <c:v>23911</c:v>
                </c:pt>
                <c:pt idx="9382">
                  <c:v>23914</c:v>
                </c:pt>
                <c:pt idx="9383">
                  <c:v>23915</c:v>
                </c:pt>
                <c:pt idx="9384">
                  <c:v>23916</c:v>
                </c:pt>
                <c:pt idx="9385">
                  <c:v>23917</c:v>
                </c:pt>
                <c:pt idx="9386">
                  <c:v>23918</c:v>
                </c:pt>
                <c:pt idx="9387">
                  <c:v>23921</c:v>
                </c:pt>
                <c:pt idx="9388">
                  <c:v>23922</c:v>
                </c:pt>
                <c:pt idx="9389">
                  <c:v>23923</c:v>
                </c:pt>
                <c:pt idx="9390">
                  <c:v>23924</c:v>
                </c:pt>
                <c:pt idx="9391">
                  <c:v>23925</c:v>
                </c:pt>
                <c:pt idx="9392">
                  <c:v>23929</c:v>
                </c:pt>
                <c:pt idx="9393">
                  <c:v>23930</c:v>
                </c:pt>
                <c:pt idx="9394">
                  <c:v>23931</c:v>
                </c:pt>
                <c:pt idx="9395">
                  <c:v>23932</c:v>
                </c:pt>
                <c:pt idx="9396">
                  <c:v>23935</c:v>
                </c:pt>
                <c:pt idx="9397">
                  <c:v>23936</c:v>
                </c:pt>
                <c:pt idx="9398">
                  <c:v>23937</c:v>
                </c:pt>
                <c:pt idx="9399">
                  <c:v>23938</c:v>
                </c:pt>
                <c:pt idx="9400">
                  <c:v>23939</c:v>
                </c:pt>
                <c:pt idx="9401">
                  <c:v>23942</c:v>
                </c:pt>
                <c:pt idx="9402">
                  <c:v>23943</c:v>
                </c:pt>
                <c:pt idx="9403">
                  <c:v>23944</c:v>
                </c:pt>
                <c:pt idx="9404">
                  <c:v>23945</c:v>
                </c:pt>
                <c:pt idx="9405">
                  <c:v>23946</c:v>
                </c:pt>
                <c:pt idx="9406">
                  <c:v>23949</c:v>
                </c:pt>
                <c:pt idx="9407">
                  <c:v>23950</c:v>
                </c:pt>
                <c:pt idx="9408">
                  <c:v>23951</c:v>
                </c:pt>
                <c:pt idx="9409">
                  <c:v>23952</c:v>
                </c:pt>
                <c:pt idx="9410">
                  <c:v>23953</c:v>
                </c:pt>
                <c:pt idx="9411">
                  <c:v>23956</c:v>
                </c:pt>
                <c:pt idx="9412">
                  <c:v>23957</c:v>
                </c:pt>
                <c:pt idx="9413">
                  <c:v>23958</c:v>
                </c:pt>
                <c:pt idx="9414">
                  <c:v>23959</c:v>
                </c:pt>
                <c:pt idx="9415">
                  <c:v>23960</c:v>
                </c:pt>
                <c:pt idx="9416">
                  <c:v>23963</c:v>
                </c:pt>
                <c:pt idx="9417">
                  <c:v>23964</c:v>
                </c:pt>
                <c:pt idx="9418">
                  <c:v>23965</c:v>
                </c:pt>
                <c:pt idx="9419">
                  <c:v>23966</c:v>
                </c:pt>
                <c:pt idx="9420">
                  <c:v>23967</c:v>
                </c:pt>
                <c:pt idx="9421">
                  <c:v>23970</c:v>
                </c:pt>
                <c:pt idx="9422">
                  <c:v>23971</c:v>
                </c:pt>
                <c:pt idx="9423">
                  <c:v>23972</c:v>
                </c:pt>
                <c:pt idx="9424">
                  <c:v>23973</c:v>
                </c:pt>
                <c:pt idx="9425">
                  <c:v>23974</c:v>
                </c:pt>
                <c:pt idx="9426">
                  <c:v>23977</c:v>
                </c:pt>
                <c:pt idx="9427">
                  <c:v>23978</c:v>
                </c:pt>
                <c:pt idx="9428">
                  <c:v>23979</c:v>
                </c:pt>
                <c:pt idx="9429">
                  <c:v>23980</c:v>
                </c:pt>
                <c:pt idx="9430">
                  <c:v>23981</c:v>
                </c:pt>
                <c:pt idx="9431">
                  <c:v>23984</c:v>
                </c:pt>
                <c:pt idx="9432">
                  <c:v>23985</c:v>
                </c:pt>
                <c:pt idx="9433">
                  <c:v>23986</c:v>
                </c:pt>
                <c:pt idx="9434">
                  <c:v>23987</c:v>
                </c:pt>
                <c:pt idx="9435">
                  <c:v>23988</c:v>
                </c:pt>
                <c:pt idx="9436">
                  <c:v>23992</c:v>
                </c:pt>
                <c:pt idx="9437">
                  <c:v>23993</c:v>
                </c:pt>
                <c:pt idx="9438">
                  <c:v>23994</c:v>
                </c:pt>
                <c:pt idx="9439">
                  <c:v>23995</c:v>
                </c:pt>
                <c:pt idx="9440">
                  <c:v>23998</c:v>
                </c:pt>
                <c:pt idx="9441">
                  <c:v>23999</c:v>
                </c:pt>
                <c:pt idx="9442">
                  <c:v>24000</c:v>
                </c:pt>
                <c:pt idx="9443">
                  <c:v>24001</c:v>
                </c:pt>
                <c:pt idx="9444">
                  <c:v>24002</c:v>
                </c:pt>
                <c:pt idx="9445">
                  <c:v>24005</c:v>
                </c:pt>
                <c:pt idx="9446">
                  <c:v>24006</c:v>
                </c:pt>
                <c:pt idx="9447">
                  <c:v>24007</c:v>
                </c:pt>
                <c:pt idx="9448">
                  <c:v>24008</c:v>
                </c:pt>
                <c:pt idx="9449">
                  <c:v>24009</c:v>
                </c:pt>
                <c:pt idx="9450">
                  <c:v>24012</c:v>
                </c:pt>
                <c:pt idx="9451">
                  <c:v>24013</c:v>
                </c:pt>
                <c:pt idx="9452">
                  <c:v>24014</c:v>
                </c:pt>
                <c:pt idx="9453">
                  <c:v>24015</c:v>
                </c:pt>
                <c:pt idx="9454">
                  <c:v>24016</c:v>
                </c:pt>
                <c:pt idx="9455">
                  <c:v>24019</c:v>
                </c:pt>
                <c:pt idx="9456">
                  <c:v>24020</c:v>
                </c:pt>
                <c:pt idx="9457">
                  <c:v>24021</c:v>
                </c:pt>
                <c:pt idx="9458">
                  <c:v>24022</c:v>
                </c:pt>
                <c:pt idx="9459">
                  <c:v>24023</c:v>
                </c:pt>
                <c:pt idx="9460">
                  <c:v>24026</c:v>
                </c:pt>
                <c:pt idx="9461">
                  <c:v>24027</c:v>
                </c:pt>
                <c:pt idx="9462">
                  <c:v>24028</c:v>
                </c:pt>
                <c:pt idx="9463">
                  <c:v>24029</c:v>
                </c:pt>
                <c:pt idx="9464">
                  <c:v>24030</c:v>
                </c:pt>
                <c:pt idx="9465">
                  <c:v>24033</c:v>
                </c:pt>
                <c:pt idx="9466">
                  <c:v>24034</c:v>
                </c:pt>
                <c:pt idx="9467">
                  <c:v>24035</c:v>
                </c:pt>
                <c:pt idx="9468">
                  <c:v>24036</c:v>
                </c:pt>
                <c:pt idx="9469">
                  <c:v>24037</c:v>
                </c:pt>
                <c:pt idx="9470">
                  <c:v>24040</c:v>
                </c:pt>
                <c:pt idx="9471">
                  <c:v>24041</c:v>
                </c:pt>
                <c:pt idx="9472">
                  <c:v>24042</c:v>
                </c:pt>
                <c:pt idx="9473">
                  <c:v>24043</c:v>
                </c:pt>
                <c:pt idx="9474">
                  <c:v>24044</c:v>
                </c:pt>
                <c:pt idx="9475">
                  <c:v>24047</c:v>
                </c:pt>
                <c:pt idx="9476">
                  <c:v>24049</c:v>
                </c:pt>
                <c:pt idx="9477">
                  <c:v>24050</c:v>
                </c:pt>
                <c:pt idx="9478">
                  <c:v>24051</c:v>
                </c:pt>
                <c:pt idx="9479">
                  <c:v>24054</c:v>
                </c:pt>
                <c:pt idx="9480">
                  <c:v>24055</c:v>
                </c:pt>
                <c:pt idx="9481">
                  <c:v>24056</c:v>
                </c:pt>
                <c:pt idx="9482">
                  <c:v>24057</c:v>
                </c:pt>
                <c:pt idx="9483">
                  <c:v>24058</c:v>
                </c:pt>
                <c:pt idx="9484">
                  <c:v>24061</c:v>
                </c:pt>
                <c:pt idx="9485">
                  <c:v>24062</c:v>
                </c:pt>
                <c:pt idx="9486">
                  <c:v>24063</c:v>
                </c:pt>
                <c:pt idx="9487">
                  <c:v>24064</c:v>
                </c:pt>
                <c:pt idx="9488">
                  <c:v>24065</c:v>
                </c:pt>
                <c:pt idx="9489">
                  <c:v>24068</c:v>
                </c:pt>
                <c:pt idx="9490">
                  <c:v>24069</c:v>
                </c:pt>
                <c:pt idx="9491">
                  <c:v>24070</c:v>
                </c:pt>
                <c:pt idx="9492">
                  <c:v>24072</c:v>
                </c:pt>
                <c:pt idx="9493">
                  <c:v>24075</c:v>
                </c:pt>
                <c:pt idx="9494">
                  <c:v>24076</c:v>
                </c:pt>
                <c:pt idx="9495">
                  <c:v>24077</c:v>
                </c:pt>
                <c:pt idx="9496">
                  <c:v>24078</c:v>
                </c:pt>
                <c:pt idx="9497">
                  <c:v>24079</c:v>
                </c:pt>
                <c:pt idx="9498">
                  <c:v>24082</c:v>
                </c:pt>
                <c:pt idx="9499">
                  <c:v>24083</c:v>
                </c:pt>
                <c:pt idx="9500">
                  <c:v>24084</c:v>
                </c:pt>
                <c:pt idx="9501">
                  <c:v>24085</c:v>
                </c:pt>
                <c:pt idx="9502">
                  <c:v>24086</c:v>
                </c:pt>
                <c:pt idx="9503">
                  <c:v>24089</c:v>
                </c:pt>
                <c:pt idx="9504">
                  <c:v>24090</c:v>
                </c:pt>
                <c:pt idx="9505">
                  <c:v>24091</c:v>
                </c:pt>
                <c:pt idx="9506">
                  <c:v>24092</c:v>
                </c:pt>
                <c:pt idx="9507">
                  <c:v>24093</c:v>
                </c:pt>
                <c:pt idx="9508">
                  <c:v>24096</c:v>
                </c:pt>
                <c:pt idx="9509">
                  <c:v>24097</c:v>
                </c:pt>
                <c:pt idx="9510">
                  <c:v>24098</c:v>
                </c:pt>
                <c:pt idx="9511">
                  <c:v>24099</c:v>
                </c:pt>
                <c:pt idx="9512">
                  <c:v>24103</c:v>
                </c:pt>
                <c:pt idx="9513">
                  <c:v>24104</c:v>
                </c:pt>
                <c:pt idx="9514">
                  <c:v>24105</c:v>
                </c:pt>
                <c:pt idx="9515">
                  <c:v>24106</c:v>
                </c:pt>
                <c:pt idx="9516">
                  <c:v>24107</c:v>
                </c:pt>
                <c:pt idx="9517">
                  <c:v>24110</c:v>
                </c:pt>
                <c:pt idx="9518">
                  <c:v>24111</c:v>
                </c:pt>
                <c:pt idx="9519">
                  <c:v>24112</c:v>
                </c:pt>
                <c:pt idx="9520">
                  <c:v>24113</c:v>
                </c:pt>
                <c:pt idx="9521">
                  <c:v>24114</c:v>
                </c:pt>
                <c:pt idx="9522">
                  <c:v>24117</c:v>
                </c:pt>
                <c:pt idx="9523">
                  <c:v>24118</c:v>
                </c:pt>
                <c:pt idx="9524">
                  <c:v>24119</c:v>
                </c:pt>
                <c:pt idx="9525">
                  <c:v>24120</c:v>
                </c:pt>
                <c:pt idx="9526">
                  <c:v>24121</c:v>
                </c:pt>
                <c:pt idx="9527">
                  <c:v>24124</c:v>
                </c:pt>
                <c:pt idx="9528">
                  <c:v>24125</c:v>
                </c:pt>
                <c:pt idx="9529">
                  <c:v>24126</c:v>
                </c:pt>
                <c:pt idx="9530">
                  <c:v>24127</c:v>
                </c:pt>
                <c:pt idx="9531">
                  <c:v>24128</c:v>
                </c:pt>
                <c:pt idx="9532">
                  <c:v>24131</c:v>
                </c:pt>
                <c:pt idx="9533">
                  <c:v>24132</c:v>
                </c:pt>
                <c:pt idx="9534">
                  <c:v>24133</c:v>
                </c:pt>
                <c:pt idx="9535">
                  <c:v>24134</c:v>
                </c:pt>
                <c:pt idx="9536">
                  <c:v>24135</c:v>
                </c:pt>
                <c:pt idx="9537">
                  <c:v>24138</c:v>
                </c:pt>
                <c:pt idx="9538">
                  <c:v>24139</c:v>
                </c:pt>
                <c:pt idx="9539">
                  <c:v>24140</c:v>
                </c:pt>
                <c:pt idx="9540">
                  <c:v>24141</c:v>
                </c:pt>
                <c:pt idx="9541">
                  <c:v>24142</c:v>
                </c:pt>
                <c:pt idx="9542">
                  <c:v>24145</c:v>
                </c:pt>
                <c:pt idx="9543">
                  <c:v>24146</c:v>
                </c:pt>
                <c:pt idx="9544">
                  <c:v>24147</c:v>
                </c:pt>
                <c:pt idx="9545">
                  <c:v>24148</c:v>
                </c:pt>
                <c:pt idx="9546">
                  <c:v>24149</c:v>
                </c:pt>
                <c:pt idx="9547">
                  <c:v>24152</c:v>
                </c:pt>
                <c:pt idx="9548">
                  <c:v>24153</c:v>
                </c:pt>
                <c:pt idx="9549">
                  <c:v>24154</c:v>
                </c:pt>
                <c:pt idx="9550">
                  <c:v>24155</c:v>
                </c:pt>
                <c:pt idx="9551">
                  <c:v>24156</c:v>
                </c:pt>
                <c:pt idx="9552">
                  <c:v>24159</c:v>
                </c:pt>
                <c:pt idx="9553">
                  <c:v>24161</c:v>
                </c:pt>
                <c:pt idx="9554">
                  <c:v>24162</c:v>
                </c:pt>
                <c:pt idx="9555">
                  <c:v>24163</c:v>
                </c:pt>
                <c:pt idx="9556">
                  <c:v>24166</c:v>
                </c:pt>
                <c:pt idx="9557">
                  <c:v>24167</c:v>
                </c:pt>
                <c:pt idx="9558">
                  <c:v>24168</c:v>
                </c:pt>
                <c:pt idx="9559">
                  <c:v>24169</c:v>
                </c:pt>
                <c:pt idx="9560">
                  <c:v>24170</c:v>
                </c:pt>
                <c:pt idx="9561">
                  <c:v>24173</c:v>
                </c:pt>
                <c:pt idx="9562">
                  <c:v>24174</c:v>
                </c:pt>
                <c:pt idx="9563">
                  <c:v>24175</c:v>
                </c:pt>
                <c:pt idx="9564">
                  <c:v>24176</c:v>
                </c:pt>
                <c:pt idx="9565">
                  <c:v>24177</c:v>
                </c:pt>
                <c:pt idx="9566">
                  <c:v>24180</c:v>
                </c:pt>
                <c:pt idx="9567">
                  <c:v>24181</c:v>
                </c:pt>
                <c:pt idx="9568">
                  <c:v>24182</c:v>
                </c:pt>
                <c:pt idx="9569">
                  <c:v>24183</c:v>
                </c:pt>
                <c:pt idx="9570">
                  <c:v>24184</c:v>
                </c:pt>
                <c:pt idx="9571">
                  <c:v>24187</c:v>
                </c:pt>
                <c:pt idx="9572">
                  <c:v>24188</c:v>
                </c:pt>
                <c:pt idx="9573">
                  <c:v>24189</c:v>
                </c:pt>
                <c:pt idx="9574">
                  <c:v>24190</c:v>
                </c:pt>
                <c:pt idx="9575">
                  <c:v>24191</c:v>
                </c:pt>
                <c:pt idx="9576">
                  <c:v>24194</c:v>
                </c:pt>
                <c:pt idx="9577">
                  <c:v>24195</c:v>
                </c:pt>
                <c:pt idx="9578">
                  <c:v>24196</c:v>
                </c:pt>
                <c:pt idx="9579">
                  <c:v>24197</c:v>
                </c:pt>
                <c:pt idx="9580">
                  <c:v>24198</c:v>
                </c:pt>
                <c:pt idx="9581">
                  <c:v>24201</c:v>
                </c:pt>
                <c:pt idx="9582">
                  <c:v>24202</c:v>
                </c:pt>
                <c:pt idx="9583">
                  <c:v>24203</c:v>
                </c:pt>
                <c:pt idx="9584">
                  <c:v>24204</c:v>
                </c:pt>
                <c:pt idx="9585">
                  <c:v>24208</c:v>
                </c:pt>
                <c:pt idx="9586">
                  <c:v>24209</c:v>
                </c:pt>
                <c:pt idx="9587">
                  <c:v>24210</c:v>
                </c:pt>
                <c:pt idx="9588">
                  <c:v>24211</c:v>
                </c:pt>
                <c:pt idx="9589">
                  <c:v>24212</c:v>
                </c:pt>
                <c:pt idx="9590">
                  <c:v>24215</c:v>
                </c:pt>
                <c:pt idx="9591">
                  <c:v>24216</c:v>
                </c:pt>
                <c:pt idx="9592">
                  <c:v>24217</c:v>
                </c:pt>
                <c:pt idx="9593">
                  <c:v>24218</c:v>
                </c:pt>
                <c:pt idx="9594">
                  <c:v>24219</c:v>
                </c:pt>
                <c:pt idx="9595">
                  <c:v>24222</c:v>
                </c:pt>
                <c:pt idx="9596">
                  <c:v>24223</c:v>
                </c:pt>
                <c:pt idx="9597">
                  <c:v>24224</c:v>
                </c:pt>
                <c:pt idx="9598">
                  <c:v>24225</c:v>
                </c:pt>
                <c:pt idx="9599">
                  <c:v>24226</c:v>
                </c:pt>
                <c:pt idx="9600">
                  <c:v>24229</c:v>
                </c:pt>
                <c:pt idx="9601">
                  <c:v>24230</c:v>
                </c:pt>
                <c:pt idx="9602">
                  <c:v>24231</c:v>
                </c:pt>
                <c:pt idx="9603">
                  <c:v>24232</c:v>
                </c:pt>
                <c:pt idx="9604">
                  <c:v>24233</c:v>
                </c:pt>
                <c:pt idx="9605">
                  <c:v>24236</c:v>
                </c:pt>
                <c:pt idx="9606">
                  <c:v>24237</c:v>
                </c:pt>
                <c:pt idx="9607">
                  <c:v>24238</c:v>
                </c:pt>
                <c:pt idx="9608">
                  <c:v>24239</c:v>
                </c:pt>
                <c:pt idx="9609">
                  <c:v>24240</c:v>
                </c:pt>
                <c:pt idx="9610">
                  <c:v>24243</c:v>
                </c:pt>
                <c:pt idx="9611">
                  <c:v>24244</c:v>
                </c:pt>
                <c:pt idx="9612">
                  <c:v>24245</c:v>
                </c:pt>
                <c:pt idx="9613">
                  <c:v>24246</c:v>
                </c:pt>
                <c:pt idx="9614">
                  <c:v>24247</c:v>
                </c:pt>
                <c:pt idx="9615">
                  <c:v>24250</c:v>
                </c:pt>
                <c:pt idx="9616">
                  <c:v>24251</c:v>
                </c:pt>
                <c:pt idx="9617">
                  <c:v>24252</c:v>
                </c:pt>
                <c:pt idx="9618">
                  <c:v>24253</c:v>
                </c:pt>
                <c:pt idx="9619">
                  <c:v>24254</c:v>
                </c:pt>
                <c:pt idx="9620">
                  <c:v>24258</c:v>
                </c:pt>
                <c:pt idx="9621">
                  <c:v>24259</c:v>
                </c:pt>
                <c:pt idx="9622">
                  <c:v>24260</c:v>
                </c:pt>
                <c:pt idx="9623">
                  <c:v>24261</c:v>
                </c:pt>
                <c:pt idx="9624">
                  <c:v>24264</c:v>
                </c:pt>
                <c:pt idx="9625">
                  <c:v>24265</c:v>
                </c:pt>
                <c:pt idx="9626">
                  <c:v>24266</c:v>
                </c:pt>
                <c:pt idx="9627">
                  <c:v>24267</c:v>
                </c:pt>
                <c:pt idx="9628">
                  <c:v>24268</c:v>
                </c:pt>
                <c:pt idx="9629">
                  <c:v>24271</c:v>
                </c:pt>
                <c:pt idx="9630">
                  <c:v>24272</c:v>
                </c:pt>
                <c:pt idx="9631">
                  <c:v>24273</c:v>
                </c:pt>
                <c:pt idx="9632">
                  <c:v>24274</c:v>
                </c:pt>
                <c:pt idx="9633">
                  <c:v>24275</c:v>
                </c:pt>
                <c:pt idx="9634">
                  <c:v>24278</c:v>
                </c:pt>
                <c:pt idx="9635">
                  <c:v>24279</c:v>
                </c:pt>
                <c:pt idx="9636">
                  <c:v>24280</c:v>
                </c:pt>
                <c:pt idx="9637">
                  <c:v>24281</c:v>
                </c:pt>
                <c:pt idx="9638">
                  <c:v>24282</c:v>
                </c:pt>
                <c:pt idx="9639">
                  <c:v>24285</c:v>
                </c:pt>
                <c:pt idx="9640">
                  <c:v>24286</c:v>
                </c:pt>
                <c:pt idx="9641">
                  <c:v>24287</c:v>
                </c:pt>
                <c:pt idx="9642">
                  <c:v>24288</c:v>
                </c:pt>
                <c:pt idx="9643">
                  <c:v>24289</c:v>
                </c:pt>
                <c:pt idx="9644">
                  <c:v>24293</c:v>
                </c:pt>
                <c:pt idx="9645">
                  <c:v>24294</c:v>
                </c:pt>
                <c:pt idx="9646">
                  <c:v>24295</c:v>
                </c:pt>
                <c:pt idx="9647">
                  <c:v>24296</c:v>
                </c:pt>
                <c:pt idx="9648">
                  <c:v>24299</c:v>
                </c:pt>
                <c:pt idx="9649">
                  <c:v>24300</c:v>
                </c:pt>
                <c:pt idx="9650">
                  <c:v>24301</c:v>
                </c:pt>
                <c:pt idx="9651">
                  <c:v>24302</c:v>
                </c:pt>
                <c:pt idx="9652">
                  <c:v>24303</c:v>
                </c:pt>
                <c:pt idx="9653">
                  <c:v>24306</c:v>
                </c:pt>
                <c:pt idx="9654">
                  <c:v>24307</c:v>
                </c:pt>
                <c:pt idx="9655">
                  <c:v>24308</c:v>
                </c:pt>
                <c:pt idx="9656">
                  <c:v>24309</c:v>
                </c:pt>
                <c:pt idx="9657">
                  <c:v>24310</c:v>
                </c:pt>
                <c:pt idx="9658">
                  <c:v>24313</c:v>
                </c:pt>
                <c:pt idx="9659">
                  <c:v>24314</c:v>
                </c:pt>
                <c:pt idx="9660">
                  <c:v>24315</c:v>
                </c:pt>
                <c:pt idx="9661">
                  <c:v>24316</c:v>
                </c:pt>
                <c:pt idx="9662">
                  <c:v>24317</c:v>
                </c:pt>
                <c:pt idx="9663">
                  <c:v>24320</c:v>
                </c:pt>
                <c:pt idx="9664">
                  <c:v>24321</c:v>
                </c:pt>
                <c:pt idx="9665">
                  <c:v>24322</c:v>
                </c:pt>
                <c:pt idx="9666">
                  <c:v>24323</c:v>
                </c:pt>
                <c:pt idx="9667">
                  <c:v>24324</c:v>
                </c:pt>
                <c:pt idx="9668">
                  <c:v>24327</c:v>
                </c:pt>
                <c:pt idx="9669">
                  <c:v>24328</c:v>
                </c:pt>
                <c:pt idx="9670">
                  <c:v>24329</c:v>
                </c:pt>
                <c:pt idx="9671">
                  <c:v>24330</c:v>
                </c:pt>
                <c:pt idx="9672">
                  <c:v>24331</c:v>
                </c:pt>
                <c:pt idx="9673">
                  <c:v>24334</c:v>
                </c:pt>
                <c:pt idx="9674">
                  <c:v>24335</c:v>
                </c:pt>
                <c:pt idx="9675">
                  <c:v>24336</c:v>
                </c:pt>
                <c:pt idx="9676">
                  <c:v>24337</c:v>
                </c:pt>
                <c:pt idx="9677">
                  <c:v>24338</c:v>
                </c:pt>
                <c:pt idx="9678">
                  <c:v>24341</c:v>
                </c:pt>
                <c:pt idx="9679">
                  <c:v>24342</c:v>
                </c:pt>
                <c:pt idx="9680">
                  <c:v>24343</c:v>
                </c:pt>
                <c:pt idx="9681">
                  <c:v>24344</c:v>
                </c:pt>
                <c:pt idx="9682">
                  <c:v>24345</c:v>
                </c:pt>
                <c:pt idx="9683">
                  <c:v>24348</c:v>
                </c:pt>
                <c:pt idx="9684">
                  <c:v>24349</c:v>
                </c:pt>
                <c:pt idx="9685">
                  <c:v>24350</c:v>
                </c:pt>
                <c:pt idx="9686">
                  <c:v>24351</c:v>
                </c:pt>
                <c:pt idx="9687">
                  <c:v>24352</c:v>
                </c:pt>
                <c:pt idx="9688">
                  <c:v>24356</c:v>
                </c:pt>
                <c:pt idx="9689">
                  <c:v>24357</c:v>
                </c:pt>
                <c:pt idx="9690">
                  <c:v>24358</c:v>
                </c:pt>
                <c:pt idx="9691">
                  <c:v>24359</c:v>
                </c:pt>
                <c:pt idx="9692">
                  <c:v>24362</c:v>
                </c:pt>
                <c:pt idx="9693">
                  <c:v>24363</c:v>
                </c:pt>
                <c:pt idx="9694">
                  <c:v>24364</c:v>
                </c:pt>
                <c:pt idx="9695">
                  <c:v>24365</c:v>
                </c:pt>
                <c:pt idx="9696">
                  <c:v>24366</c:v>
                </c:pt>
                <c:pt idx="9697">
                  <c:v>24369</c:v>
                </c:pt>
                <c:pt idx="9698">
                  <c:v>24370</c:v>
                </c:pt>
                <c:pt idx="9699">
                  <c:v>24371</c:v>
                </c:pt>
                <c:pt idx="9700">
                  <c:v>24372</c:v>
                </c:pt>
                <c:pt idx="9701">
                  <c:v>24373</c:v>
                </c:pt>
                <c:pt idx="9702">
                  <c:v>24376</c:v>
                </c:pt>
                <c:pt idx="9703">
                  <c:v>24377</c:v>
                </c:pt>
                <c:pt idx="9704">
                  <c:v>24378</c:v>
                </c:pt>
                <c:pt idx="9705">
                  <c:v>24379</c:v>
                </c:pt>
                <c:pt idx="9706">
                  <c:v>24380</c:v>
                </c:pt>
                <c:pt idx="9707">
                  <c:v>24383</c:v>
                </c:pt>
                <c:pt idx="9708">
                  <c:v>24384</c:v>
                </c:pt>
                <c:pt idx="9709">
                  <c:v>24385</c:v>
                </c:pt>
                <c:pt idx="9710">
                  <c:v>24386</c:v>
                </c:pt>
                <c:pt idx="9711">
                  <c:v>24387</c:v>
                </c:pt>
                <c:pt idx="9712">
                  <c:v>24390</c:v>
                </c:pt>
                <c:pt idx="9713">
                  <c:v>24391</c:v>
                </c:pt>
                <c:pt idx="9714">
                  <c:v>24392</c:v>
                </c:pt>
                <c:pt idx="9715">
                  <c:v>24393</c:v>
                </c:pt>
                <c:pt idx="9716">
                  <c:v>24394</c:v>
                </c:pt>
                <c:pt idx="9717">
                  <c:v>24397</c:v>
                </c:pt>
                <c:pt idx="9718">
                  <c:v>24398</c:v>
                </c:pt>
                <c:pt idx="9719">
                  <c:v>24399</c:v>
                </c:pt>
                <c:pt idx="9720">
                  <c:v>24400</c:v>
                </c:pt>
                <c:pt idx="9721">
                  <c:v>24401</c:v>
                </c:pt>
                <c:pt idx="9722">
                  <c:v>24404</c:v>
                </c:pt>
                <c:pt idx="9723">
                  <c:v>24405</c:v>
                </c:pt>
                <c:pt idx="9724">
                  <c:v>24406</c:v>
                </c:pt>
                <c:pt idx="9725">
                  <c:v>24407</c:v>
                </c:pt>
                <c:pt idx="9726">
                  <c:v>24408</c:v>
                </c:pt>
                <c:pt idx="9727">
                  <c:v>24411</c:v>
                </c:pt>
                <c:pt idx="9728">
                  <c:v>24412</c:v>
                </c:pt>
                <c:pt idx="9729">
                  <c:v>24413</c:v>
                </c:pt>
                <c:pt idx="9730">
                  <c:v>24414</c:v>
                </c:pt>
                <c:pt idx="9731">
                  <c:v>24415</c:v>
                </c:pt>
                <c:pt idx="9732">
                  <c:v>24418</c:v>
                </c:pt>
                <c:pt idx="9733">
                  <c:v>24420</c:v>
                </c:pt>
                <c:pt idx="9734">
                  <c:v>24421</c:v>
                </c:pt>
                <c:pt idx="9735">
                  <c:v>24422</c:v>
                </c:pt>
                <c:pt idx="9736">
                  <c:v>24425</c:v>
                </c:pt>
                <c:pt idx="9737">
                  <c:v>24426</c:v>
                </c:pt>
                <c:pt idx="9738">
                  <c:v>24427</c:v>
                </c:pt>
                <c:pt idx="9739">
                  <c:v>24428</c:v>
                </c:pt>
                <c:pt idx="9740">
                  <c:v>24429</c:v>
                </c:pt>
                <c:pt idx="9741">
                  <c:v>24432</c:v>
                </c:pt>
                <c:pt idx="9742">
                  <c:v>24433</c:v>
                </c:pt>
                <c:pt idx="9743">
                  <c:v>24434</c:v>
                </c:pt>
                <c:pt idx="9744">
                  <c:v>24436</c:v>
                </c:pt>
                <c:pt idx="9745">
                  <c:v>24439</c:v>
                </c:pt>
                <c:pt idx="9746">
                  <c:v>24440</c:v>
                </c:pt>
                <c:pt idx="9747">
                  <c:v>24441</c:v>
                </c:pt>
                <c:pt idx="9748">
                  <c:v>24442</c:v>
                </c:pt>
                <c:pt idx="9749">
                  <c:v>24443</c:v>
                </c:pt>
                <c:pt idx="9750">
                  <c:v>24446</c:v>
                </c:pt>
                <c:pt idx="9751">
                  <c:v>24447</c:v>
                </c:pt>
                <c:pt idx="9752">
                  <c:v>24448</c:v>
                </c:pt>
                <c:pt idx="9753">
                  <c:v>24449</c:v>
                </c:pt>
                <c:pt idx="9754">
                  <c:v>24450</c:v>
                </c:pt>
                <c:pt idx="9755">
                  <c:v>24453</c:v>
                </c:pt>
                <c:pt idx="9756">
                  <c:v>24454</c:v>
                </c:pt>
                <c:pt idx="9757">
                  <c:v>24455</c:v>
                </c:pt>
                <c:pt idx="9758">
                  <c:v>24456</c:v>
                </c:pt>
                <c:pt idx="9759">
                  <c:v>24457</c:v>
                </c:pt>
                <c:pt idx="9760">
                  <c:v>24460</c:v>
                </c:pt>
                <c:pt idx="9761">
                  <c:v>24461</c:v>
                </c:pt>
                <c:pt idx="9762">
                  <c:v>24462</c:v>
                </c:pt>
                <c:pt idx="9763">
                  <c:v>24463</c:v>
                </c:pt>
                <c:pt idx="9764">
                  <c:v>24464</c:v>
                </c:pt>
                <c:pt idx="9765">
                  <c:v>24468</c:v>
                </c:pt>
                <c:pt idx="9766">
                  <c:v>24469</c:v>
                </c:pt>
                <c:pt idx="9767">
                  <c:v>24470</c:v>
                </c:pt>
                <c:pt idx="9768">
                  <c:v>24471</c:v>
                </c:pt>
                <c:pt idx="9769">
                  <c:v>24475</c:v>
                </c:pt>
                <c:pt idx="9770">
                  <c:v>24476</c:v>
                </c:pt>
                <c:pt idx="9771">
                  <c:v>24477</c:v>
                </c:pt>
                <c:pt idx="9772">
                  <c:v>24478</c:v>
                </c:pt>
                <c:pt idx="9773">
                  <c:v>24481</c:v>
                </c:pt>
                <c:pt idx="9774">
                  <c:v>24482</c:v>
                </c:pt>
                <c:pt idx="9775">
                  <c:v>24483</c:v>
                </c:pt>
                <c:pt idx="9776">
                  <c:v>24484</c:v>
                </c:pt>
                <c:pt idx="9777">
                  <c:v>24485</c:v>
                </c:pt>
                <c:pt idx="9778">
                  <c:v>24488</c:v>
                </c:pt>
                <c:pt idx="9779">
                  <c:v>24489</c:v>
                </c:pt>
                <c:pt idx="9780">
                  <c:v>24490</c:v>
                </c:pt>
                <c:pt idx="9781">
                  <c:v>24491</c:v>
                </c:pt>
                <c:pt idx="9782">
                  <c:v>24492</c:v>
                </c:pt>
                <c:pt idx="9783">
                  <c:v>24495</c:v>
                </c:pt>
                <c:pt idx="9784">
                  <c:v>24496</c:v>
                </c:pt>
                <c:pt idx="9785">
                  <c:v>24497</c:v>
                </c:pt>
                <c:pt idx="9786">
                  <c:v>24498</c:v>
                </c:pt>
                <c:pt idx="9787">
                  <c:v>24499</c:v>
                </c:pt>
                <c:pt idx="9788">
                  <c:v>24502</c:v>
                </c:pt>
                <c:pt idx="9789">
                  <c:v>24503</c:v>
                </c:pt>
                <c:pt idx="9790">
                  <c:v>24504</c:v>
                </c:pt>
                <c:pt idx="9791">
                  <c:v>24505</c:v>
                </c:pt>
                <c:pt idx="9792">
                  <c:v>24506</c:v>
                </c:pt>
                <c:pt idx="9793">
                  <c:v>24509</c:v>
                </c:pt>
                <c:pt idx="9794">
                  <c:v>24510</c:v>
                </c:pt>
                <c:pt idx="9795">
                  <c:v>24511</c:v>
                </c:pt>
                <c:pt idx="9796">
                  <c:v>24512</c:v>
                </c:pt>
                <c:pt idx="9797">
                  <c:v>24513</c:v>
                </c:pt>
                <c:pt idx="9798">
                  <c:v>24516</c:v>
                </c:pt>
                <c:pt idx="9799">
                  <c:v>24517</c:v>
                </c:pt>
                <c:pt idx="9800">
                  <c:v>24518</c:v>
                </c:pt>
                <c:pt idx="9801">
                  <c:v>24519</c:v>
                </c:pt>
                <c:pt idx="9802">
                  <c:v>24520</c:v>
                </c:pt>
                <c:pt idx="9803">
                  <c:v>24523</c:v>
                </c:pt>
                <c:pt idx="9804">
                  <c:v>24524</c:v>
                </c:pt>
                <c:pt idx="9805">
                  <c:v>24526</c:v>
                </c:pt>
                <c:pt idx="9806">
                  <c:v>24527</c:v>
                </c:pt>
                <c:pt idx="9807">
                  <c:v>24530</c:v>
                </c:pt>
                <c:pt idx="9808">
                  <c:v>24531</c:v>
                </c:pt>
                <c:pt idx="9809">
                  <c:v>24532</c:v>
                </c:pt>
                <c:pt idx="9810">
                  <c:v>24533</c:v>
                </c:pt>
                <c:pt idx="9811">
                  <c:v>24534</c:v>
                </c:pt>
                <c:pt idx="9812">
                  <c:v>24537</c:v>
                </c:pt>
                <c:pt idx="9813">
                  <c:v>24538</c:v>
                </c:pt>
                <c:pt idx="9814">
                  <c:v>24539</c:v>
                </c:pt>
                <c:pt idx="9815">
                  <c:v>24540</c:v>
                </c:pt>
                <c:pt idx="9816">
                  <c:v>24541</c:v>
                </c:pt>
                <c:pt idx="9817">
                  <c:v>24544</c:v>
                </c:pt>
                <c:pt idx="9818">
                  <c:v>24545</c:v>
                </c:pt>
                <c:pt idx="9819">
                  <c:v>24546</c:v>
                </c:pt>
                <c:pt idx="9820">
                  <c:v>24547</c:v>
                </c:pt>
                <c:pt idx="9821">
                  <c:v>24548</c:v>
                </c:pt>
                <c:pt idx="9822">
                  <c:v>24551</c:v>
                </c:pt>
                <c:pt idx="9823">
                  <c:v>24552</c:v>
                </c:pt>
                <c:pt idx="9824">
                  <c:v>24553</c:v>
                </c:pt>
                <c:pt idx="9825">
                  <c:v>24554</c:v>
                </c:pt>
                <c:pt idx="9826">
                  <c:v>24558</c:v>
                </c:pt>
                <c:pt idx="9827">
                  <c:v>24559</c:v>
                </c:pt>
                <c:pt idx="9828">
                  <c:v>24560</c:v>
                </c:pt>
                <c:pt idx="9829">
                  <c:v>24561</c:v>
                </c:pt>
                <c:pt idx="9830">
                  <c:v>24562</c:v>
                </c:pt>
                <c:pt idx="9831">
                  <c:v>24565</c:v>
                </c:pt>
                <c:pt idx="9832">
                  <c:v>24566</c:v>
                </c:pt>
                <c:pt idx="9833">
                  <c:v>24567</c:v>
                </c:pt>
                <c:pt idx="9834">
                  <c:v>24568</c:v>
                </c:pt>
                <c:pt idx="9835">
                  <c:v>24569</c:v>
                </c:pt>
                <c:pt idx="9836">
                  <c:v>24572</c:v>
                </c:pt>
                <c:pt idx="9837">
                  <c:v>24573</c:v>
                </c:pt>
                <c:pt idx="9838">
                  <c:v>24574</c:v>
                </c:pt>
                <c:pt idx="9839">
                  <c:v>24575</c:v>
                </c:pt>
                <c:pt idx="9840">
                  <c:v>24576</c:v>
                </c:pt>
                <c:pt idx="9841">
                  <c:v>24579</c:v>
                </c:pt>
                <c:pt idx="9842">
                  <c:v>24580</c:v>
                </c:pt>
                <c:pt idx="9843">
                  <c:v>24581</c:v>
                </c:pt>
                <c:pt idx="9844">
                  <c:v>24582</c:v>
                </c:pt>
                <c:pt idx="9845">
                  <c:v>24583</c:v>
                </c:pt>
                <c:pt idx="9846">
                  <c:v>24586</c:v>
                </c:pt>
                <c:pt idx="9847">
                  <c:v>24587</c:v>
                </c:pt>
                <c:pt idx="9848">
                  <c:v>24588</c:v>
                </c:pt>
                <c:pt idx="9849">
                  <c:v>24589</c:v>
                </c:pt>
                <c:pt idx="9850">
                  <c:v>24590</c:v>
                </c:pt>
                <c:pt idx="9851">
                  <c:v>24593</c:v>
                </c:pt>
                <c:pt idx="9852">
                  <c:v>24594</c:v>
                </c:pt>
                <c:pt idx="9853">
                  <c:v>24595</c:v>
                </c:pt>
                <c:pt idx="9854">
                  <c:v>24596</c:v>
                </c:pt>
                <c:pt idx="9855">
                  <c:v>24597</c:v>
                </c:pt>
                <c:pt idx="9856">
                  <c:v>24600</c:v>
                </c:pt>
                <c:pt idx="9857">
                  <c:v>24601</c:v>
                </c:pt>
                <c:pt idx="9858">
                  <c:v>24602</c:v>
                </c:pt>
                <c:pt idx="9859">
                  <c:v>24603</c:v>
                </c:pt>
                <c:pt idx="9860">
                  <c:v>24604</c:v>
                </c:pt>
                <c:pt idx="9861">
                  <c:v>24607</c:v>
                </c:pt>
                <c:pt idx="9862">
                  <c:v>24608</c:v>
                </c:pt>
                <c:pt idx="9863">
                  <c:v>24609</c:v>
                </c:pt>
                <c:pt idx="9864">
                  <c:v>24610</c:v>
                </c:pt>
                <c:pt idx="9865">
                  <c:v>24611</c:v>
                </c:pt>
                <c:pt idx="9866">
                  <c:v>24614</c:v>
                </c:pt>
                <c:pt idx="9867">
                  <c:v>24615</c:v>
                </c:pt>
                <c:pt idx="9868">
                  <c:v>24616</c:v>
                </c:pt>
                <c:pt idx="9869">
                  <c:v>24617</c:v>
                </c:pt>
                <c:pt idx="9870">
                  <c:v>24618</c:v>
                </c:pt>
                <c:pt idx="9871">
                  <c:v>24621</c:v>
                </c:pt>
                <c:pt idx="9872">
                  <c:v>24623</c:v>
                </c:pt>
                <c:pt idx="9873">
                  <c:v>24624</c:v>
                </c:pt>
                <c:pt idx="9874">
                  <c:v>24625</c:v>
                </c:pt>
                <c:pt idx="9875">
                  <c:v>24628</c:v>
                </c:pt>
                <c:pt idx="9876">
                  <c:v>24629</c:v>
                </c:pt>
                <c:pt idx="9877">
                  <c:v>24630</c:v>
                </c:pt>
                <c:pt idx="9878">
                  <c:v>24631</c:v>
                </c:pt>
                <c:pt idx="9879">
                  <c:v>24632</c:v>
                </c:pt>
                <c:pt idx="9880">
                  <c:v>24635</c:v>
                </c:pt>
                <c:pt idx="9881">
                  <c:v>24636</c:v>
                </c:pt>
                <c:pt idx="9882">
                  <c:v>24637</c:v>
                </c:pt>
                <c:pt idx="9883">
                  <c:v>24638</c:v>
                </c:pt>
                <c:pt idx="9884">
                  <c:v>24639</c:v>
                </c:pt>
                <c:pt idx="9885">
                  <c:v>24642</c:v>
                </c:pt>
                <c:pt idx="9886">
                  <c:v>24643</c:v>
                </c:pt>
                <c:pt idx="9887">
                  <c:v>24644</c:v>
                </c:pt>
                <c:pt idx="9888">
                  <c:v>24645</c:v>
                </c:pt>
                <c:pt idx="9889">
                  <c:v>24646</c:v>
                </c:pt>
                <c:pt idx="9890">
                  <c:v>24649</c:v>
                </c:pt>
                <c:pt idx="9891">
                  <c:v>24650</c:v>
                </c:pt>
                <c:pt idx="9892">
                  <c:v>24651</c:v>
                </c:pt>
                <c:pt idx="9893">
                  <c:v>24652</c:v>
                </c:pt>
                <c:pt idx="9894">
                  <c:v>24653</c:v>
                </c:pt>
                <c:pt idx="9895">
                  <c:v>24656</c:v>
                </c:pt>
                <c:pt idx="9896">
                  <c:v>24658</c:v>
                </c:pt>
                <c:pt idx="9897">
                  <c:v>24659</c:v>
                </c:pt>
                <c:pt idx="9898">
                  <c:v>24660</c:v>
                </c:pt>
                <c:pt idx="9899">
                  <c:v>24663</c:v>
                </c:pt>
                <c:pt idx="9900">
                  <c:v>24664</c:v>
                </c:pt>
                <c:pt idx="9901">
                  <c:v>24665</c:v>
                </c:pt>
                <c:pt idx="9902">
                  <c:v>24666</c:v>
                </c:pt>
                <c:pt idx="9903">
                  <c:v>24667</c:v>
                </c:pt>
                <c:pt idx="9904">
                  <c:v>24670</c:v>
                </c:pt>
                <c:pt idx="9905">
                  <c:v>24671</c:v>
                </c:pt>
                <c:pt idx="9906">
                  <c:v>24672</c:v>
                </c:pt>
                <c:pt idx="9907">
                  <c:v>24673</c:v>
                </c:pt>
                <c:pt idx="9908">
                  <c:v>24674</c:v>
                </c:pt>
                <c:pt idx="9909">
                  <c:v>24677</c:v>
                </c:pt>
                <c:pt idx="9910">
                  <c:v>24678</c:v>
                </c:pt>
                <c:pt idx="9911">
                  <c:v>24679</c:v>
                </c:pt>
                <c:pt idx="9912">
                  <c:v>24680</c:v>
                </c:pt>
                <c:pt idx="9913">
                  <c:v>24681</c:v>
                </c:pt>
                <c:pt idx="9914">
                  <c:v>24684</c:v>
                </c:pt>
                <c:pt idx="9915">
                  <c:v>24685</c:v>
                </c:pt>
                <c:pt idx="9916">
                  <c:v>24686</c:v>
                </c:pt>
                <c:pt idx="9917">
                  <c:v>24687</c:v>
                </c:pt>
                <c:pt idx="9918">
                  <c:v>24688</c:v>
                </c:pt>
                <c:pt idx="9919">
                  <c:v>24691</c:v>
                </c:pt>
                <c:pt idx="9920">
                  <c:v>24692</c:v>
                </c:pt>
                <c:pt idx="9921">
                  <c:v>24693</c:v>
                </c:pt>
                <c:pt idx="9922">
                  <c:v>24694</c:v>
                </c:pt>
                <c:pt idx="9923">
                  <c:v>24695</c:v>
                </c:pt>
                <c:pt idx="9924">
                  <c:v>24698</c:v>
                </c:pt>
                <c:pt idx="9925">
                  <c:v>24699</c:v>
                </c:pt>
                <c:pt idx="9926">
                  <c:v>24700</c:v>
                </c:pt>
                <c:pt idx="9927">
                  <c:v>24701</c:v>
                </c:pt>
                <c:pt idx="9928">
                  <c:v>24702</c:v>
                </c:pt>
                <c:pt idx="9929">
                  <c:v>24705</c:v>
                </c:pt>
                <c:pt idx="9930">
                  <c:v>24706</c:v>
                </c:pt>
                <c:pt idx="9931">
                  <c:v>24707</c:v>
                </c:pt>
                <c:pt idx="9932">
                  <c:v>24708</c:v>
                </c:pt>
                <c:pt idx="9933">
                  <c:v>24709</c:v>
                </c:pt>
                <c:pt idx="9934">
                  <c:v>24712</c:v>
                </c:pt>
                <c:pt idx="9935">
                  <c:v>24713</c:v>
                </c:pt>
                <c:pt idx="9936">
                  <c:v>24714</c:v>
                </c:pt>
                <c:pt idx="9937">
                  <c:v>24715</c:v>
                </c:pt>
                <c:pt idx="9938">
                  <c:v>24716</c:v>
                </c:pt>
                <c:pt idx="9939">
                  <c:v>24720</c:v>
                </c:pt>
                <c:pt idx="9940">
                  <c:v>24721</c:v>
                </c:pt>
                <c:pt idx="9941">
                  <c:v>24722</c:v>
                </c:pt>
                <c:pt idx="9942">
                  <c:v>24723</c:v>
                </c:pt>
                <c:pt idx="9943">
                  <c:v>24726</c:v>
                </c:pt>
                <c:pt idx="9944">
                  <c:v>24727</c:v>
                </c:pt>
                <c:pt idx="9945">
                  <c:v>24728</c:v>
                </c:pt>
                <c:pt idx="9946">
                  <c:v>24729</c:v>
                </c:pt>
                <c:pt idx="9947">
                  <c:v>24730</c:v>
                </c:pt>
                <c:pt idx="9948">
                  <c:v>24733</c:v>
                </c:pt>
                <c:pt idx="9949">
                  <c:v>24734</c:v>
                </c:pt>
                <c:pt idx="9950">
                  <c:v>24735</c:v>
                </c:pt>
                <c:pt idx="9951">
                  <c:v>24736</c:v>
                </c:pt>
                <c:pt idx="9952">
                  <c:v>24737</c:v>
                </c:pt>
                <c:pt idx="9953">
                  <c:v>24740</c:v>
                </c:pt>
                <c:pt idx="9954">
                  <c:v>24741</c:v>
                </c:pt>
                <c:pt idx="9955">
                  <c:v>24742</c:v>
                </c:pt>
                <c:pt idx="9956">
                  <c:v>24743</c:v>
                </c:pt>
                <c:pt idx="9957">
                  <c:v>24744</c:v>
                </c:pt>
                <c:pt idx="9958">
                  <c:v>24747</c:v>
                </c:pt>
                <c:pt idx="9959">
                  <c:v>24748</c:v>
                </c:pt>
                <c:pt idx="9960">
                  <c:v>24749</c:v>
                </c:pt>
                <c:pt idx="9961">
                  <c:v>24750</c:v>
                </c:pt>
                <c:pt idx="9962">
                  <c:v>24751</c:v>
                </c:pt>
                <c:pt idx="9963">
                  <c:v>24754</c:v>
                </c:pt>
                <c:pt idx="9964">
                  <c:v>24755</c:v>
                </c:pt>
                <c:pt idx="9965">
                  <c:v>24756</c:v>
                </c:pt>
                <c:pt idx="9966">
                  <c:v>24757</c:v>
                </c:pt>
                <c:pt idx="9967">
                  <c:v>24758</c:v>
                </c:pt>
                <c:pt idx="9968">
                  <c:v>24761</c:v>
                </c:pt>
                <c:pt idx="9969">
                  <c:v>24762</c:v>
                </c:pt>
                <c:pt idx="9970">
                  <c:v>24763</c:v>
                </c:pt>
                <c:pt idx="9971">
                  <c:v>24764</c:v>
                </c:pt>
                <c:pt idx="9972">
                  <c:v>24765</c:v>
                </c:pt>
                <c:pt idx="9973">
                  <c:v>24768</c:v>
                </c:pt>
                <c:pt idx="9974">
                  <c:v>24769</c:v>
                </c:pt>
                <c:pt idx="9975">
                  <c:v>24770</c:v>
                </c:pt>
                <c:pt idx="9976">
                  <c:v>24771</c:v>
                </c:pt>
                <c:pt idx="9977">
                  <c:v>24772</c:v>
                </c:pt>
                <c:pt idx="9978">
                  <c:v>24775</c:v>
                </c:pt>
                <c:pt idx="9979">
                  <c:v>24776</c:v>
                </c:pt>
                <c:pt idx="9980">
                  <c:v>24777</c:v>
                </c:pt>
                <c:pt idx="9981">
                  <c:v>24778</c:v>
                </c:pt>
                <c:pt idx="9982">
                  <c:v>24779</c:v>
                </c:pt>
                <c:pt idx="9983">
                  <c:v>24782</c:v>
                </c:pt>
                <c:pt idx="9984">
                  <c:v>24784</c:v>
                </c:pt>
                <c:pt idx="9985">
                  <c:v>24785</c:v>
                </c:pt>
                <c:pt idx="9986">
                  <c:v>24786</c:v>
                </c:pt>
                <c:pt idx="9987">
                  <c:v>24789</c:v>
                </c:pt>
                <c:pt idx="9988">
                  <c:v>24790</c:v>
                </c:pt>
                <c:pt idx="9989">
                  <c:v>24791</c:v>
                </c:pt>
                <c:pt idx="9990">
                  <c:v>24792</c:v>
                </c:pt>
                <c:pt idx="9991">
                  <c:v>24793</c:v>
                </c:pt>
                <c:pt idx="9992">
                  <c:v>24796</c:v>
                </c:pt>
                <c:pt idx="9993">
                  <c:v>24797</c:v>
                </c:pt>
                <c:pt idx="9994">
                  <c:v>24798</c:v>
                </c:pt>
                <c:pt idx="9995">
                  <c:v>24800</c:v>
                </c:pt>
                <c:pt idx="9996">
                  <c:v>24803</c:v>
                </c:pt>
                <c:pt idx="9997">
                  <c:v>24804</c:v>
                </c:pt>
                <c:pt idx="9998">
                  <c:v>24805</c:v>
                </c:pt>
                <c:pt idx="9999">
                  <c:v>24806</c:v>
                </c:pt>
                <c:pt idx="10000">
                  <c:v>24807</c:v>
                </c:pt>
                <c:pt idx="10001">
                  <c:v>24810</c:v>
                </c:pt>
                <c:pt idx="10002">
                  <c:v>24811</c:v>
                </c:pt>
                <c:pt idx="10003">
                  <c:v>24812</c:v>
                </c:pt>
                <c:pt idx="10004">
                  <c:v>24813</c:v>
                </c:pt>
                <c:pt idx="10005">
                  <c:v>24814</c:v>
                </c:pt>
                <c:pt idx="10006">
                  <c:v>24817</c:v>
                </c:pt>
                <c:pt idx="10007">
                  <c:v>24818</c:v>
                </c:pt>
                <c:pt idx="10008">
                  <c:v>24819</c:v>
                </c:pt>
                <c:pt idx="10009">
                  <c:v>24820</c:v>
                </c:pt>
                <c:pt idx="10010">
                  <c:v>24821</c:v>
                </c:pt>
                <c:pt idx="10011">
                  <c:v>24824</c:v>
                </c:pt>
                <c:pt idx="10012">
                  <c:v>24825</c:v>
                </c:pt>
                <c:pt idx="10013">
                  <c:v>24826</c:v>
                </c:pt>
                <c:pt idx="10014">
                  <c:v>24827</c:v>
                </c:pt>
                <c:pt idx="10015">
                  <c:v>24828</c:v>
                </c:pt>
                <c:pt idx="10016">
                  <c:v>24832</c:v>
                </c:pt>
                <c:pt idx="10017">
                  <c:v>24833</c:v>
                </c:pt>
                <c:pt idx="10018">
                  <c:v>24834</c:v>
                </c:pt>
                <c:pt idx="10019">
                  <c:v>24835</c:v>
                </c:pt>
                <c:pt idx="10020">
                  <c:v>24839</c:v>
                </c:pt>
                <c:pt idx="10021">
                  <c:v>24840</c:v>
                </c:pt>
                <c:pt idx="10022">
                  <c:v>24841</c:v>
                </c:pt>
                <c:pt idx="10023">
                  <c:v>24842</c:v>
                </c:pt>
                <c:pt idx="10024">
                  <c:v>24845</c:v>
                </c:pt>
                <c:pt idx="10025">
                  <c:v>24846</c:v>
                </c:pt>
                <c:pt idx="10026">
                  <c:v>24847</c:v>
                </c:pt>
                <c:pt idx="10027">
                  <c:v>24848</c:v>
                </c:pt>
                <c:pt idx="10028">
                  <c:v>24849</c:v>
                </c:pt>
                <c:pt idx="10029">
                  <c:v>24852</c:v>
                </c:pt>
                <c:pt idx="10030">
                  <c:v>24853</c:v>
                </c:pt>
                <c:pt idx="10031">
                  <c:v>24854</c:v>
                </c:pt>
                <c:pt idx="10032">
                  <c:v>24855</c:v>
                </c:pt>
                <c:pt idx="10033">
                  <c:v>24856</c:v>
                </c:pt>
                <c:pt idx="10034">
                  <c:v>24859</c:v>
                </c:pt>
                <c:pt idx="10035">
                  <c:v>24860</c:v>
                </c:pt>
                <c:pt idx="10036">
                  <c:v>24861</c:v>
                </c:pt>
                <c:pt idx="10037">
                  <c:v>24862</c:v>
                </c:pt>
                <c:pt idx="10038">
                  <c:v>24863</c:v>
                </c:pt>
                <c:pt idx="10039">
                  <c:v>24866</c:v>
                </c:pt>
                <c:pt idx="10040">
                  <c:v>24867</c:v>
                </c:pt>
                <c:pt idx="10041">
                  <c:v>24868</c:v>
                </c:pt>
                <c:pt idx="10042">
                  <c:v>24869</c:v>
                </c:pt>
                <c:pt idx="10043">
                  <c:v>24870</c:v>
                </c:pt>
                <c:pt idx="10044">
                  <c:v>24873</c:v>
                </c:pt>
                <c:pt idx="10045">
                  <c:v>24874</c:v>
                </c:pt>
                <c:pt idx="10046">
                  <c:v>24875</c:v>
                </c:pt>
                <c:pt idx="10047">
                  <c:v>24876</c:v>
                </c:pt>
                <c:pt idx="10048">
                  <c:v>24877</c:v>
                </c:pt>
                <c:pt idx="10049">
                  <c:v>24881</c:v>
                </c:pt>
                <c:pt idx="10050">
                  <c:v>24882</c:v>
                </c:pt>
                <c:pt idx="10051">
                  <c:v>24883</c:v>
                </c:pt>
                <c:pt idx="10052">
                  <c:v>24884</c:v>
                </c:pt>
                <c:pt idx="10053">
                  <c:v>24887</c:v>
                </c:pt>
                <c:pt idx="10054">
                  <c:v>24888</c:v>
                </c:pt>
                <c:pt idx="10055">
                  <c:v>24889</c:v>
                </c:pt>
                <c:pt idx="10056">
                  <c:v>24891</c:v>
                </c:pt>
                <c:pt idx="10057">
                  <c:v>24894</c:v>
                </c:pt>
                <c:pt idx="10058">
                  <c:v>24895</c:v>
                </c:pt>
                <c:pt idx="10059">
                  <c:v>24896</c:v>
                </c:pt>
                <c:pt idx="10060">
                  <c:v>24897</c:v>
                </c:pt>
                <c:pt idx="10061">
                  <c:v>24898</c:v>
                </c:pt>
                <c:pt idx="10062">
                  <c:v>24901</c:v>
                </c:pt>
                <c:pt idx="10063">
                  <c:v>24902</c:v>
                </c:pt>
                <c:pt idx="10064">
                  <c:v>24903</c:v>
                </c:pt>
                <c:pt idx="10065">
                  <c:v>24904</c:v>
                </c:pt>
                <c:pt idx="10066">
                  <c:v>24905</c:v>
                </c:pt>
                <c:pt idx="10067">
                  <c:v>24908</c:v>
                </c:pt>
                <c:pt idx="10068">
                  <c:v>24909</c:v>
                </c:pt>
                <c:pt idx="10069">
                  <c:v>24910</c:v>
                </c:pt>
                <c:pt idx="10070">
                  <c:v>24911</c:v>
                </c:pt>
                <c:pt idx="10071">
                  <c:v>24912</c:v>
                </c:pt>
                <c:pt idx="10072">
                  <c:v>24915</c:v>
                </c:pt>
                <c:pt idx="10073">
                  <c:v>24916</c:v>
                </c:pt>
                <c:pt idx="10074">
                  <c:v>24917</c:v>
                </c:pt>
                <c:pt idx="10075">
                  <c:v>24918</c:v>
                </c:pt>
                <c:pt idx="10076">
                  <c:v>24919</c:v>
                </c:pt>
                <c:pt idx="10077">
                  <c:v>24922</c:v>
                </c:pt>
                <c:pt idx="10078">
                  <c:v>24923</c:v>
                </c:pt>
                <c:pt idx="10079">
                  <c:v>24924</c:v>
                </c:pt>
                <c:pt idx="10080">
                  <c:v>24925</c:v>
                </c:pt>
                <c:pt idx="10081">
                  <c:v>24926</c:v>
                </c:pt>
                <c:pt idx="10082">
                  <c:v>24929</c:v>
                </c:pt>
                <c:pt idx="10083">
                  <c:v>24930</c:v>
                </c:pt>
                <c:pt idx="10084">
                  <c:v>24931</c:v>
                </c:pt>
                <c:pt idx="10085">
                  <c:v>24932</c:v>
                </c:pt>
                <c:pt idx="10086">
                  <c:v>24933</c:v>
                </c:pt>
                <c:pt idx="10087">
                  <c:v>24936</c:v>
                </c:pt>
                <c:pt idx="10088">
                  <c:v>24938</c:v>
                </c:pt>
                <c:pt idx="10089">
                  <c:v>24939</c:v>
                </c:pt>
                <c:pt idx="10090">
                  <c:v>24943</c:v>
                </c:pt>
                <c:pt idx="10091">
                  <c:v>24944</c:v>
                </c:pt>
                <c:pt idx="10092">
                  <c:v>24945</c:v>
                </c:pt>
                <c:pt idx="10093">
                  <c:v>24946</c:v>
                </c:pt>
                <c:pt idx="10094">
                  <c:v>24947</c:v>
                </c:pt>
                <c:pt idx="10095">
                  <c:v>24950</c:v>
                </c:pt>
                <c:pt idx="10096">
                  <c:v>24951</c:v>
                </c:pt>
                <c:pt idx="10097">
                  <c:v>24952</c:v>
                </c:pt>
                <c:pt idx="10098">
                  <c:v>24953</c:v>
                </c:pt>
                <c:pt idx="10099">
                  <c:v>24954</c:v>
                </c:pt>
                <c:pt idx="10100">
                  <c:v>24957</c:v>
                </c:pt>
                <c:pt idx="10101">
                  <c:v>24958</c:v>
                </c:pt>
                <c:pt idx="10102">
                  <c:v>24959</c:v>
                </c:pt>
                <c:pt idx="10103">
                  <c:v>24960</c:v>
                </c:pt>
                <c:pt idx="10104">
                  <c:v>24961</c:v>
                </c:pt>
                <c:pt idx="10105">
                  <c:v>24964</c:v>
                </c:pt>
                <c:pt idx="10106">
                  <c:v>24965</c:v>
                </c:pt>
                <c:pt idx="10107">
                  <c:v>24966</c:v>
                </c:pt>
                <c:pt idx="10108">
                  <c:v>24967</c:v>
                </c:pt>
                <c:pt idx="10109">
                  <c:v>24968</c:v>
                </c:pt>
                <c:pt idx="10110">
                  <c:v>24971</c:v>
                </c:pt>
                <c:pt idx="10111">
                  <c:v>24972</c:v>
                </c:pt>
                <c:pt idx="10112">
                  <c:v>24973</c:v>
                </c:pt>
                <c:pt idx="10113">
                  <c:v>24974</c:v>
                </c:pt>
                <c:pt idx="10114">
                  <c:v>24975</c:v>
                </c:pt>
                <c:pt idx="10115">
                  <c:v>24978</c:v>
                </c:pt>
                <c:pt idx="10116">
                  <c:v>24979</c:v>
                </c:pt>
                <c:pt idx="10117">
                  <c:v>24980</c:v>
                </c:pt>
                <c:pt idx="10118">
                  <c:v>24981</c:v>
                </c:pt>
                <c:pt idx="10119">
                  <c:v>24982</c:v>
                </c:pt>
                <c:pt idx="10120">
                  <c:v>24985</c:v>
                </c:pt>
                <c:pt idx="10121">
                  <c:v>24986</c:v>
                </c:pt>
                <c:pt idx="10122">
                  <c:v>24987</c:v>
                </c:pt>
                <c:pt idx="10123">
                  <c:v>24989</c:v>
                </c:pt>
                <c:pt idx="10124">
                  <c:v>24992</c:v>
                </c:pt>
                <c:pt idx="10125">
                  <c:v>24993</c:v>
                </c:pt>
                <c:pt idx="10126">
                  <c:v>24994</c:v>
                </c:pt>
                <c:pt idx="10127">
                  <c:v>24995</c:v>
                </c:pt>
                <c:pt idx="10128">
                  <c:v>24996</c:v>
                </c:pt>
                <c:pt idx="10129">
                  <c:v>24999</c:v>
                </c:pt>
                <c:pt idx="10130">
                  <c:v>25000</c:v>
                </c:pt>
                <c:pt idx="10131">
                  <c:v>25002</c:v>
                </c:pt>
                <c:pt idx="10132">
                  <c:v>25003</c:v>
                </c:pt>
                <c:pt idx="10133">
                  <c:v>25006</c:v>
                </c:pt>
                <c:pt idx="10134">
                  <c:v>25007</c:v>
                </c:pt>
                <c:pt idx="10135">
                  <c:v>25009</c:v>
                </c:pt>
                <c:pt idx="10136">
                  <c:v>25010</c:v>
                </c:pt>
                <c:pt idx="10137">
                  <c:v>25013</c:v>
                </c:pt>
                <c:pt idx="10138">
                  <c:v>25014</c:v>
                </c:pt>
                <c:pt idx="10139">
                  <c:v>25016</c:v>
                </c:pt>
                <c:pt idx="10140">
                  <c:v>25017</c:v>
                </c:pt>
                <c:pt idx="10141">
                  <c:v>25020</c:v>
                </c:pt>
                <c:pt idx="10142">
                  <c:v>25021</c:v>
                </c:pt>
                <c:pt idx="10143">
                  <c:v>25022</c:v>
                </c:pt>
                <c:pt idx="10144">
                  <c:v>25027</c:v>
                </c:pt>
                <c:pt idx="10145">
                  <c:v>25028</c:v>
                </c:pt>
                <c:pt idx="10146">
                  <c:v>25030</c:v>
                </c:pt>
                <c:pt idx="10147">
                  <c:v>25031</c:v>
                </c:pt>
                <c:pt idx="10148">
                  <c:v>25034</c:v>
                </c:pt>
                <c:pt idx="10149">
                  <c:v>25035</c:v>
                </c:pt>
                <c:pt idx="10150">
                  <c:v>25037</c:v>
                </c:pt>
                <c:pt idx="10151">
                  <c:v>25038</c:v>
                </c:pt>
                <c:pt idx="10152">
                  <c:v>25041</c:v>
                </c:pt>
                <c:pt idx="10153">
                  <c:v>25042</c:v>
                </c:pt>
                <c:pt idx="10154">
                  <c:v>25044</c:v>
                </c:pt>
                <c:pt idx="10155">
                  <c:v>25045</c:v>
                </c:pt>
                <c:pt idx="10156">
                  <c:v>25048</c:v>
                </c:pt>
                <c:pt idx="10157">
                  <c:v>25049</c:v>
                </c:pt>
                <c:pt idx="10158">
                  <c:v>25051</c:v>
                </c:pt>
                <c:pt idx="10159">
                  <c:v>25052</c:v>
                </c:pt>
                <c:pt idx="10160">
                  <c:v>25055</c:v>
                </c:pt>
                <c:pt idx="10161">
                  <c:v>25056</c:v>
                </c:pt>
                <c:pt idx="10162">
                  <c:v>25058</c:v>
                </c:pt>
                <c:pt idx="10163">
                  <c:v>25059</c:v>
                </c:pt>
                <c:pt idx="10164">
                  <c:v>25062</c:v>
                </c:pt>
                <c:pt idx="10165">
                  <c:v>25063</c:v>
                </c:pt>
                <c:pt idx="10166">
                  <c:v>25065</c:v>
                </c:pt>
                <c:pt idx="10167">
                  <c:v>25066</c:v>
                </c:pt>
                <c:pt idx="10168">
                  <c:v>25069</c:v>
                </c:pt>
                <c:pt idx="10169">
                  <c:v>25070</c:v>
                </c:pt>
                <c:pt idx="10170">
                  <c:v>25072</c:v>
                </c:pt>
                <c:pt idx="10171">
                  <c:v>25073</c:v>
                </c:pt>
                <c:pt idx="10172">
                  <c:v>25076</c:v>
                </c:pt>
                <c:pt idx="10173">
                  <c:v>25077</c:v>
                </c:pt>
                <c:pt idx="10174">
                  <c:v>25079</c:v>
                </c:pt>
                <c:pt idx="10175">
                  <c:v>25080</c:v>
                </c:pt>
                <c:pt idx="10176">
                  <c:v>25084</c:v>
                </c:pt>
                <c:pt idx="10177">
                  <c:v>25085</c:v>
                </c:pt>
                <c:pt idx="10178">
                  <c:v>25086</c:v>
                </c:pt>
                <c:pt idx="10179">
                  <c:v>25087</c:v>
                </c:pt>
                <c:pt idx="10180">
                  <c:v>25090</c:v>
                </c:pt>
                <c:pt idx="10181">
                  <c:v>25091</c:v>
                </c:pt>
                <c:pt idx="10182">
                  <c:v>25093</c:v>
                </c:pt>
                <c:pt idx="10183">
                  <c:v>25094</c:v>
                </c:pt>
                <c:pt idx="10184">
                  <c:v>25097</c:v>
                </c:pt>
                <c:pt idx="10185">
                  <c:v>25098</c:v>
                </c:pt>
                <c:pt idx="10186">
                  <c:v>25100</c:v>
                </c:pt>
                <c:pt idx="10187">
                  <c:v>25101</c:v>
                </c:pt>
                <c:pt idx="10188">
                  <c:v>25104</c:v>
                </c:pt>
                <c:pt idx="10189">
                  <c:v>25105</c:v>
                </c:pt>
                <c:pt idx="10190">
                  <c:v>25107</c:v>
                </c:pt>
                <c:pt idx="10191">
                  <c:v>25108</c:v>
                </c:pt>
                <c:pt idx="10192">
                  <c:v>25111</c:v>
                </c:pt>
                <c:pt idx="10193">
                  <c:v>25112</c:v>
                </c:pt>
                <c:pt idx="10194">
                  <c:v>25114</c:v>
                </c:pt>
                <c:pt idx="10195">
                  <c:v>25115</c:v>
                </c:pt>
                <c:pt idx="10196">
                  <c:v>25118</c:v>
                </c:pt>
                <c:pt idx="10197">
                  <c:v>25119</c:v>
                </c:pt>
                <c:pt idx="10198">
                  <c:v>25121</c:v>
                </c:pt>
                <c:pt idx="10199">
                  <c:v>25122</c:v>
                </c:pt>
                <c:pt idx="10200">
                  <c:v>25125</c:v>
                </c:pt>
                <c:pt idx="10201">
                  <c:v>25126</c:v>
                </c:pt>
                <c:pt idx="10202">
                  <c:v>25128</c:v>
                </c:pt>
                <c:pt idx="10203">
                  <c:v>25129</c:v>
                </c:pt>
                <c:pt idx="10204">
                  <c:v>25132</c:v>
                </c:pt>
                <c:pt idx="10205">
                  <c:v>25133</c:v>
                </c:pt>
                <c:pt idx="10206">
                  <c:v>25135</c:v>
                </c:pt>
                <c:pt idx="10207">
                  <c:v>25136</c:v>
                </c:pt>
                <c:pt idx="10208">
                  <c:v>25139</c:v>
                </c:pt>
                <c:pt idx="10209">
                  <c:v>25140</c:v>
                </c:pt>
                <c:pt idx="10210">
                  <c:v>25142</c:v>
                </c:pt>
                <c:pt idx="10211">
                  <c:v>25143</c:v>
                </c:pt>
                <c:pt idx="10212">
                  <c:v>25146</c:v>
                </c:pt>
                <c:pt idx="10213">
                  <c:v>25148</c:v>
                </c:pt>
                <c:pt idx="10214">
                  <c:v>25149</c:v>
                </c:pt>
                <c:pt idx="10215">
                  <c:v>25150</c:v>
                </c:pt>
                <c:pt idx="10216">
                  <c:v>25154</c:v>
                </c:pt>
                <c:pt idx="10217">
                  <c:v>25155</c:v>
                </c:pt>
                <c:pt idx="10218">
                  <c:v>25156</c:v>
                </c:pt>
                <c:pt idx="10219">
                  <c:v>25157</c:v>
                </c:pt>
                <c:pt idx="10220">
                  <c:v>25160</c:v>
                </c:pt>
                <c:pt idx="10221">
                  <c:v>25161</c:v>
                </c:pt>
                <c:pt idx="10222">
                  <c:v>25163</c:v>
                </c:pt>
                <c:pt idx="10223">
                  <c:v>25164</c:v>
                </c:pt>
                <c:pt idx="10224">
                  <c:v>25167</c:v>
                </c:pt>
                <c:pt idx="10225">
                  <c:v>25168</c:v>
                </c:pt>
                <c:pt idx="10226">
                  <c:v>25169</c:v>
                </c:pt>
                <c:pt idx="10227">
                  <c:v>25171</c:v>
                </c:pt>
                <c:pt idx="10228">
                  <c:v>25174</c:v>
                </c:pt>
                <c:pt idx="10229">
                  <c:v>25175</c:v>
                </c:pt>
                <c:pt idx="10230">
                  <c:v>25177</c:v>
                </c:pt>
                <c:pt idx="10231">
                  <c:v>25178</c:v>
                </c:pt>
                <c:pt idx="10232">
                  <c:v>25181</c:v>
                </c:pt>
                <c:pt idx="10233">
                  <c:v>25182</c:v>
                </c:pt>
                <c:pt idx="10234">
                  <c:v>25184</c:v>
                </c:pt>
                <c:pt idx="10235">
                  <c:v>25185</c:v>
                </c:pt>
                <c:pt idx="10236">
                  <c:v>25188</c:v>
                </c:pt>
                <c:pt idx="10237">
                  <c:v>25189</c:v>
                </c:pt>
                <c:pt idx="10238">
                  <c:v>25191</c:v>
                </c:pt>
                <c:pt idx="10239">
                  <c:v>25192</c:v>
                </c:pt>
                <c:pt idx="10240">
                  <c:v>25195</c:v>
                </c:pt>
                <c:pt idx="10241">
                  <c:v>25196</c:v>
                </c:pt>
                <c:pt idx="10242">
                  <c:v>25198</c:v>
                </c:pt>
                <c:pt idx="10243">
                  <c:v>25199</c:v>
                </c:pt>
                <c:pt idx="10244">
                  <c:v>25202</c:v>
                </c:pt>
                <c:pt idx="10245">
                  <c:v>25203</c:v>
                </c:pt>
                <c:pt idx="10246">
                  <c:v>25205</c:v>
                </c:pt>
                <c:pt idx="10247">
                  <c:v>25206</c:v>
                </c:pt>
                <c:pt idx="10248">
                  <c:v>25209</c:v>
                </c:pt>
                <c:pt idx="10249">
                  <c:v>25210</c:v>
                </c:pt>
                <c:pt idx="10250">
                  <c:v>25211</c:v>
                </c:pt>
                <c:pt idx="10251">
                  <c:v>25212</c:v>
                </c:pt>
                <c:pt idx="10252">
                  <c:v>25213</c:v>
                </c:pt>
                <c:pt idx="10253">
                  <c:v>25216</c:v>
                </c:pt>
                <c:pt idx="10254">
                  <c:v>25217</c:v>
                </c:pt>
                <c:pt idx="10255">
                  <c:v>25218</c:v>
                </c:pt>
                <c:pt idx="10256">
                  <c:v>25219</c:v>
                </c:pt>
                <c:pt idx="10257">
                  <c:v>25220</c:v>
                </c:pt>
                <c:pt idx="10258">
                  <c:v>25223</c:v>
                </c:pt>
                <c:pt idx="10259">
                  <c:v>25224</c:v>
                </c:pt>
                <c:pt idx="10260">
                  <c:v>25225</c:v>
                </c:pt>
                <c:pt idx="10261">
                  <c:v>25226</c:v>
                </c:pt>
                <c:pt idx="10262">
                  <c:v>25227</c:v>
                </c:pt>
                <c:pt idx="10263">
                  <c:v>25230</c:v>
                </c:pt>
                <c:pt idx="10264">
                  <c:v>25231</c:v>
                </c:pt>
                <c:pt idx="10265">
                  <c:v>25232</c:v>
                </c:pt>
                <c:pt idx="10266">
                  <c:v>25233</c:v>
                </c:pt>
                <c:pt idx="10267">
                  <c:v>25234</c:v>
                </c:pt>
                <c:pt idx="10268">
                  <c:v>25237</c:v>
                </c:pt>
                <c:pt idx="10269">
                  <c:v>25238</c:v>
                </c:pt>
                <c:pt idx="10270">
                  <c:v>25239</c:v>
                </c:pt>
                <c:pt idx="10271">
                  <c:v>25240</c:v>
                </c:pt>
                <c:pt idx="10272">
                  <c:v>25241</c:v>
                </c:pt>
                <c:pt idx="10273">
                  <c:v>25245</c:v>
                </c:pt>
                <c:pt idx="10274">
                  <c:v>25246</c:v>
                </c:pt>
                <c:pt idx="10275">
                  <c:v>25247</c:v>
                </c:pt>
                <c:pt idx="10276">
                  <c:v>25248</c:v>
                </c:pt>
                <c:pt idx="10277">
                  <c:v>25251</c:v>
                </c:pt>
                <c:pt idx="10278">
                  <c:v>25252</c:v>
                </c:pt>
                <c:pt idx="10279">
                  <c:v>25253</c:v>
                </c:pt>
                <c:pt idx="10280">
                  <c:v>25254</c:v>
                </c:pt>
                <c:pt idx="10281">
                  <c:v>25258</c:v>
                </c:pt>
                <c:pt idx="10282">
                  <c:v>25259</c:v>
                </c:pt>
                <c:pt idx="10283">
                  <c:v>25260</c:v>
                </c:pt>
                <c:pt idx="10284">
                  <c:v>25261</c:v>
                </c:pt>
                <c:pt idx="10285">
                  <c:v>25262</c:v>
                </c:pt>
                <c:pt idx="10286">
                  <c:v>25265</c:v>
                </c:pt>
                <c:pt idx="10287">
                  <c:v>25266</c:v>
                </c:pt>
                <c:pt idx="10288">
                  <c:v>25267</c:v>
                </c:pt>
                <c:pt idx="10289">
                  <c:v>25268</c:v>
                </c:pt>
                <c:pt idx="10290">
                  <c:v>25269</c:v>
                </c:pt>
                <c:pt idx="10291">
                  <c:v>25272</c:v>
                </c:pt>
                <c:pt idx="10292">
                  <c:v>25273</c:v>
                </c:pt>
                <c:pt idx="10293">
                  <c:v>25274</c:v>
                </c:pt>
                <c:pt idx="10294">
                  <c:v>25275</c:v>
                </c:pt>
                <c:pt idx="10295">
                  <c:v>25276</c:v>
                </c:pt>
                <c:pt idx="10296">
                  <c:v>25279</c:v>
                </c:pt>
                <c:pt idx="10297">
                  <c:v>25280</c:v>
                </c:pt>
                <c:pt idx="10298">
                  <c:v>25281</c:v>
                </c:pt>
                <c:pt idx="10299">
                  <c:v>25282</c:v>
                </c:pt>
                <c:pt idx="10300">
                  <c:v>25283</c:v>
                </c:pt>
                <c:pt idx="10301">
                  <c:v>25286</c:v>
                </c:pt>
                <c:pt idx="10302">
                  <c:v>25287</c:v>
                </c:pt>
                <c:pt idx="10303">
                  <c:v>25288</c:v>
                </c:pt>
                <c:pt idx="10304">
                  <c:v>25289</c:v>
                </c:pt>
                <c:pt idx="10305">
                  <c:v>25290</c:v>
                </c:pt>
                <c:pt idx="10306">
                  <c:v>25294</c:v>
                </c:pt>
                <c:pt idx="10307">
                  <c:v>25295</c:v>
                </c:pt>
                <c:pt idx="10308">
                  <c:v>25296</c:v>
                </c:pt>
                <c:pt idx="10309">
                  <c:v>25300</c:v>
                </c:pt>
                <c:pt idx="10310">
                  <c:v>25301</c:v>
                </c:pt>
                <c:pt idx="10311">
                  <c:v>25302</c:v>
                </c:pt>
                <c:pt idx="10312">
                  <c:v>25303</c:v>
                </c:pt>
                <c:pt idx="10313">
                  <c:v>25304</c:v>
                </c:pt>
                <c:pt idx="10314">
                  <c:v>25307</c:v>
                </c:pt>
                <c:pt idx="10315">
                  <c:v>25308</c:v>
                </c:pt>
                <c:pt idx="10316">
                  <c:v>25309</c:v>
                </c:pt>
                <c:pt idx="10317">
                  <c:v>25310</c:v>
                </c:pt>
                <c:pt idx="10318">
                  <c:v>25311</c:v>
                </c:pt>
                <c:pt idx="10319">
                  <c:v>25314</c:v>
                </c:pt>
                <c:pt idx="10320">
                  <c:v>25315</c:v>
                </c:pt>
                <c:pt idx="10321">
                  <c:v>25316</c:v>
                </c:pt>
                <c:pt idx="10322">
                  <c:v>25317</c:v>
                </c:pt>
                <c:pt idx="10323">
                  <c:v>25318</c:v>
                </c:pt>
                <c:pt idx="10324">
                  <c:v>25321</c:v>
                </c:pt>
                <c:pt idx="10325">
                  <c:v>25322</c:v>
                </c:pt>
                <c:pt idx="10326">
                  <c:v>25323</c:v>
                </c:pt>
                <c:pt idx="10327">
                  <c:v>25324</c:v>
                </c:pt>
                <c:pt idx="10328">
                  <c:v>25325</c:v>
                </c:pt>
                <c:pt idx="10329">
                  <c:v>25328</c:v>
                </c:pt>
                <c:pt idx="10330">
                  <c:v>25329</c:v>
                </c:pt>
                <c:pt idx="10331">
                  <c:v>25330</c:v>
                </c:pt>
                <c:pt idx="10332">
                  <c:v>25331</c:v>
                </c:pt>
                <c:pt idx="10333">
                  <c:v>25332</c:v>
                </c:pt>
                <c:pt idx="10334">
                  <c:v>25335</c:v>
                </c:pt>
                <c:pt idx="10335">
                  <c:v>25336</c:v>
                </c:pt>
                <c:pt idx="10336">
                  <c:v>25337</c:v>
                </c:pt>
                <c:pt idx="10337">
                  <c:v>25338</c:v>
                </c:pt>
                <c:pt idx="10338">
                  <c:v>25339</c:v>
                </c:pt>
                <c:pt idx="10339">
                  <c:v>25342</c:v>
                </c:pt>
                <c:pt idx="10340">
                  <c:v>25343</c:v>
                </c:pt>
                <c:pt idx="10341">
                  <c:v>25344</c:v>
                </c:pt>
                <c:pt idx="10342">
                  <c:v>25345</c:v>
                </c:pt>
                <c:pt idx="10343">
                  <c:v>25346</c:v>
                </c:pt>
                <c:pt idx="10344">
                  <c:v>25349</c:v>
                </c:pt>
                <c:pt idx="10345">
                  <c:v>25350</c:v>
                </c:pt>
                <c:pt idx="10346">
                  <c:v>25351</c:v>
                </c:pt>
                <c:pt idx="10347">
                  <c:v>25352</c:v>
                </c:pt>
                <c:pt idx="10348">
                  <c:v>25356</c:v>
                </c:pt>
                <c:pt idx="10349">
                  <c:v>25357</c:v>
                </c:pt>
                <c:pt idx="10350">
                  <c:v>25358</c:v>
                </c:pt>
                <c:pt idx="10351">
                  <c:v>25359</c:v>
                </c:pt>
                <c:pt idx="10352">
                  <c:v>25360</c:v>
                </c:pt>
                <c:pt idx="10353">
                  <c:v>25363</c:v>
                </c:pt>
                <c:pt idx="10354">
                  <c:v>25364</c:v>
                </c:pt>
                <c:pt idx="10355">
                  <c:v>25365</c:v>
                </c:pt>
                <c:pt idx="10356">
                  <c:v>25366</c:v>
                </c:pt>
                <c:pt idx="10357">
                  <c:v>25367</c:v>
                </c:pt>
                <c:pt idx="10358">
                  <c:v>25370</c:v>
                </c:pt>
                <c:pt idx="10359">
                  <c:v>25371</c:v>
                </c:pt>
                <c:pt idx="10360">
                  <c:v>25372</c:v>
                </c:pt>
                <c:pt idx="10361">
                  <c:v>25373</c:v>
                </c:pt>
                <c:pt idx="10362">
                  <c:v>25374</c:v>
                </c:pt>
                <c:pt idx="10363">
                  <c:v>25377</c:v>
                </c:pt>
                <c:pt idx="10364">
                  <c:v>25378</c:v>
                </c:pt>
                <c:pt idx="10365">
                  <c:v>25379</c:v>
                </c:pt>
                <c:pt idx="10366">
                  <c:v>25380</c:v>
                </c:pt>
                <c:pt idx="10367">
                  <c:v>25381</c:v>
                </c:pt>
                <c:pt idx="10368">
                  <c:v>25384</c:v>
                </c:pt>
                <c:pt idx="10369">
                  <c:v>25385</c:v>
                </c:pt>
                <c:pt idx="10370">
                  <c:v>25386</c:v>
                </c:pt>
                <c:pt idx="10371">
                  <c:v>25387</c:v>
                </c:pt>
                <c:pt idx="10372">
                  <c:v>25391</c:v>
                </c:pt>
                <c:pt idx="10373">
                  <c:v>25392</c:v>
                </c:pt>
                <c:pt idx="10374">
                  <c:v>25393</c:v>
                </c:pt>
                <c:pt idx="10375">
                  <c:v>25394</c:v>
                </c:pt>
                <c:pt idx="10376">
                  <c:v>25395</c:v>
                </c:pt>
                <c:pt idx="10377">
                  <c:v>25398</c:v>
                </c:pt>
                <c:pt idx="10378">
                  <c:v>25399</c:v>
                </c:pt>
                <c:pt idx="10379">
                  <c:v>25400</c:v>
                </c:pt>
                <c:pt idx="10380">
                  <c:v>25401</c:v>
                </c:pt>
                <c:pt idx="10381">
                  <c:v>25402</c:v>
                </c:pt>
                <c:pt idx="10382">
                  <c:v>25406</c:v>
                </c:pt>
                <c:pt idx="10383">
                  <c:v>25407</c:v>
                </c:pt>
                <c:pt idx="10384">
                  <c:v>25408</c:v>
                </c:pt>
                <c:pt idx="10385">
                  <c:v>25409</c:v>
                </c:pt>
                <c:pt idx="10386">
                  <c:v>25412</c:v>
                </c:pt>
                <c:pt idx="10387">
                  <c:v>25413</c:v>
                </c:pt>
                <c:pt idx="10388">
                  <c:v>25414</c:v>
                </c:pt>
                <c:pt idx="10389">
                  <c:v>25415</c:v>
                </c:pt>
                <c:pt idx="10390">
                  <c:v>25416</c:v>
                </c:pt>
                <c:pt idx="10391">
                  <c:v>25419</c:v>
                </c:pt>
                <c:pt idx="10392">
                  <c:v>25420</c:v>
                </c:pt>
                <c:pt idx="10393">
                  <c:v>25421</c:v>
                </c:pt>
                <c:pt idx="10394">
                  <c:v>25422</c:v>
                </c:pt>
                <c:pt idx="10395">
                  <c:v>25423</c:v>
                </c:pt>
                <c:pt idx="10396">
                  <c:v>25426</c:v>
                </c:pt>
                <c:pt idx="10397">
                  <c:v>25427</c:v>
                </c:pt>
                <c:pt idx="10398">
                  <c:v>25428</c:v>
                </c:pt>
                <c:pt idx="10399">
                  <c:v>25429</c:v>
                </c:pt>
                <c:pt idx="10400">
                  <c:v>25430</c:v>
                </c:pt>
                <c:pt idx="10401">
                  <c:v>25433</c:v>
                </c:pt>
                <c:pt idx="10402">
                  <c:v>25434</c:v>
                </c:pt>
                <c:pt idx="10403">
                  <c:v>25435</c:v>
                </c:pt>
                <c:pt idx="10404">
                  <c:v>25436</c:v>
                </c:pt>
                <c:pt idx="10405">
                  <c:v>25437</c:v>
                </c:pt>
                <c:pt idx="10406">
                  <c:v>25440</c:v>
                </c:pt>
                <c:pt idx="10407">
                  <c:v>25441</c:v>
                </c:pt>
                <c:pt idx="10408">
                  <c:v>25442</c:v>
                </c:pt>
                <c:pt idx="10409">
                  <c:v>25443</c:v>
                </c:pt>
                <c:pt idx="10410">
                  <c:v>25444</c:v>
                </c:pt>
                <c:pt idx="10411">
                  <c:v>25448</c:v>
                </c:pt>
                <c:pt idx="10412">
                  <c:v>25449</c:v>
                </c:pt>
                <c:pt idx="10413">
                  <c:v>25450</c:v>
                </c:pt>
                <c:pt idx="10414">
                  <c:v>25451</c:v>
                </c:pt>
                <c:pt idx="10415">
                  <c:v>25454</c:v>
                </c:pt>
                <c:pt idx="10416">
                  <c:v>25455</c:v>
                </c:pt>
                <c:pt idx="10417">
                  <c:v>25456</c:v>
                </c:pt>
                <c:pt idx="10418">
                  <c:v>25457</c:v>
                </c:pt>
                <c:pt idx="10419">
                  <c:v>25458</c:v>
                </c:pt>
                <c:pt idx="10420">
                  <c:v>25461</c:v>
                </c:pt>
                <c:pt idx="10421">
                  <c:v>25462</c:v>
                </c:pt>
                <c:pt idx="10422">
                  <c:v>25463</c:v>
                </c:pt>
                <c:pt idx="10423">
                  <c:v>25464</c:v>
                </c:pt>
                <c:pt idx="10424">
                  <c:v>25465</c:v>
                </c:pt>
                <c:pt idx="10425">
                  <c:v>25468</c:v>
                </c:pt>
                <c:pt idx="10426">
                  <c:v>25469</c:v>
                </c:pt>
                <c:pt idx="10427">
                  <c:v>25470</c:v>
                </c:pt>
                <c:pt idx="10428">
                  <c:v>25471</c:v>
                </c:pt>
                <c:pt idx="10429">
                  <c:v>25472</c:v>
                </c:pt>
                <c:pt idx="10430">
                  <c:v>25475</c:v>
                </c:pt>
                <c:pt idx="10431">
                  <c:v>25476</c:v>
                </c:pt>
                <c:pt idx="10432">
                  <c:v>25477</c:v>
                </c:pt>
                <c:pt idx="10433">
                  <c:v>25478</c:v>
                </c:pt>
                <c:pt idx="10434">
                  <c:v>25479</c:v>
                </c:pt>
                <c:pt idx="10435">
                  <c:v>25482</c:v>
                </c:pt>
                <c:pt idx="10436">
                  <c:v>25483</c:v>
                </c:pt>
                <c:pt idx="10437">
                  <c:v>25484</c:v>
                </c:pt>
                <c:pt idx="10438">
                  <c:v>25485</c:v>
                </c:pt>
                <c:pt idx="10439">
                  <c:v>25486</c:v>
                </c:pt>
                <c:pt idx="10440">
                  <c:v>25489</c:v>
                </c:pt>
                <c:pt idx="10441">
                  <c:v>25490</c:v>
                </c:pt>
                <c:pt idx="10442">
                  <c:v>25491</c:v>
                </c:pt>
                <c:pt idx="10443">
                  <c:v>25492</c:v>
                </c:pt>
                <c:pt idx="10444">
                  <c:v>25493</c:v>
                </c:pt>
                <c:pt idx="10445">
                  <c:v>25496</c:v>
                </c:pt>
                <c:pt idx="10446">
                  <c:v>25497</c:v>
                </c:pt>
                <c:pt idx="10447">
                  <c:v>25498</c:v>
                </c:pt>
                <c:pt idx="10448">
                  <c:v>25499</c:v>
                </c:pt>
                <c:pt idx="10449">
                  <c:v>25500</c:v>
                </c:pt>
                <c:pt idx="10450">
                  <c:v>25503</c:v>
                </c:pt>
                <c:pt idx="10451">
                  <c:v>25504</c:v>
                </c:pt>
                <c:pt idx="10452">
                  <c:v>25505</c:v>
                </c:pt>
                <c:pt idx="10453">
                  <c:v>25506</c:v>
                </c:pt>
                <c:pt idx="10454">
                  <c:v>25507</c:v>
                </c:pt>
                <c:pt idx="10455">
                  <c:v>25510</c:v>
                </c:pt>
                <c:pt idx="10456">
                  <c:v>25511</c:v>
                </c:pt>
                <c:pt idx="10457">
                  <c:v>25512</c:v>
                </c:pt>
                <c:pt idx="10458">
                  <c:v>25513</c:v>
                </c:pt>
                <c:pt idx="10459">
                  <c:v>25514</c:v>
                </c:pt>
                <c:pt idx="10460">
                  <c:v>25517</c:v>
                </c:pt>
                <c:pt idx="10461">
                  <c:v>25518</c:v>
                </c:pt>
                <c:pt idx="10462">
                  <c:v>25519</c:v>
                </c:pt>
                <c:pt idx="10463">
                  <c:v>25520</c:v>
                </c:pt>
                <c:pt idx="10464">
                  <c:v>25521</c:v>
                </c:pt>
                <c:pt idx="10465">
                  <c:v>25524</c:v>
                </c:pt>
                <c:pt idx="10466">
                  <c:v>25525</c:v>
                </c:pt>
                <c:pt idx="10467">
                  <c:v>25526</c:v>
                </c:pt>
                <c:pt idx="10468">
                  <c:v>25527</c:v>
                </c:pt>
                <c:pt idx="10469">
                  <c:v>25528</c:v>
                </c:pt>
                <c:pt idx="10470">
                  <c:v>25531</c:v>
                </c:pt>
                <c:pt idx="10471">
                  <c:v>25532</c:v>
                </c:pt>
                <c:pt idx="10472">
                  <c:v>25533</c:v>
                </c:pt>
                <c:pt idx="10473">
                  <c:v>25535</c:v>
                </c:pt>
                <c:pt idx="10474">
                  <c:v>25538</c:v>
                </c:pt>
                <c:pt idx="10475">
                  <c:v>25539</c:v>
                </c:pt>
                <c:pt idx="10476">
                  <c:v>25540</c:v>
                </c:pt>
                <c:pt idx="10477">
                  <c:v>25541</c:v>
                </c:pt>
                <c:pt idx="10478">
                  <c:v>25542</c:v>
                </c:pt>
                <c:pt idx="10479">
                  <c:v>25545</c:v>
                </c:pt>
                <c:pt idx="10480">
                  <c:v>25546</c:v>
                </c:pt>
                <c:pt idx="10481">
                  <c:v>25547</c:v>
                </c:pt>
                <c:pt idx="10482">
                  <c:v>25548</c:v>
                </c:pt>
                <c:pt idx="10483">
                  <c:v>25549</c:v>
                </c:pt>
                <c:pt idx="10484">
                  <c:v>25552</c:v>
                </c:pt>
                <c:pt idx="10485">
                  <c:v>25553</c:v>
                </c:pt>
                <c:pt idx="10486">
                  <c:v>25554</c:v>
                </c:pt>
                <c:pt idx="10487">
                  <c:v>25555</c:v>
                </c:pt>
                <c:pt idx="10488">
                  <c:v>25556</c:v>
                </c:pt>
                <c:pt idx="10489">
                  <c:v>25559</c:v>
                </c:pt>
                <c:pt idx="10490">
                  <c:v>25560</c:v>
                </c:pt>
                <c:pt idx="10491">
                  <c:v>25561</c:v>
                </c:pt>
                <c:pt idx="10492">
                  <c:v>25563</c:v>
                </c:pt>
                <c:pt idx="10493">
                  <c:v>25566</c:v>
                </c:pt>
                <c:pt idx="10494">
                  <c:v>25567</c:v>
                </c:pt>
                <c:pt idx="10495">
                  <c:v>25568</c:v>
                </c:pt>
                <c:pt idx="10496">
                  <c:v>25570</c:v>
                </c:pt>
                <c:pt idx="10497">
                  <c:v>25573</c:v>
                </c:pt>
                <c:pt idx="10498">
                  <c:v>25574</c:v>
                </c:pt>
                <c:pt idx="10499">
                  <c:v>25575</c:v>
                </c:pt>
                <c:pt idx="10500">
                  <c:v>25576</c:v>
                </c:pt>
                <c:pt idx="10501">
                  <c:v>25577</c:v>
                </c:pt>
                <c:pt idx="10502">
                  <c:v>25580</c:v>
                </c:pt>
                <c:pt idx="10503">
                  <c:v>25581</c:v>
                </c:pt>
                <c:pt idx="10504">
                  <c:v>25582</c:v>
                </c:pt>
                <c:pt idx="10505">
                  <c:v>25583</c:v>
                </c:pt>
                <c:pt idx="10506">
                  <c:v>25584</c:v>
                </c:pt>
                <c:pt idx="10507">
                  <c:v>25587</c:v>
                </c:pt>
                <c:pt idx="10508">
                  <c:v>25588</c:v>
                </c:pt>
                <c:pt idx="10509">
                  <c:v>25589</c:v>
                </c:pt>
                <c:pt idx="10510">
                  <c:v>25590</c:v>
                </c:pt>
                <c:pt idx="10511">
                  <c:v>25591</c:v>
                </c:pt>
                <c:pt idx="10512">
                  <c:v>25594</c:v>
                </c:pt>
                <c:pt idx="10513">
                  <c:v>25595</c:v>
                </c:pt>
                <c:pt idx="10514">
                  <c:v>25596</c:v>
                </c:pt>
                <c:pt idx="10515">
                  <c:v>25597</c:v>
                </c:pt>
                <c:pt idx="10516">
                  <c:v>25598</c:v>
                </c:pt>
                <c:pt idx="10517">
                  <c:v>25601</c:v>
                </c:pt>
                <c:pt idx="10518">
                  <c:v>25602</c:v>
                </c:pt>
                <c:pt idx="10519">
                  <c:v>25603</c:v>
                </c:pt>
                <c:pt idx="10520">
                  <c:v>25604</c:v>
                </c:pt>
                <c:pt idx="10521">
                  <c:v>25605</c:v>
                </c:pt>
                <c:pt idx="10522">
                  <c:v>25608</c:v>
                </c:pt>
                <c:pt idx="10523">
                  <c:v>25609</c:v>
                </c:pt>
                <c:pt idx="10524">
                  <c:v>25610</c:v>
                </c:pt>
                <c:pt idx="10525">
                  <c:v>25611</c:v>
                </c:pt>
                <c:pt idx="10526">
                  <c:v>25612</c:v>
                </c:pt>
                <c:pt idx="10527">
                  <c:v>25615</c:v>
                </c:pt>
                <c:pt idx="10528">
                  <c:v>25616</c:v>
                </c:pt>
                <c:pt idx="10529">
                  <c:v>25617</c:v>
                </c:pt>
                <c:pt idx="10530">
                  <c:v>25618</c:v>
                </c:pt>
                <c:pt idx="10531">
                  <c:v>25619</c:v>
                </c:pt>
                <c:pt idx="10532">
                  <c:v>25623</c:v>
                </c:pt>
                <c:pt idx="10533">
                  <c:v>25624</c:v>
                </c:pt>
                <c:pt idx="10534">
                  <c:v>25625</c:v>
                </c:pt>
                <c:pt idx="10535">
                  <c:v>25626</c:v>
                </c:pt>
                <c:pt idx="10536">
                  <c:v>25629</c:v>
                </c:pt>
                <c:pt idx="10537">
                  <c:v>25630</c:v>
                </c:pt>
                <c:pt idx="10538">
                  <c:v>25631</c:v>
                </c:pt>
                <c:pt idx="10539">
                  <c:v>25632</c:v>
                </c:pt>
                <c:pt idx="10540">
                  <c:v>25633</c:v>
                </c:pt>
                <c:pt idx="10541">
                  <c:v>25636</c:v>
                </c:pt>
                <c:pt idx="10542">
                  <c:v>25637</c:v>
                </c:pt>
                <c:pt idx="10543">
                  <c:v>25638</c:v>
                </c:pt>
                <c:pt idx="10544">
                  <c:v>25639</c:v>
                </c:pt>
                <c:pt idx="10545">
                  <c:v>25640</c:v>
                </c:pt>
                <c:pt idx="10546">
                  <c:v>25643</c:v>
                </c:pt>
                <c:pt idx="10547">
                  <c:v>25644</c:v>
                </c:pt>
                <c:pt idx="10548">
                  <c:v>25645</c:v>
                </c:pt>
                <c:pt idx="10549">
                  <c:v>25646</c:v>
                </c:pt>
                <c:pt idx="10550">
                  <c:v>25647</c:v>
                </c:pt>
                <c:pt idx="10551">
                  <c:v>25650</c:v>
                </c:pt>
                <c:pt idx="10552">
                  <c:v>25651</c:v>
                </c:pt>
                <c:pt idx="10553">
                  <c:v>25652</c:v>
                </c:pt>
                <c:pt idx="10554">
                  <c:v>25653</c:v>
                </c:pt>
                <c:pt idx="10555">
                  <c:v>25657</c:v>
                </c:pt>
                <c:pt idx="10556">
                  <c:v>25658</c:v>
                </c:pt>
                <c:pt idx="10557">
                  <c:v>25659</c:v>
                </c:pt>
                <c:pt idx="10558">
                  <c:v>25660</c:v>
                </c:pt>
                <c:pt idx="10559">
                  <c:v>25661</c:v>
                </c:pt>
                <c:pt idx="10560">
                  <c:v>25664</c:v>
                </c:pt>
                <c:pt idx="10561">
                  <c:v>25665</c:v>
                </c:pt>
                <c:pt idx="10562">
                  <c:v>25666</c:v>
                </c:pt>
                <c:pt idx="10563">
                  <c:v>25667</c:v>
                </c:pt>
                <c:pt idx="10564">
                  <c:v>25668</c:v>
                </c:pt>
                <c:pt idx="10565">
                  <c:v>25671</c:v>
                </c:pt>
                <c:pt idx="10566">
                  <c:v>25672</c:v>
                </c:pt>
                <c:pt idx="10567">
                  <c:v>25673</c:v>
                </c:pt>
                <c:pt idx="10568">
                  <c:v>25674</c:v>
                </c:pt>
                <c:pt idx="10569">
                  <c:v>25675</c:v>
                </c:pt>
                <c:pt idx="10570">
                  <c:v>25678</c:v>
                </c:pt>
                <c:pt idx="10571">
                  <c:v>25679</c:v>
                </c:pt>
                <c:pt idx="10572">
                  <c:v>25680</c:v>
                </c:pt>
                <c:pt idx="10573">
                  <c:v>25681</c:v>
                </c:pt>
                <c:pt idx="10574">
                  <c:v>25682</c:v>
                </c:pt>
                <c:pt idx="10575">
                  <c:v>25685</c:v>
                </c:pt>
                <c:pt idx="10576">
                  <c:v>25686</c:v>
                </c:pt>
                <c:pt idx="10577">
                  <c:v>25687</c:v>
                </c:pt>
                <c:pt idx="10578">
                  <c:v>25688</c:v>
                </c:pt>
                <c:pt idx="10579">
                  <c:v>25689</c:v>
                </c:pt>
                <c:pt idx="10580">
                  <c:v>25692</c:v>
                </c:pt>
                <c:pt idx="10581">
                  <c:v>25693</c:v>
                </c:pt>
                <c:pt idx="10582">
                  <c:v>25694</c:v>
                </c:pt>
                <c:pt idx="10583">
                  <c:v>25695</c:v>
                </c:pt>
                <c:pt idx="10584">
                  <c:v>25696</c:v>
                </c:pt>
                <c:pt idx="10585">
                  <c:v>25699</c:v>
                </c:pt>
                <c:pt idx="10586">
                  <c:v>25700</c:v>
                </c:pt>
                <c:pt idx="10587">
                  <c:v>25701</c:v>
                </c:pt>
                <c:pt idx="10588">
                  <c:v>25702</c:v>
                </c:pt>
                <c:pt idx="10589">
                  <c:v>25703</c:v>
                </c:pt>
                <c:pt idx="10590">
                  <c:v>25706</c:v>
                </c:pt>
                <c:pt idx="10591">
                  <c:v>25707</c:v>
                </c:pt>
                <c:pt idx="10592">
                  <c:v>25708</c:v>
                </c:pt>
                <c:pt idx="10593">
                  <c:v>25709</c:v>
                </c:pt>
                <c:pt idx="10594">
                  <c:v>25710</c:v>
                </c:pt>
                <c:pt idx="10595">
                  <c:v>25713</c:v>
                </c:pt>
                <c:pt idx="10596">
                  <c:v>25714</c:v>
                </c:pt>
                <c:pt idx="10597">
                  <c:v>25715</c:v>
                </c:pt>
                <c:pt idx="10598">
                  <c:v>25716</c:v>
                </c:pt>
                <c:pt idx="10599">
                  <c:v>25717</c:v>
                </c:pt>
                <c:pt idx="10600">
                  <c:v>25720</c:v>
                </c:pt>
                <c:pt idx="10601">
                  <c:v>25721</c:v>
                </c:pt>
                <c:pt idx="10602">
                  <c:v>25722</c:v>
                </c:pt>
                <c:pt idx="10603">
                  <c:v>25723</c:v>
                </c:pt>
                <c:pt idx="10604">
                  <c:v>25724</c:v>
                </c:pt>
                <c:pt idx="10605">
                  <c:v>25727</c:v>
                </c:pt>
                <c:pt idx="10606">
                  <c:v>25728</c:v>
                </c:pt>
                <c:pt idx="10607">
                  <c:v>25729</c:v>
                </c:pt>
                <c:pt idx="10608">
                  <c:v>25730</c:v>
                </c:pt>
                <c:pt idx="10609">
                  <c:v>25731</c:v>
                </c:pt>
                <c:pt idx="10610">
                  <c:v>25734</c:v>
                </c:pt>
                <c:pt idx="10611">
                  <c:v>25735</c:v>
                </c:pt>
                <c:pt idx="10612">
                  <c:v>25736</c:v>
                </c:pt>
                <c:pt idx="10613">
                  <c:v>25737</c:v>
                </c:pt>
                <c:pt idx="10614">
                  <c:v>25738</c:v>
                </c:pt>
                <c:pt idx="10615">
                  <c:v>25741</c:v>
                </c:pt>
                <c:pt idx="10616">
                  <c:v>25742</c:v>
                </c:pt>
                <c:pt idx="10617">
                  <c:v>25743</c:v>
                </c:pt>
                <c:pt idx="10618">
                  <c:v>25744</c:v>
                </c:pt>
                <c:pt idx="10619">
                  <c:v>25745</c:v>
                </c:pt>
                <c:pt idx="10620">
                  <c:v>25748</c:v>
                </c:pt>
                <c:pt idx="10621">
                  <c:v>25749</c:v>
                </c:pt>
                <c:pt idx="10622">
                  <c:v>25750</c:v>
                </c:pt>
                <c:pt idx="10623">
                  <c:v>25751</c:v>
                </c:pt>
                <c:pt idx="10624">
                  <c:v>25755</c:v>
                </c:pt>
                <c:pt idx="10625">
                  <c:v>25756</c:v>
                </c:pt>
                <c:pt idx="10626">
                  <c:v>25757</c:v>
                </c:pt>
                <c:pt idx="10627">
                  <c:v>25758</c:v>
                </c:pt>
                <c:pt idx="10628">
                  <c:v>25759</c:v>
                </c:pt>
                <c:pt idx="10629">
                  <c:v>25762</c:v>
                </c:pt>
                <c:pt idx="10630">
                  <c:v>25763</c:v>
                </c:pt>
                <c:pt idx="10631">
                  <c:v>25764</c:v>
                </c:pt>
                <c:pt idx="10632">
                  <c:v>25765</c:v>
                </c:pt>
                <c:pt idx="10633">
                  <c:v>25766</c:v>
                </c:pt>
                <c:pt idx="10634">
                  <c:v>25769</c:v>
                </c:pt>
                <c:pt idx="10635">
                  <c:v>25770</c:v>
                </c:pt>
                <c:pt idx="10636">
                  <c:v>25771</c:v>
                </c:pt>
                <c:pt idx="10637">
                  <c:v>25772</c:v>
                </c:pt>
                <c:pt idx="10638">
                  <c:v>25773</c:v>
                </c:pt>
                <c:pt idx="10639">
                  <c:v>25776</c:v>
                </c:pt>
                <c:pt idx="10640">
                  <c:v>25777</c:v>
                </c:pt>
                <c:pt idx="10641">
                  <c:v>25778</c:v>
                </c:pt>
                <c:pt idx="10642">
                  <c:v>25779</c:v>
                </c:pt>
                <c:pt idx="10643">
                  <c:v>25780</c:v>
                </c:pt>
                <c:pt idx="10644">
                  <c:v>25783</c:v>
                </c:pt>
                <c:pt idx="10645">
                  <c:v>25784</c:v>
                </c:pt>
                <c:pt idx="10646">
                  <c:v>25785</c:v>
                </c:pt>
                <c:pt idx="10647">
                  <c:v>25786</c:v>
                </c:pt>
                <c:pt idx="10648">
                  <c:v>25787</c:v>
                </c:pt>
                <c:pt idx="10649">
                  <c:v>25790</c:v>
                </c:pt>
                <c:pt idx="10650">
                  <c:v>25791</c:v>
                </c:pt>
                <c:pt idx="10651">
                  <c:v>25792</c:v>
                </c:pt>
                <c:pt idx="10652">
                  <c:v>25793</c:v>
                </c:pt>
                <c:pt idx="10653">
                  <c:v>25794</c:v>
                </c:pt>
                <c:pt idx="10654">
                  <c:v>25797</c:v>
                </c:pt>
                <c:pt idx="10655">
                  <c:v>25798</c:v>
                </c:pt>
                <c:pt idx="10656">
                  <c:v>25799</c:v>
                </c:pt>
                <c:pt idx="10657">
                  <c:v>25800</c:v>
                </c:pt>
                <c:pt idx="10658">
                  <c:v>25801</c:v>
                </c:pt>
                <c:pt idx="10659">
                  <c:v>25804</c:v>
                </c:pt>
                <c:pt idx="10660">
                  <c:v>25805</c:v>
                </c:pt>
                <c:pt idx="10661">
                  <c:v>25806</c:v>
                </c:pt>
                <c:pt idx="10662">
                  <c:v>25807</c:v>
                </c:pt>
                <c:pt idx="10663">
                  <c:v>25808</c:v>
                </c:pt>
                <c:pt idx="10664">
                  <c:v>25811</c:v>
                </c:pt>
                <c:pt idx="10665">
                  <c:v>25812</c:v>
                </c:pt>
                <c:pt idx="10666">
                  <c:v>25813</c:v>
                </c:pt>
                <c:pt idx="10667">
                  <c:v>25814</c:v>
                </c:pt>
                <c:pt idx="10668">
                  <c:v>25815</c:v>
                </c:pt>
                <c:pt idx="10669">
                  <c:v>25819</c:v>
                </c:pt>
                <c:pt idx="10670">
                  <c:v>25820</c:v>
                </c:pt>
                <c:pt idx="10671">
                  <c:v>25821</c:v>
                </c:pt>
                <c:pt idx="10672">
                  <c:v>25822</c:v>
                </c:pt>
                <c:pt idx="10673">
                  <c:v>25825</c:v>
                </c:pt>
                <c:pt idx="10674">
                  <c:v>25826</c:v>
                </c:pt>
                <c:pt idx="10675">
                  <c:v>25827</c:v>
                </c:pt>
                <c:pt idx="10676">
                  <c:v>25828</c:v>
                </c:pt>
                <c:pt idx="10677">
                  <c:v>25829</c:v>
                </c:pt>
                <c:pt idx="10678">
                  <c:v>25832</c:v>
                </c:pt>
                <c:pt idx="10679">
                  <c:v>25833</c:v>
                </c:pt>
                <c:pt idx="10680">
                  <c:v>25834</c:v>
                </c:pt>
                <c:pt idx="10681">
                  <c:v>25835</c:v>
                </c:pt>
                <c:pt idx="10682">
                  <c:v>25836</c:v>
                </c:pt>
                <c:pt idx="10683">
                  <c:v>25839</c:v>
                </c:pt>
                <c:pt idx="10684">
                  <c:v>25840</c:v>
                </c:pt>
                <c:pt idx="10685">
                  <c:v>25841</c:v>
                </c:pt>
                <c:pt idx="10686">
                  <c:v>25842</c:v>
                </c:pt>
                <c:pt idx="10687">
                  <c:v>25843</c:v>
                </c:pt>
                <c:pt idx="10688">
                  <c:v>25846</c:v>
                </c:pt>
                <c:pt idx="10689">
                  <c:v>25847</c:v>
                </c:pt>
                <c:pt idx="10690">
                  <c:v>25848</c:v>
                </c:pt>
                <c:pt idx="10691">
                  <c:v>25849</c:v>
                </c:pt>
                <c:pt idx="10692">
                  <c:v>25850</c:v>
                </c:pt>
                <c:pt idx="10693">
                  <c:v>25853</c:v>
                </c:pt>
                <c:pt idx="10694">
                  <c:v>25854</c:v>
                </c:pt>
                <c:pt idx="10695">
                  <c:v>25855</c:v>
                </c:pt>
                <c:pt idx="10696">
                  <c:v>25856</c:v>
                </c:pt>
                <c:pt idx="10697">
                  <c:v>25857</c:v>
                </c:pt>
                <c:pt idx="10698">
                  <c:v>25860</c:v>
                </c:pt>
                <c:pt idx="10699">
                  <c:v>25861</c:v>
                </c:pt>
                <c:pt idx="10700">
                  <c:v>25862</c:v>
                </c:pt>
                <c:pt idx="10701">
                  <c:v>25863</c:v>
                </c:pt>
                <c:pt idx="10702">
                  <c:v>25864</c:v>
                </c:pt>
                <c:pt idx="10703">
                  <c:v>25867</c:v>
                </c:pt>
                <c:pt idx="10704">
                  <c:v>25868</c:v>
                </c:pt>
                <c:pt idx="10705">
                  <c:v>25869</c:v>
                </c:pt>
                <c:pt idx="10706">
                  <c:v>25870</c:v>
                </c:pt>
                <c:pt idx="10707">
                  <c:v>25871</c:v>
                </c:pt>
                <c:pt idx="10708">
                  <c:v>25874</c:v>
                </c:pt>
                <c:pt idx="10709">
                  <c:v>25875</c:v>
                </c:pt>
                <c:pt idx="10710">
                  <c:v>25876</c:v>
                </c:pt>
                <c:pt idx="10711">
                  <c:v>25877</c:v>
                </c:pt>
                <c:pt idx="10712">
                  <c:v>25878</c:v>
                </c:pt>
                <c:pt idx="10713">
                  <c:v>25881</c:v>
                </c:pt>
                <c:pt idx="10714">
                  <c:v>25882</c:v>
                </c:pt>
                <c:pt idx="10715">
                  <c:v>25883</c:v>
                </c:pt>
                <c:pt idx="10716">
                  <c:v>25884</c:v>
                </c:pt>
                <c:pt idx="10717">
                  <c:v>25885</c:v>
                </c:pt>
                <c:pt idx="10718">
                  <c:v>25888</c:v>
                </c:pt>
                <c:pt idx="10719">
                  <c:v>25889</c:v>
                </c:pt>
                <c:pt idx="10720">
                  <c:v>25890</c:v>
                </c:pt>
                <c:pt idx="10721">
                  <c:v>25891</c:v>
                </c:pt>
                <c:pt idx="10722">
                  <c:v>25892</c:v>
                </c:pt>
                <c:pt idx="10723">
                  <c:v>25895</c:v>
                </c:pt>
                <c:pt idx="10724">
                  <c:v>25896</c:v>
                </c:pt>
                <c:pt idx="10725">
                  <c:v>25897</c:v>
                </c:pt>
                <c:pt idx="10726">
                  <c:v>25899</c:v>
                </c:pt>
                <c:pt idx="10727">
                  <c:v>25902</c:v>
                </c:pt>
                <c:pt idx="10728">
                  <c:v>25903</c:v>
                </c:pt>
                <c:pt idx="10729">
                  <c:v>25904</c:v>
                </c:pt>
                <c:pt idx="10730">
                  <c:v>25905</c:v>
                </c:pt>
                <c:pt idx="10731">
                  <c:v>25906</c:v>
                </c:pt>
                <c:pt idx="10732">
                  <c:v>25909</c:v>
                </c:pt>
                <c:pt idx="10733">
                  <c:v>25910</c:v>
                </c:pt>
                <c:pt idx="10734">
                  <c:v>25911</c:v>
                </c:pt>
                <c:pt idx="10735">
                  <c:v>25912</c:v>
                </c:pt>
                <c:pt idx="10736">
                  <c:v>25913</c:v>
                </c:pt>
                <c:pt idx="10737">
                  <c:v>25916</c:v>
                </c:pt>
                <c:pt idx="10738">
                  <c:v>25917</c:v>
                </c:pt>
                <c:pt idx="10739">
                  <c:v>25918</c:v>
                </c:pt>
                <c:pt idx="10740">
                  <c:v>25919</c:v>
                </c:pt>
                <c:pt idx="10741">
                  <c:v>25920</c:v>
                </c:pt>
                <c:pt idx="10742">
                  <c:v>25923</c:v>
                </c:pt>
                <c:pt idx="10743">
                  <c:v>25924</c:v>
                </c:pt>
                <c:pt idx="10744">
                  <c:v>25925</c:v>
                </c:pt>
                <c:pt idx="10745">
                  <c:v>25926</c:v>
                </c:pt>
                <c:pt idx="10746">
                  <c:v>25930</c:v>
                </c:pt>
                <c:pt idx="10747">
                  <c:v>25931</c:v>
                </c:pt>
                <c:pt idx="10748">
                  <c:v>25932</c:v>
                </c:pt>
                <c:pt idx="10749">
                  <c:v>25933</c:v>
                </c:pt>
                <c:pt idx="10750">
                  <c:v>25937</c:v>
                </c:pt>
                <c:pt idx="10751">
                  <c:v>25938</c:v>
                </c:pt>
                <c:pt idx="10752">
                  <c:v>25939</c:v>
                </c:pt>
                <c:pt idx="10753">
                  <c:v>25940</c:v>
                </c:pt>
                <c:pt idx="10754">
                  <c:v>25941</c:v>
                </c:pt>
                <c:pt idx="10755">
                  <c:v>25944</c:v>
                </c:pt>
                <c:pt idx="10756">
                  <c:v>25945</c:v>
                </c:pt>
                <c:pt idx="10757">
                  <c:v>25946</c:v>
                </c:pt>
                <c:pt idx="10758">
                  <c:v>25947</c:v>
                </c:pt>
                <c:pt idx="10759">
                  <c:v>25948</c:v>
                </c:pt>
                <c:pt idx="10760">
                  <c:v>25951</c:v>
                </c:pt>
                <c:pt idx="10761">
                  <c:v>25952</c:v>
                </c:pt>
                <c:pt idx="10762">
                  <c:v>25953</c:v>
                </c:pt>
                <c:pt idx="10763">
                  <c:v>25954</c:v>
                </c:pt>
                <c:pt idx="10764">
                  <c:v>25955</c:v>
                </c:pt>
                <c:pt idx="10765">
                  <c:v>25958</c:v>
                </c:pt>
                <c:pt idx="10766">
                  <c:v>25959</c:v>
                </c:pt>
                <c:pt idx="10767">
                  <c:v>25960</c:v>
                </c:pt>
                <c:pt idx="10768">
                  <c:v>25961</c:v>
                </c:pt>
                <c:pt idx="10769">
                  <c:v>25962</c:v>
                </c:pt>
                <c:pt idx="10770">
                  <c:v>25965</c:v>
                </c:pt>
                <c:pt idx="10771">
                  <c:v>25966</c:v>
                </c:pt>
                <c:pt idx="10772">
                  <c:v>25967</c:v>
                </c:pt>
                <c:pt idx="10773">
                  <c:v>25968</c:v>
                </c:pt>
                <c:pt idx="10774">
                  <c:v>25969</c:v>
                </c:pt>
                <c:pt idx="10775">
                  <c:v>25972</c:v>
                </c:pt>
                <c:pt idx="10776">
                  <c:v>25973</c:v>
                </c:pt>
                <c:pt idx="10777">
                  <c:v>25974</c:v>
                </c:pt>
                <c:pt idx="10778">
                  <c:v>25975</c:v>
                </c:pt>
                <c:pt idx="10779">
                  <c:v>25976</c:v>
                </c:pt>
                <c:pt idx="10780">
                  <c:v>25980</c:v>
                </c:pt>
                <c:pt idx="10781">
                  <c:v>25981</c:v>
                </c:pt>
                <c:pt idx="10782">
                  <c:v>25982</c:v>
                </c:pt>
                <c:pt idx="10783">
                  <c:v>25983</c:v>
                </c:pt>
                <c:pt idx="10784">
                  <c:v>25986</c:v>
                </c:pt>
                <c:pt idx="10785">
                  <c:v>25987</c:v>
                </c:pt>
                <c:pt idx="10786">
                  <c:v>25988</c:v>
                </c:pt>
                <c:pt idx="10787">
                  <c:v>25989</c:v>
                </c:pt>
                <c:pt idx="10788">
                  <c:v>25990</c:v>
                </c:pt>
                <c:pt idx="10789">
                  <c:v>25993</c:v>
                </c:pt>
                <c:pt idx="10790">
                  <c:v>25994</c:v>
                </c:pt>
                <c:pt idx="10791">
                  <c:v>25995</c:v>
                </c:pt>
                <c:pt idx="10792">
                  <c:v>25996</c:v>
                </c:pt>
                <c:pt idx="10793">
                  <c:v>25997</c:v>
                </c:pt>
                <c:pt idx="10794">
                  <c:v>26000</c:v>
                </c:pt>
                <c:pt idx="10795">
                  <c:v>26001</c:v>
                </c:pt>
                <c:pt idx="10796">
                  <c:v>26002</c:v>
                </c:pt>
                <c:pt idx="10797">
                  <c:v>26003</c:v>
                </c:pt>
                <c:pt idx="10798">
                  <c:v>26004</c:v>
                </c:pt>
                <c:pt idx="10799">
                  <c:v>26007</c:v>
                </c:pt>
                <c:pt idx="10800">
                  <c:v>26008</c:v>
                </c:pt>
                <c:pt idx="10801">
                  <c:v>26009</c:v>
                </c:pt>
                <c:pt idx="10802">
                  <c:v>26010</c:v>
                </c:pt>
                <c:pt idx="10803">
                  <c:v>26011</c:v>
                </c:pt>
                <c:pt idx="10804">
                  <c:v>26014</c:v>
                </c:pt>
                <c:pt idx="10805">
                  <c:v>26015</c:v>
                </c:pt>
                <c:pt idx="10806">
                  <c:v>26016</c:v>
                </c:pt>
                <c:pt idx="10807">
                  <c:v>26017</c:v>
                </c:pt>
                <c:pt idx="10808">
                  <c:v>26018</c:v>
                </c:pt>
                <c:pt idx="10809">
                  <c:v>26021</c:v>
                </c:pt>
                <c:pt idx="10810">
                  <c:v>26022</c:v>
                </c:pt>
                <c:pt idx="10811">
                  <c:v>26023</c:v>
                </c:pt>
                <c:pt idx="10812">
                  <c:v>26024</c:v>
                </c:pt>
                <c:pt idx="10813">
                  <c:v>26025</c:v>
                </c:pt>
                <c:pt idx="10814">
                  <c:v>26028</c:v>
                </c:pt>
                <c:pt idx="10815">
                  <c:v>26029</c:v>
                </c:pt>
                <c:pt idx="10816">
                  <c:v>26030</c:v>
                </c:pt>
                <c:pt idx="10817">
                  <c:v>26031</c:v>
                </c:pt>
                <c:pt idx="10818">
                  <c:v>26035</c:v>
                </c:pt>
                <c:pt idx="10819">
                  <c:v>26036</c:v>
                </c:pt>
                <c:pt idx="10820">
                  <c:v>26037</c:v>
                </c:pt>
                <c:pt idx="10821">
                  <c:v>26038</c:v>
                </c:pt>
                <c:pt idx="10822">
                  <c:v>26039</c:v>
                </c:pt>
                <c:pt idx="10823">
                  <c:v>26042</c:v>
                </c:pt>
                <c:pt idx="10824">
                  <c:v>26043</c:v>
                </c:pt>
                <c:pt idx="10825">
                  <c:v>26044</c:v>
                </c:pt>
                <c:pt idx="10826">
                  <c:v>26045</c:v>
                </c:pt>
                <c:pt idx="10827">
                  <c:v>26046</c:v>
                </c:pt>
                <c:pt idx="10828">
                  <c:v>26049</c:v>
                </c:pt>
                <c:pt idx="10829">
                  <c:v>26050</c:v>
                </c:pt>
                <c:pt idx="10830">
                  <c:v>26051</c:v>
                </c:pt>
                <c:pt idx="10831">
                  <c:v>26052</c:v>
                </c:pt>
                <c:pt idx="10832">
                  <c:v>26053</c:v>
                </c:pt>
                <c:pt idx="10833">
                  <c:v>26056</c:v>
                </c:pt>
                <c:pt idx="10834">
                  <c:v>26057</c:v>
                </c:pt>
                <c:pt idx="10835">
                  <c:v>26058</c:v>
                </c:pt>
                <c:pt idx="10836">
                  <c:v>26059</c:v>
                </c:pt>
                <c:pt idx="10837">
                  <c:v>26060</c:v>
                </c:pt>
                <c:pt idx="10838">
                  <c:v>26063</c:v>
                </c:pt>
                <c:pt idx="10839">
                  <c:v>26064</c:v>
                </c:pt>
                <c:pt idx="10840">
                  <c:v>26065</c:v>
                </c:pt>
                <c:pt idx="10841">
                  <c:v>26066</c:v>
                </c:pt>
                <c:pt idx="10842">
                  <c:v>26067</c:v>
                </c:pt>
                <c:pt idx="10843">
                  <c:v>26070</c:v>
                </c:pt>
                <c:pt idx="10844">
                  <c:v>26071</c:v>
                </c:pt>
                <c:pt idx="10845">
                  <c:v>26072</c:v>
                </c:pt>
                <c:pt idx="10846">
                  <c:v>26073</c:v>
                </c:pt>
                <c:pt idx="10847">
                  <c:v>26074</c:v>
                </c:pt>
                <c:pt idx="10848">
                  <c:v>26077</c:v>
                </c:pt>
                <c:pt idx="10849">
                  <c:v>26078</c:v>
                </c:pt>
                <c:pt idx="10850">
                  <c:v>26079</c:v>
                </c:pt>
                <c:pt idx="10851">
                  <c:v>26080</c:v>
                </c:pt>
                <c:pt idx="10852">
                  <c:v>26081</c:v>
                </c:pt>
                <c:pt idx="10853">
                  <c:v>26085</c:v>
                </c:pt>
                <c:pt idx="10854">
                  <c:v>26086</c:v>
                </c:pt>
                <c:pt idx="10855">
                  <c:v>26087</c:v>
                </c:pt>
                <c:pt idx="10856">
                  <c:v>26088</c:v>
                </c:pt>
                <c:pt idx="10857">
                  <c:v>26091</c:v>
                </c:pt>
                <c:pt idx="10858">
                  <c:v>26092</c:v>
                </c:pt>
                <c:pt idx="10859">
                  <c:v>26093</c:v>
                </c:pt>
                <c:pt idx="10860">
                  <c:v>26094</c:v>
                </c:pt>
                <c:pt idx="10861">
                  <c:v>26095</c:v>
                </c:pt>
                <c:pt idx="10862">
                  <c:v>26098</c:v>
                </c:pt>
                <c:pt idx="10863">
                  <c:v>26099</c:v>
                </c:pt>
                <c:pt idx="10864">
                  <c:v>26100</c:v>
                </c:pt>
                <c:pt idx="10865">
                  <c:v>26101</c:v>
                </c:pt>
                <c:pt idx="10866">
                  <c:v>26102</c:v>
                </c:pt>
                <c:pt idx="10867">
                  <c:v>26105</c:v>
                </c:pt>
                <c:pt idx="10868">
                  <c:v>26106</c:v>
                </c:pt>
                <c:pt idx="10869">
                  <c:v>26107</c:v>
                </c:pt>
                <c:pt idx="10870">
                  <c:v>26108</c:v>
                </c:pt>
                <c:pt idx="10871">
                  <c:v>26109</c:v>
                </c:pt>
                <c:pt idx="10872">
                  <c:v>26112</c:v>
                </c:pt>
                <c:pt idx="10873">
                  <c:v>26113</c:v>
                </c:pt>
                <c:pt idx="10874">
                  <c:v>26114</c:v>
                </c:pt>
                <c:pt idx="10875">
                  <c:v>26115</c:v>
                </c:pt>
                <c:pt idx="10876">
                  <c:v>26116</c:v>
                </c:pt>
                <c:pt idx="10877">
                  <c:v>26120</c:v>
                </c:pt>
                <c:pt idx="10878">
                  <c:v>26121</c:v>
                </c:pt>
                <c:pt idx="10879">
                  <c:v>26122</c:v>
                </c:pt>
                <c:pt idx="10880">
                  <c:v>26123</c:v>
                </c:pt>
                <c:pt idx="10881">
                  <c:v>26126</c:v>
                </c:pt>
                <c:pt idx="10882">
                  <c:v>26127</c:v>
                </c:pt>
                <c:pt idx="10883">
                  <c:v>26128</c:v>
                </c:pt>
                <c:pt idx="10884">
                  <c:v>26129</c:v>
                </c:pt>
                <c:pt idx="10885">
                  <c:v>26130</c:v>
                </c:pt>
                <c:pt idx="10886">
                  <c:v>26133</c:v>
                </c:pt>
                <c:pt idx="10887">
                  <c:v>26134</c:v>
                </c:pt>
                <c:pt idx="10888">
                  <c:v>26135</c:v>
                </c:pt>
                <c:pt idx="10889">
                  <c:v>26136</c:v>
                </c:pt>
                <c:pt idx="10890">
                  <c:v>26137</c:v>
                </c:pt>
                <c:pt idx="10891">
                  <c:v>26140</c:v>
                </c:pt>
                <c:pt idx="10892">
                  <c:v>26141</c:v>
                </c:pt>
                <c:pt idx="10893">
                  <c:v>26142</c:v>
                </c:pt>
                <c:pt idx="10894">
                  <c:v>26143</c:v>
                </c:pt>
                <c:pt idx="10895">
                  <c:v>26144</c:v>
                </c:pt>
                <c:pt idx="10896">
                  <c:v>26147</c:v>
                </c:pt>
                <c:pt idx="10897">
                  <c:v>26148</c:v>
                </c:pt>
                <c:pt idx="10898">
                  <c:v>26149</c:v>
                </c:pt>
                <c:pt idx="10899">
                  <c:v>26150</c:v>
                </c:pt>
                <c:pt idx="10900">
                  <c:v>26151</c:v>
                </c:pt>
                <c:pt idx="10901">
                  <c:v>26154</c:v>
                </c:pt>
                <c:pt idx="10902">
                  <c:v>26155</c:v>
                </c:pt>
                <c:pt idx="10903">
                  <c:v>26156</c:v>
                </c:pt>
                <c:pt idx="10904">
                  <c:v>26157</c:v>
                </c:pt>
                <c:pt idx="10905">
                  <c:v>26158</c:v>
                </c:pt>
                <c:pt idx="10906">
                  <c:v>26161</c:v>
                </c:pt>
                <c:pt idx="10907">
                  <c:v>26162</c:v>
                </c:pt>
                <c:pt idx="10908">
                  <c:v>26163</c:v>
                </c:pt>
                <c:pt idx="10909">
                  <c:v>26164</c:v>
                </c:pt>
                <c:pt idx="10910">
                  <c:v>26165</c:v>
                </c:pt>
                <c:pt idx="10911">
                  <c:v>26168</c:v>
                </c:pt>
                <c:pt idx="10912">
                  <c:v>26169</c:v>
                </c:pt>
                <c:pt idx="10913">
                  <c:v>26170</c:v>
                </c:pt>
                <c:pt idx="10914">
                  <c:v>26171</c:v>
                </c:pt>
                <c:pt idx="10915">
                  <c:v>26172</c:v>
                </c:pt>
                <c:pt idx="10916">
                  <c:v>26175</c:v>
                </c:pt>
                <c:pt idx="10917">
                  <c:v>26176</c:v>
                </c:pt>
                <c:pt idx="10918">
                  <c:v>26177</c:v>
                </c:pt>
                <c:pt idx="10919">
                  <c:v>26178</c:v>
                </c:pt>
                <c:pt idx="10920">
                  <c:v>26179</c:v>
                </c:pt>
                <c:pt idx="10921">
                  <c:v>26183</c:v>
                </c:pt>
                <c:pt idx="10922">
                  <c:v>26184</c:v>
                </c:pt>
                <c:pt idx="10923">
                  <c:v>26185</c:v>
                </c:pt>
                <c:pt idx="10924">
                  <c:v>26186</c:v>
                </c:pt>
                <c:pt idx="10925">
                  <c:v>26189</c:v>
                </c:pt>
                <c:pt idx="10926">
                  <c:v>26190</c:v>
                </c:pt>
                <c:pt idx="10927">
                  <c:v>26191</c:v>
                </c:pt>
                <c:pt idx="10928">
                  <c:v>26192</c:v>
                </c:pt>
                <c:pt idx="10929">
                  <c:v>26193</c:v>
                </c:pt>
                <c:pt idx="10930">
                  <c:v>26196</c:v>
                </c:pt>
                <c:pt idx="10931">
                  <c:v>26197</c:v>
                </c:pt>
                <c:pt idx="10932">
                  <c:v>26198</c:v>
                </c:pt>
                <c:pt idx="10933">
                  <c:v>26199</c:v>
                </c:pt>
                <c:pt idx="10934">
                  <c:v>26200</c:v>
                </c:pt>
                <c:pt idx="10935">
                  <c:v>26203</c:v>
                </c:pt>
                <c:pt idx="10936">
                  <c:v>26204</c:v>
                </c:pt>
                <c:pt idx="10937">
                  <c:v>26205</c:v>
                </c:pt>
                <c:pt idx="10938">
                  <c:v>26206</c:v>
                </c:pt>
                <c:pt idx="10939">
                  <c:v>26207</c:v>
                </c:pt>
                <c:pt idx="10940">
                  <c:v>26210</c:v>
                </c:pt>
                <c:pt idx="10941">
                  <c:v>26211</c:v>
                </c:pt>
                <c:pt idx="10942">
                  <c:v>26212</c:v>
                </c:pt>
                <c:pt idx="10943">
                  <c:v>26213</c:v>
                </c:pt>
                <c:pt idx="10944">
                  <c:v>26214</c:v>
                </c:pt>
                <c:pt idx="10945">
                  <c:v>26217</c:v>
                </c:pt>
                <c:pt idx="10946">
                  <c:v>26218</c:v>
                </c:pt>
                <c:pt idx="10947">
                  <c:v>26219</c:v>
                </c:pt>
                <c:pt idx="10948">
                  <c:v>26220</c:v>
                </c:pt>
                <c:pt idx="10949">
                  <c:v>26221</c:v>
                </c:pt>
                <c:pt idx="10950">
                  <c:v>26224</c:v>
                </c:pt>
                <c:pt idx="10951">
                  <c:v>26225</c:v>
                </c:pt>
                <c:pt idx="10952">
                  <c:v>26226</c:v>
                </c:pt>
                <c:pt idx="10953">
                  <c:v>26227</c:v>
                </c:pt>
                <c:pt idx="10954">
                  <c:v>26228</c:v>
                </c:pt>
                <c:pt idx="10955">
                  <c:v>26231</c:v>
                </c:pt>
                <c:pt idx="10956">
                  <c:v>26232</c:v>
                </c:pt>
                <c:pt idx="10957">
                  <c:v>26233</c:v>
                </c:pt>
                <c:pt idx="10958">
                  <c:v>26234</c:v>
                </c:pt>
                <c:pt idx="10959">
                  <c:v>26235</c:v>
                </c:pt>
                <c:pt idx="10960">
                  <c:v>26238</c:v>
                </c:pt>
                <c:pt idx="10961">
                  <c:v>26239</c:v>
                </c:pt>
                <c:pt idx="10962">
                  <c:v>26240</c:v>
                </c:pt>
                <c:pt idx="10963">
                  <c:v>26241</c:v>
                </c:pt>
                <c:pt idx="10964">
                  <c:v>26242</c:v>
                </c:pt>
                <c:pt idx="10965">
                  <c:v>26245</c:v>
                </c:pt>
                <c:pt idx="10966">
                  <c:v>26246</c:v>
                </c:pt>
                <c:pt idx="10967">
                  <c:v>26247</c:v>
                </c:pt>
                <c:pt idx="10968">
                  <c:v>26248</c:v>
                </c:pt>
                <c:pt idx="10969">
                  <c:v>26249</c:v>
                </c:pt>
                <c:pt idx="10970">
                  <c:v>26252</c:v>
                </c:pt>
                <c:pt idx="10971">
                  <c:v>26253</c:v>
                </c:pt>
                <c:pt idx="10972">
                  <c:v>26254</c:v>
                </c:pt>
                <c:pt idx="10973">
                  <c:v>26255</c:v>
                </c:pt>
                <c:pt idx="10974">
                  <c:v>26256</c:v>
                </c:pt>
                <c:pt idx="10975">
                  <c:v>26259</c:v>
                </c:pt>
                <c:pt idx="10976">
                  <c:v>26260</c:v>
                </c:pt>
                <c:pt idx="10977">
                  <c:v>26261</c:v>
                </c:pt>
                <c:pt idx="10978">
                  <c:v>26263</c:v>
                </c:pt>
                <c:pt idx="10979">
                  <c:v>26266</c:v>
                </c:pt>
                <c:pt idx="10980">
                  <c:v>26267</c:v>
                </c:pt>
                <c:pt idx="10981">
                  <c:v>26268</c:v>
                </c:pt>
                <c:pt idx="10982">
                  <c:v>26269</c:v>
                </c:pt>
                <c:pt idx="10983">
                  <c:v>26270</c:v>
                </c:pt>
                <c:pt idx="10984">
                  <c:v>26273</c:v>
                </c:pt>
                <c:pt idx="10985">
                  <c:v>26274</c:v>
                </c:pt>
                <c:pt idx="10986">
                  <c:v>26275</c:v>
                </c:pt>
                <c:pt idx="10987">
                  <c:v>26276</c:v>
                </c:pt>
                <c:pt idx="10988">
                  <c:v>26277</c:v>
                </c:pt>
                <c:pt idx="10989">
                  <c:v>26280</c:v>
                </c:pt>
                <c:pt idx="10990">
                  <c:v>26281</c:v>
                </c:pt>
                <c:pt idx="10991">
                  <c:v>26282</c:v>
                </c:pt>
                <c:pt idx="10992">
                  <c:v>26283</c:v>
                </c:pt>
                <c:pt idx="10993">
                  <c:v>26284</c:v>
                </c:pt>
                <c:pt idx="10994">
                  <c:v>26287</c:v>
                </c:pt>
                <c:pt idx="10995">
                  <c:v>26288</c:v>
                </c:pt>
                <c:pt idx="10996">
                  <c:v>26289</c:v>
                </c:pt>
                <c:pt idx="10997">
                  <c:v>26290</c:v>
                </c:pt>
                <c:pt idx="10998">
                  <c:v>26294</c:v>
                </c:pt>
                <c:pt idx="10999">
                  <c:v>26295</c:v>
                </c:pt>
                <c:pt idx="11000">
                  <c:v>26296</c:v>
                </c:pt>
                <c:pt idx="11001">
                  <c:v>26297</c:v>
                </c:pt>
                <c:pt idx="11002">
                  <c:v>26298</c:v>
                </c:pt>
                <c:pt idx="11003">
                  <c:v>26301</c:v>
                </c:pt>
                <c:pt idx="11004">
                  <c:v>26302</c:v>
                </c:pt>
                <c:pt idx="11005">
                  <c:v>26303</c:v>
                </c:pt>
                <c:pt idx="11006">
                  <c:v>26304</c:v>
                </c:pt>
                <c:pt idx="11007">
                  <c:v>26305</c:v>
                </c:pt>
                <c:pt idx="11008">
                  <c:v>26308</c:v>
                </c:pt>
                <c:pt idx="11009">
                  <c:v>26309</c:v>
                </c:pt>
                <c:pt idx="11010">
                  <c:v>26310</c:v>
                </c:pt>
                <c:pt idx="11011">
                  <c:v>26311</c:v>
                </c:pt>
                <c:pt idx="11012">
                  <c:v>26312</c:v>
                </c:pt>
                <c:pt idx="11013">
                  <c:v>26315</c:v>
                </c:pt>
                <c:pt idx="11014">
                  <c:v>26316</c:v>
                </c:pt>
                <c:pt idx="11015">
                  <c:v>26317</c:v>
                </c:pt>
                <c:pt idx="11016">
                  <c:v>26318</c:v>
                </c:pt>
                <c:pt idx="11017">
                  <c:v>26319</c:v>
                </c:pt>
                <c:pt idx="11018">
                  <c:v>26322</c:v>
                </c:pt>
                <c:pt idx="11019">
                  <c:v>26323</c:v>
                </c:pt>
                <c:pt idx="11020">
                  <c:v>26324</c:v>
                </c:pt>
                <c:pt idx="11021">
                  <c:v>26325</c:v>
                </c:pt>
                <c:pt idx="11022">
                  <c:v>26326</c:v>
                </c:pt>
                <c:pt idx="11023">
                  <c:v>26329</c:v>
                </c:pt>
                <c:pt idx="11024">
                  <c:v>26330</c:v>
                </c:pt>
                <c:pt idx="11025">
                  <c:v>26331</c:v>
                </c:pt>
                <c:pt idx="11026">
                  <c:v>26332</c:v>
                </c:pt>
                <c:pt idx="11027">
                  <c:v>26333</c:v>
                </c:pt>
                <c:pt idx="11028">
                  <c:v>26336</c:v>
                </c:pt>
                <c:pt idx="11029">
                  <c:v>26337</c:v>
                </c:pt>
                <c:pt idx="11030">
                  <c:v>26338</c:v>
                </c:pt>
                <c:pt idx="11031">
                  <c:v>26339</c:v>
                </c:pt>
                <c:pt idx="11032">
                  <c:v>26340</c:v>
                </c:pt>
                <c:pt idx="11033">
                  <c:v>26343</c:v>
                </c:pt>
                <c:pt idx="11034">
                  <c:v>26344</c:v>
                </c:pt>
                <c:pt idx="11035">
                  <c:v>26345</c:v>
                </c:pt>
                <c:pt idx="11036">
                  <c:v>26346</c:v>
                </c:pt>
                <c:pt idx="11037">
                  <c:v>26347</c:v>
                </c:pt>
                <c:pt idx="11038">
                  <c:v>26351</c:v>
                </c:pt>
                <c:pt idx="11039">
                  <c:v>26352</c:v>
                </c:pt>
                <c:pt idx="11040">
                  <c:v>26353</c:v>
                </c:pt>
                <c:pt idx="11041">
                  <c:v>26354</c:v>
                </c:pt>
                <c:pt idx="11042">
                  <c:v>26357</c:v>
                </c:pt>
                <c:pt idx="11043">
                  <c:v>26358</c:v>
                </c:pt>
                <c:pt idx="11044">
                  <c:v>26359</c:v>
                </c:pt>
                <c:pt idx="11045">
                  <c:v>26360</c:v>
                </c:pt>
                <c:pt idx="11046">
                  <c:v>26361</c:v>
                </c:pt>
                <c:pt idx="11047">
                  <c:v>26364</c:v>
                </c:pt>
                <c:pt idx="11048">
                  <c:v>26365</c:v>
                </c:pt>
                <c:pt idx="11049">
                  <c:v>26366</c:v>
                </c:pt>
                <c:pt idx="11050">
                  <c:v>26367</c:v>
                </c:pt>
                <c:pt idx="11051">
                  <c:v>26368</c:v>
                </c:pt>
                <c:pt idx="11052">
                  <c:v>26371</c:v>
                </c:pt>
                <c:pt idx="11053">
                  <c:v>26372</c:v>
                </c:pt>
                <c:pt idx="11054">
                  <c:v>26373</c:v>
                </c:pt>
                <c:pt idx="11055">
                  <c:v>26374</c:v>
                </c:pt>
                <c:pt idx="11056">
                  <c:v>26375</c:v>
                </c:pt>
                <c:pt idx="11057">
                  <c:v>26378</c:v>
                </c:pt>
                <c:pt idx="11058">
                  <c:v>26379</c:v>
                </c:pt>
                <c:pt idx="11059">
                  <c:v>26380</c:v>
                </c:pt>
                <c:pt idx="11060">
                  <c:v>26381</c:v>
                </c:pt>
                <c:pt idx="11061">
                  <c:v>26382</c:v>
                </c:pt>
                <c:pt idx="11062">
                  <c:v>26385</c:v>
                </c:pt>
                <c:pt idx="11063">
                  <c:v>26386</c:v>
                </c:pt>
                <c:pt idx="11064">
                  <c:v>26387</c:v>
                </c:pt>
                <c:pt idx="11065">
                  <c:v>26388</c:v>
                </c:pt>
                <c:pt idx="11066">
                  <c:v>26392</c:v>
                </c:pt>
                <c:pt idx="11067">
                  <c:v>26393</c:v>
                </c:pt>
                <c:pt idx="11068">
                  <c:v>26394</c:v>
                </c:pt>
                <c:pt idx="11069">
                  <c:v>26395</c:v>
                </c:pt>
                <c:pt idx="11070">
                  <c:v>26396</c:v>
                </c:pt>
                <c:pt idx="11071">
                  <c:v>26399</c:v>
                </c:pt>
                <c:pt idx="11072">
                  <c:v>26400</c:v>
                </c:pt>
                <c:pt idx="11073">
                  <c:v>26401</c:v>
                </c:pt>
                <c:pt idx="11074">
                  <c:v>26402</c:v>
                </c:pt>
                <c:pt idx="11075">
                  <c:v>26403</c:v>
                </c:pt>
                <c:pt idx="11076">
                  <c:v>26406</c:v>
                </c:pt>
                <c:pt idx="11077">
                  <c:v>26407</c:v>
                </c:pt>
                <c:pt idx="11078">
                  <c:v>26408</c:v>
                </c:pt>
                <c:pt idx="11079">
                  <c:v>26409</c:v>
                </c:pt>
                <c:pt idx="11080">
                  <c:v>26410</c:v>
                </c:pt>
                <c:pt idx="11081">
                  <c:v>26413</c:v>
                </c:pt>
                <c:pt idx="11082">
                  <c:v>26414</c:v>
                </c:pt>
                <c:pt idx="11083">
                  <c:v>26415</c:v>
                </c:pt>
                <c:pt idx="11084">
                  <c:v>26416</c:v>
                </c:pt>
                <c:pt idx="11085">
                  <c:v>26417</c:v>
                </c:pt>
                <c:pt idx="11086">
                  <c:v>26420</c:v>
                </c:pt>
                <c:pt idx="11087">
                  <c:v>26421</c:v>
                </c:pt>
                <c:pt idx="11088">
                  <c:v>26422</c:v>
                </c:pt>
                <c:pt idx="11089">
                  <c:v>26423</c:v>
                </c:pt>
                <c:pt idx="11090">
                  <c:v>26424</c:v>
                </c:pt>
                <c:pt idx="11091">
                  <c:v>26427</c:v>
                </c:pt>
                <c:pt idx="11092">
                  <c:v>26428</c:v>
                </c:pt>
                <c:pt idx="11093">
                  <c:v>26429</c:v>
                </c:pt>
                <c:pt idx="11094">
                  <c:v>26430</c:v>
                </c:pt>
                <c:pt idx="11095">
                  <c:v>26431</c:v>
                </c:pt>
                <c:pt idx="11096">
                  <c:v>26434</c:v>
                </c:pt>
                <c:pt idx="11097">
                  <c:v>26435</c:v>
                </c:pt>
                <c:pt idx="11098">
                  <c:v>26436</c:v>
                </c:pt>
                <c:pt idx="11099">
                  <c:v>26437</c:v>
                </c:pt>
                <c:pt idx="11100">
                  <c:v>26438</c:v>
                </c:pt>
                <c:pt idx="11101">
                  <c:v>26441</c:v>
                </c:pt>
                <c:pt idx="11102">
                  <c:v>26442</c:v>
                </c:pt>
                <c:pt idx="11103">
                  <c:v>26443</c:v>
                </c:pt>
                <c:pt idx="11104">
                  <c:v>26444</c:v>
                </c:pt>
                <c:pt idx="11105">
                  <c:v>26445</c:v>
                </c:pt>
                <c:pt idx="11106">
                  <c:v>26449</c:v>
                </c:pt>
                <c:pt idx="11107">
                  <c:v>26450</c:v>
                </c:pt>
                <c:pt idx="11108">
                  <c:v>26451</c:v>
                </c:pt>
                <c:pt idx="11109">
                  <c:v>26452</c:v>
                </c:pt>
                <c:pt idx="11110">
                  <c:v>26455</c:v>
                </c:pt>
                <c:pt idx="11111">
                  <c:v>26456</c:v>
                </c:pt>
                <c:pt idx="11112">
                  <c:v>26457</c:v>
                </c:pt>
                <c:pt idx="11113">
                  <c:v>26458</c:v>
                </c:pt>
                <c:pt idx="11114">
                  <c:v>26459</c:v>
                </c:pt>
                <c:pt idx="11115">
                  <c:v>26462</c:v>
                </c:pt>
                <c:pt idx="11116">
                  <c:v>26463</c:v>
                </c:pt>
                <c:pt idx="11117">
                  <c:v>26464</c:v>
                </c:pt>
                <c:pt idx="11118">
                  <c:v>26465</c:v>
                </c:pt>
                <c:pt idx="11119">
                  <c:v>26466</c:v>
                </c:pt>
                <c:pt idx="11120">
                  <c:v>26469</c:v>
                </c:pt>
                <c:pt idx="11121">
                  <c:v>26470</c:v>
                </c:pt>
                <c:pt idx="11122">
                  <c:v>26471</c:v>
                </c:pt>
                <c:pt idx="11123">
                  <c:v>26472</c:v>
                </c:pt>
                <c:pt idx="11124">
                  <c:v>26473</c:v>
                </c:pt>
                <c:pt idx="11125">
                  <c:v>26476</c:v>
                </c:pt>
                <c:pt idx="11126">
                  <c:v>26477</c:v>
                </c:pt>
                <c:pt idx="11127">
                  <c:v>26478</c:v>
                </c:pt>
                <c:pt idx="11128">
                  <c:v>26479</c:v>
                </c:pt>
                <c:pt idx="11129">
                  <c:v>26480</c:v>
                </c:pt>
                <c:pt idx="11130">
                  <c:v>26483</c:v>
                </c:pt>
                <c:pt idx="11131">
                  <c:v>26485</c:v>
                </c:pt>
                <c:pt idx="11132">
                  <c:v>26486</c:v>
                </c:pt>
                <c:pt idx="11133">
                  <c:v>26487</c:v>
                </c:pt>
                <c:pt idx="11134">
                  <c:v>26490</c:v>
                </c:pt>
                <c:pt idx="11135">
                  <c:v>26491</c:v>
                </c:pt>
                <c:pt idx="11136">
                  <c:v>26492</c:v>
                </c:pt>
                <c:pt idx="11137">
                  <c:v>26493</c:v>
                </c:pt>
                <c:pt idx="11138">
                  <c:v>26494</c:v>
                </c:pt>
                <c:pt idx="11139">
                  <c:v>26497</c:v>
                </c:pt>
                <c:pt idx="11140">
                  <c:v>26498</c:v>
                </c:pt>
                <c:pt idx="11141">
                  <c:v>26499</c:v>
                </c:pt>
                <c:pt idx="11142">
                  <c:v>26500</c:v>
                </c:pt>
                <c:pt idx="11143">
                  <c:v>26501</c:v>
                </c:pt>
                <c:pt idx="11144">
                  <c:v>26504</c:v>
                </c:pt>
                <c:pt idx="11145">
                  <c:v>26505</c:v>
                </c:pt>
                <c:pt idx="11146">
                  <c:v>26506</c:v>
                </c:pt>
                <c:pt idx="11147">
                  <c:v>26507</c:v>
                </c:pt>
                <c:pt idx="11148">
                  <c:v>26508</c:v>
                </c:pt>
                <c:pt idx="11149">
                  <c:v>26511</c:v>
                </c:pt>
                <c:pt idx="11150">
                  <c:v>26512</c:v>
                </c:pt>
                <c:pt idx="11151">
                  <c:v>26513</c:v>
                </c:pt>
                <c:pt idx="11152">
                  <c:v>26514</c:v>
                </c:pt>
                <c:pt idx="11153">
                  <c:v>26515</c:v>
                </c:pt>
                <c:pt idx="11154">
                  <c:v>26518</c:v>
                </c:pt>
                <c:pt idx="11155">
                  <c:v>26519</c:v>
                </c:pt>
                <c:pt idx="11156">
                  <c:v>26520</c:v>
                </c:pt>
                <c:pt idx="11157">
                  <c:v>26521</c:v>
                </c:pt>
                <c:pt idx="11158">
                  <c:v>26522</c:v>
                </c:pt>
                <c:pt idx="11159">
                  <c:v>26525</c:v>
                </c:pt>
                <c:pt idx="11160">
                  <c:v>26526</c:v>
                </c:pt>
                <c:pt idx="11161">
                  <c:v>26527</c:v>
                </c:pt>
                <c:pt idx="11162">
                  <c:v>26528</c:v>
                </c:pt>
                <c:pt idx="11163">
                  <c:v>26529</c:v>
                </c:pt>
                <c:pt idx="11164">
                  <c:v>26532</c:v>
                </c:pt>
                <c:pt idx="11165">
                  <c:v>26533</c:v>
                </c:pt>
                <c:pt idx="11166">
                  <c:v>26534</c:v>
                </c:pt>
                <c:pt idx="11167">
                  <c:v>26535</c:v>
                </c:pt>
                <c:pt idx="11168">
                  <c:v>26536</c:v>
                </c:pt>
                <c:pt idx="11169">
                  <c:v>26539</c:v>
                </c:pt>
                <c:pt idx="11170">
                  <c:v>26540</c:v>
                </c:pt>
                <c:pt idx="11171">
                  <c:v>26541</c:v>
                </c:pt>
                <c:pt idx="11172">
                  <c:v>26542</c:v>
                </c:pt>
                <c:pt idx="11173">
                  <c:v>26543</c:v>
                </c:pt>
                <c:pt idx="11174">
                  <c:v>26547</c:v>
                </c:pt>
                <c:pt idx="11175">
                  <c:v>26548</c:v>
                </c:pt>
                <c:pt idx="11176">
                  <c:v>26549</c:v>
                </c:pt>
                <c:pt idx="11177">
                  <c:v>26550</c:v>
                </c:pt>
                <c:pt idx="11178">
                  <c:v>26553</c:v>
                </c:pt>
                <c:pt idx="11179">
                  <c:v>26554</c:v>
                </c:pt>
                <c:pt idx="11180">
                  <c:v>26555</c:v>
                </c:pt>
                <c:pt idx="11181">
                  <c:v>26556</c:v>
                </c:pt>
                <c:pt idx="11182">
                  <c:v>26557</c:v>
                </c:pt>
                <c:pt idx="11183">
                  <c:v>26560</c:v>
                </c:pt>
                <c:pt idx="11184">
                  <c:v>26561</c:v>
                </c:pt>
                <c:pt idx="11185">
                  <c:v>26562</c:v>
                </c:pt>
                <c:pt idx="11186">
                  <c:v>26563</c:v>
                </c:pt>
                <c:pt idx="11187">
                  <c:v>26564</c:v>
                </c:pt>
                <c:pt idx="11188">
                  <c:v>26567</c:v>
                </c:pt>
                <c:pt idx="11189">
                  <c:v>26568</c:v>
                </c:pt>
                <c:pt idx="11190">
                  <c:v>26569</c:v>
                </c:pt>
                <c:pt idx="11191">
                  <c:v>26570</c:v>
                </c:pt>
                <c:pt idx="11192">
                  <c:v>26571</c:v>
                </c:pt>
                <c:pt idx="11193">
                  <c:v>26574</c:v>
                </c:pt>
                <c:pt idx="11194">
                  <c:v>26575</c:v>
                </c:pt>
                <c:pt idx="11195">
                  <c:v>26576</c:v>
                </c:pt>
                <c:pt idx="11196">
                  <c:v>26577</c:v>
                </c:pt>
                <c:pt idx="11197">
                  <c:v>26578</c:v>
                </c:pt>
                <c:pt idx="11198">
                  <c:v>26581</c:v>
                </c:pt>
                <c:pt idx="11199">
                  <c:v>26582</c:v>
                </c:pt>
                <c:pt idx="11200">
                  <c:v>26583</c:v>
                </c:pt>
                <c:pt idx="11201">
                  <c:v>26584</c:v>
                </c:pt>
                <c:pt idx="11202">
                  <c:v>26585</c:v>
                </c:pt>
                <c:pt idx="11203">
                  <c:v>26588</c:v>
                </c:pt>
                <c:pt idx="11204">
                  <c:v>26589</c:v>
                </c:pt>
                <c:pt idx="11205">
                  <c:v>26590</c:v>
                </c:pt>
                <c:pt idx="11206">
                  <c:v>26591</c:v>
                </c:pt>
                <c:pt idx="11207">
                  <c:v>26592</c:v>
                </c:pt>
                <c:pt idx="11208">
                  <c:v>26595</c:v>
                </c:pt>
                <c:pt idx="11209">
                  <c:v>26596</c:v>
                </c:pt>
                <c:pt idx="11210">
                  <c:v>26597</c:v>
                </c:pt>
                <c:pt idx="11211">
                  <c:v>26598</c:v>
                </c:pt>
                <c:pt idx="11212">
                  <c:v>26599</c:v>
                </c:pt>
                <c:pt idx="11213">
                  <c:v>26602</c:v>
                </c:pt>
                <c:pt idx="11214">
                  <c:v>26603</c:v>
                </c:pt>
                <c:pt idx="11215">
                  <c:v>26604</c:v>
                </c:pt>
                <c:pt idx="11216">
                  <c:v>26605</c:v>
                </c:pt>
                <c:pt idx="11217">
                  <c:v>26606</c:v>
                </c:pt>
                <c:pt idx="11218">
                  <c:v>26609</c:v>
                </c:pt>
                <c:pt idx="11219">
                  <c:v>26611</c:v>
                </c:pt>
                <c:pt idx="11220">
                  <c:v>26612</c:v>
                </c:pt>
                <c:pt idx="11221">
                  <c:v>26613</c:v>
                </c:pt>
                <c:pt idx="11222">
                  <c:v>26616</c:v>
                </c:pt>
                <c:pt idx="11223">
                  <c:v>26617</c:v>
                </c:pt>
                <c:pt idx="11224">
                  <c:v>26618</c:v>
                </c:pt>
                <c:pt idx="11225">
                  <c:v>26619</c:v>
                </c:pt>
                <c:pt idx="11226">
                  <c:v>26620</c:v>
                </c:pt>
                <c:pt idx="11227">
                  <c:v>26623</c:v>
                </c:pt>
                <c:pt idx="11228">
                  <c:v>26624</c:v>
                </c:pt>
                <c:pt idx="11229">
                  <c:v>26625</c:v>
                </c:pt>
                <c:pt idx="11230">
                  <c:v>26627</c:v>
                </c:pt>
                <c:pt idx="11231">
                  <c:v>26630</c:v>
                </c:pt>
                <c:pt idx="11232">
                  <c:v>26631</c:v>
                </c:pt>
                <c:pt idx="11233">
                  <c:v>26632</c:v>
                </c:pt>
                <c:pt idx="11234">
                  <c:v>26633</c:v>
                </c:pt>
                <c:pt idx="11235">
                  <c:v>26634</c:v>
                </c:pt>
                <c:pt idx="11236">
                  <c:v>26637</c:v>
                </c:pt>
                <c:pt idx="11237">
                  <c:v>26638</c:v>
                </c:pt>
                <c:pt idx="11238">
                  <c:v>26639</c:v>
                </c:pt>
                <c:pt idx="11239">
                  <c:v>26640</c:v>
                </c:pt>
                <c:pt idx="11240">
                  <c:v>26641</c:v>
                </c:pt>
                <c:pt idx="11241">
                  <c:v>26644</c:v>
                </c:pt>
                <c:pt idx="11242">
                  <c:v>26645</c:v>
                </c:pt>
                <c:pt idx="11243">
                  <c:v>26646</c:v>
                </c:pt>
                <c:pt idx="11244">
                  <c:v>26647</c:v>
                </c:pt>
                <c:pt idx="11245">
                  <c:v>26648</c:v>
                </c:pt>
                <c:pt idx="11246">
                  <c:v>26651</c:v>
                </c:pt>
                <c:pt idx="11247">
                  <c:v>26652</c:v>
                </c:pt>
                <c:pt idx="11248">
                  <c:v>26653</c:v>
                </c:pt>
                <c:pt idx="11249">
                  <c:v>26654</c:v>
                </c:pt>
                <c:pt idx="11250">
                  <c:v>26655</c:v>
                </c:pt>
                <c:pt idx="11251">
                  <c:v>26659</c:v>
                </c:pt>
                <c:pt idx="11252">
                  <c:v>26660</c:v>
                </c:pt>
                <c:pt idx="11253">
                  <c:v>26662</c:v>
                </c:pt>
                <c:pt idx="11254">
                  <c:v>26666</c:v>
                </c:pt>
                <c:pt idx="11255">
                  <c:v>26667</c:v>
                </c:pt>
                <c:pt idx="11256">
                  <c:v>26668</c:v>
                </c:pt>
                <c:pt idx="11257">
                  <c:v>26669</c:v>
                </c:pt>
                <c:pt idx="11258">
                  <c:v>26672</c:v>
                </c:pt>
                <c:pt idx="11259">
                  <c:v>26673</c:v>
                </c:pt>
                <c:pt idx="11260">
                  <c:v>26674</c:v>
                </c:pt>
                <c:pt idx="11261">
                  <c:v>26675</c:v>
                </c:pt>
                <c:pt idx="11262">
                  <c:v>26676</c:v>
                </c:pt>
                <c:pt idx="11263">
                  <c:v>26679</c:v>
                </c:pt>
                <c:pt idx="11264">
                  <c:v>26680</c:v>
                </c:pt>
                <c:pt idx="11265">
                  <c:v>26681</c:v>
                </c:pt>
                <c:pt idx="11266">
                  <c:v>26682</c:v>
                </c:pt>
                <c:pt idx="11267">
                  <c:v>26683</c:v>
                </c:pt>
                <c:pt idx="11268">
                  <c:v>26686</c:v>
                </c:pt>
                <c:pt idx="11269">
                  <c:v>26687</c:v>
                </c:pt>
                <c:pt idx="11270">
                  <c:v>26688</c:v>
                </c:pt>
                <c:pt idx="11271">
                  <c:v>26690</c:v>
                </c:pt>
                <c:pt idx="11272">
                  <c:v>26693</c:v>
                </c:pt>
                <c:pt idx="11273">
                  <c:v>26694</c:v>
                </c:pt>
                <c:pt idx="11274">
                  <c:v>26695</c:v>
                </c:pt>
                <c:pt idx="11275">
                  <c:v>26696</c:v>
                </c:pt>
                <c:pt idx="11276">
                  <c:v>26697</c:v>
                </c:pt>
                <c:pt idx="11277">
                  <c:v>26700</c:v>
                </c:pt>
                <c:pt idx="11278">
                  <c:v>26701</c:v>
                </c:pt>
                <c:pt idx="11279">
                  <c:v>26702</c:v>
                </c:pt>
                <c:pt idx="11280">
                  <c:v>26703</c:v>
                </c:pt>
                <c:pt idx="11281">
                  <c:v>26704</c:v>
                </c:pt>
                <c:pt idx="11282">
                  <c:v>26707</c:v>
                </c:pt>
                <c:pt idx="11283">
                  <c:v>26708</c:v>
                </c:pt>
                <c:pt idx="11284">
                  <c:v>26709</c:v>
                </c:pt>
                <c:pt idx="11285">
                  <c:v>26710</c:v>
                </c:pt>
                <c:pt idx="11286">
                  <c:v>26711</c:v>
                </c:pt>
                <c:pt idx="11287">
                  <c:v>26715</c:v>
                </c:pt>
                <c:pt idx="11288">
                  <c:v>26716</c:v>
                </c:pt>
                <c:pt idx="11289">
                  <c:v>26717</c:v>
                </c:pt>
                <c:pt idx="11290">
                  <c:v>26718</c:v>
                </c:pt>
                <c:pt idx="11291">
                  <c:v>26721</c:v>
                </c:pt>
                <c:pt idx="11292">
                  <c:v>26722</c:v>
                </c:pt>
                <c:pt idx="11293">
                  <c:v>26723</c:v>
                </c:pt>
                <c:pt idx="11294">
                  <c:v>26724</c:v>
                </c:pt>
                <c:pt idx="11295">
                  <c:v>26725</c:v>
                </c:pt>
                <c:pt idx="11296">
                  <c:v>26728</c:v>
                </c:pt>
                <c:pt idx="11297">
                  <c:v>26729</c:v>
                </c:pt>
                <c:pt idx="11298">
                  <c:v>26730</c:v>
                </c:pt>
                <c:pt idx="11299">
                  <c:v>26731</c:v>
                </c:pt>
                <c:pt idx="11300">
                  <c:v>26732</c:v>
                </c:pt>
                <c:pt idx="11301">
                  <c:v>26735</c:v>
                </c:pt>
                <c:pt idx="11302">
                  <c:v>26736</c:v>
                </c:pt>
                <c:pt idx="11303">
                  <c:v>26737</c:v>
                </c:pt>
                <c:pt idx="11304">
                  <c:v>26738</c:v>
                </c:pt>
                <c:pt idx="11305">
                  <c:v>26739</c:v>
                </c:pt>
                <c:pt idx="11306">
                  <c:v>26742</c:v>
                </c:pt>
                <c:pt idx="11307">
                  <c:v>26743</c:v>
                </c:pt>
                <c:pt idx="11308">
                  <c:v>26744</c:v>
                </c:pt>
                <c:pt idx="11309">
                  <c:v>26745</c:v>
                </c:pt>
                <c:pt idx="11310">
                  <c:v>26746</c:v>
                </c:pt>
                <c:pt idx="11311">
                  <c:v>26749</c:v>
                </c:pt>
                <c:pt idx="11312">
                  <c:v>26750</c:v>
                </c:pt>
                <c:pt idx="11313">
                  <c:v>26751</c:v>
                </c:pt>
                <c:pt idx="11314">
                  <c:v>26752</c:v>
                </c:pt>
                <c:pt idx="11315">
                  <c:v>26753</c:v>
                </c:pt>
                <c:pt idx="11316">
                  <c:v>26756</c:v>
                </c:pt>
                <c:pt idx="11317">
                  <c:v>26757</c:v>
                </c:pt>
                <c:pt idx="11318">
                  <c:v>26758</c:v>
                </c:pt>
                <c:pt idx="11319">
                  <c:v>26759</c:v>
                </c:pt>
                <c:pt idx="11320">
                  <c:v>26760</c:v>
                </c:pt>
                <c:pt idx="11321">
                  <c:v>26763</c:v>
                </c:pt>
                <c:pt idx="11322">
                  <c:v>26764</c:v>
                </c:pt>
                <c:pt idx="11323">
                  <c:v>26765</c:v>
                </c:pt>
                <c:pt idx="11324">
                  <c:v>26766</c:v>
                </c:pt>
                <c:pt idx="11325">
                  <c:v>26767</c:v>
                </c:pt>
                <c:pt idx="11326">
                  <c:v>26770</c:v>
                </c:pt>
                <c:pt idx="11327">
                  <c:v>26771</c:v>
                </c:pt>
                <c:pt idx="11328">
                  <c:v>26772</c:v>
                </c:pt>
                <c:pt idx="11329">
                  <c:v>26773</c:v>
                </c:pt>
                <c:pt idx="11330">
                  <c:v>26777</c:v>
                </c:pt>
                <c:pt idx="11331">
                  <c:v>26778</c:v>
                </c:pt>
                <c:pt idx="11332">
                  <c:v>26779</c:v>
                </c:pt>
                <c:pt idx="11333">
                  <c:v>26780</c:v>
                </c:pt>
                <c:pt idx="11334">
                  <c:v>26781</c:v>
                </c:pt>
                <c:pt idx="11335">
                  <c:v>26784</c:v>
                </c:pt>
                <c:pt idx="11336">
                  <c:v>26785</c:v>
                </c:pt>
                <c:pt idx="11337">
                  <c:v>26786</c:v>
                </c:pt>
                <c:pt idx="11338">
                  <c:v>26787</c:v>
                </c:pt>
                <c:pt idx="11339">
                  <c:v>26788</c:v>
                </c:pt>
                <c:pt idx="11340">
                  <c:v>26791</c:v>
                </c:pt>
                <c:pt idx="11341">
                  <c:v>26792</c:v>
                </c:pt>
                <c:pt idx="11342">
                  <c:v>26793</c:v>
                </c:pt>
                <c:pt idx="11343">
                  <c:v>26794</c:v>
                </c:pt>
                <c:pt idx="11344">
                  <c:v>26795</c:v>
                </c:pt>
                <c:pt idx="11345">
                  <c:v>26798</c:v>
                </c:pt>
                <c:pt idx="11346">
                  <c:v>26799</c:v>
                </c:pt>
                <c:pt idx="11347">
                  <c:v>26800</c:v>
                </c:pt>
                <c:pt idx="11348">
                  <c:v>26801</c:v>
                </c:pt>
                <c:pt idx="11349">
                  <c:v>26802</c:v>
                </c:pt>
                <c:pt idx="11350">
                  <c:v>26805</c:v>
                </c:pt>
                <c:pt idx="11351">
                  <c:v>26806</c:v>
                </c:pt>
                <c:pt idx="11352">
                  <c:v>26807</c:v>
                </c:pt>
                <c:pt idx="11353">
                  <c:v>26808</c:v>
                </c:pt>
                <c:pt idx="11354">
                  <c:v>26809</c:v>
                </c:pt>
                <c:pt idx="11355">
                  <c:v>26813</c:v>
                </c:pt>
                <c:pt idx="11356">
                  <c:v>26814</c:v>
                </c:pt>
                <c:pt idx="11357">
                  <c:v>26815</c:v>
                </c:pt>
                <c:pt idx="11358">
                  <c:v>26816</c:v>
                </c:pt>
                <c:pt idx="11359">
                  <c:v>26819</c:v>
                </c:pt>
                <c:pt idx="11360">
                  <c:v>26820</c:v>
                </c:pt>
                <c:pt idx="11361">
                  <c:v>26821</c:v>
                </c:pt>
                <c:pt idx="11362">
                  <c:v>26822</c:v>
                </c:pt>
                <c:pt idx="11363">
                  <c:v>26823</c:v>
                </c:pt>
                <c:pt idx="11364">
                  <c:v>26826</c:v>
                </c:pt>
                <c:pt idx="11365">
                  <c:v>26827</c:v>
                </c:pt>
                <c:pt idx="11366">
                  <c:v>26828</c:v>
                </c:pt>
                <c:pt idx="11367">
                  <c:v>26829</c:v>
                </c:pt>
                <c:pt idx="11368">
                  <c:v>26830</c:v>
                </c:pt>
                <c:pt idx="11369">
                  <c:v>26833</c:v>
                </c:pt>
                <c:pt idx="11370">
                  <c:v>26834</c:v>
                </c:pt>
                <c:pt idx="11371">
                  <c:v>26835</c:v>
                </c:pt>
                <c:pt idx="11372">
                  <c:v>26836</c:v>
                </c:pt>
                <c:pt idx="11373">
                  <c:v>26837</c:v>
                </c:pt>
                <c:pt idx="11374">
                  <c:v>26840</c:v>
                </c:pt>
                <c:pt idx="11375">
                  <c:v>26841</c:v>
                </c:pt>
                <c:pt idx="11376">
                  <c:v>26842</c:v>
                </c:pt>
                <c:pt idx="11377">
                  <c:v>26843</c:v>
                </c:pt>
                <c:pt idx="11378">
                  <c:v>26844</c:v>
                </c:pt>
                <c:pt idx="11379">
                  <c:v>26847</c:v>
                </c:pt>
                <c:pt idx="11380">
                  <c:v>26848</c:v>
                </c:pt>
                <c:pt idx="11381">
                  <c:v>26850</c:v>
                </c:pt>
                <c:pt idx="11382">
                  <c:v>26851</c:v>
                </c:pt>
                <c:pt idx="11383">
                  <c:v>26854</c:v>
                </c:pt>
                <c:pt idx="11384">
                  <c:v>26855</c:v>
                </c:pt>
                <c:pt idx="11385">
                  <c:v>26856</c:v>
                </c:pt>
                <c:pt idx="11386">
                  <c:v>26857</c:v>
                </c:pt>
                <c:pt idx="11387">
                  <c:v>26858</c:v>
                </c:pt>
                <c:pt idx="11388">
                  <c:v>26861</c:v>
                </c:pt>
                <c:pt idx="11389">
                  <c:v>26862</c:v>
                </c:pt>
                <c:pt idx="11390">
                  <c:v>26863</c:v>
                </c:pt>
                <c:pt idx="11391">
                  <c:v>26864</c:v>
                </c:pt>
                <c:pt idx="11392">
                  <c:v>26865</c:v>
                </c:pt>
                <c:pt idx="11393">
                  <c:v>26868</c:v>
                </c:pt>
                <c:pt idx="11394">
                  <c:v>26869</c:v>
                </c:pt>
                <c:pt idx="11395">
                  <c:v>26870</c:v>
                </c:pt>
                <c:pt idx="11396">
                  <c:v>26871</c:v>
                </c:pt>
                <c:pt idx="11397">
                  <c:v>26872</c:v>
                </c:pt>
                <c:pt idx="11398">
                  <c:v>26875</c:v>
                </c:pt>
                <c:pt idx="11399">
                  <c:v>26876</c:v>
                </c:pt>
                <c:pt idx="11400">
                  <c:v>26877</c:v>
                </c:pt>
                <c:pt idx="11401">
                  <c:v>26878</c:v>
                </c:pt>
                <c:pt idx="11402">
                  <c:v>26879</c:v>
                </c:pt>
                <c:pt idx="11403">
                  <c:v>26882</c:v>
                </c:pt>
                <c:pt idx="11404">
                  <c:v>26883</c:v>
                </c:pt>
                <c:pt idx="11405">
                  <c:v>26884</c:v>
                </c:pt>
                <c:pt idx="11406">
                  <c:v>26885</c:v>
                </c:pt>
                <c:pt idx="11407">
                  <c:v>26886</c:v>
                </c:pt>
                <c:pt idx="11408">
                  <c:v>26889</c:v>
                </c:pt>
                <c:pt idx="11409">
                  <c:v>26890</c:v>
                </c:pt>
                <c:pt idx="11410">
                  <c:v>26891</c:v>
                </c:pt>
                <c:pt idx="11411">
                  <c:v>26892</c:v>
                </c:pt>
                <c:pt idx="11412">
                  <c:v>26893</c:v>
                </c:pt>
                <c:pt idx="11413">
                  <c:v>26896</c:v>
                </c:pt>
                <c:pt idx="11414">
                  <c:v>26897</c:v>
                </c:pt>
                <c:pt idx="11415">
                  <c:v>26898</c:v>
                </c:pt>
                <c:pt idx="11416">
                  <c:v>26899</c:v>
                </c:pt>
                <c:pt idx="11417">
                  <c:v>26900</c:v>
                </c:pt>
                <c:pt idx="11418">
                  <c:v>26903</c:v>
                </c:pt>
                <c:pt idx="11419">
                  <c:v>26904</c:v>
                </c:pt>
                <c:pt idx="11420">
                  <c:v>26905</c:v>
                </c:pt>
                <c:pt idx="11421">
                  <c:v>26906</c:v>
                </c:pt>
                <c:pt idx="11422">
                  <c:v>26907</c:v>
                </c:pt>
                <c:pt idx="11423">
                  <c:v>26911</c:v>
                </c:pt>
                <c:pt idx="11424">
                  <c:v>26912</c:v>
                </c:pt>
                <c:pt idx="11425">
                  <c:v>26913</c:v>
                </c:pt>
                <c:pt idx="11426">
                  <c:v>26914</c:v>
                </c:pt>
                <c:pt idx="11427">
                  <c:v>26917</c:v>
                </c:pt>
                <c:pt idx="11428">
                  <c:v>26918</c:v>
                </c:pt>
                <c:pt idx="11429">
                  <c:v>26919</c:v>
                </c:pt>
                <c:pt idx="11430">
                  <c:v>26920</c:v>
                </c:pt>
                <c:pt idx="11431">
                  <c:v>26921</c:v>
                </c:pt>
                <c:pt idx="11432">
                  <c:v>26924</c:v>
                </c:pt>
                <c:pt idx="11433">
                  <c:v>26925</c:v>
                </c:pt>
                <c:pt idx="11434">
                  <c:v>26926</c:v>
                </c:pt>
                <c:pt idx="11435">
                  <c:v>26927</c:v>
                </c:pt>
                <c:pt idx="11436">
                  <c:v>26928</c:v>
                </c:pt>
                <c:pt idx="11437">
                  <c:v>26931</c:v>
                </c:pt>
                <c:pt idx="11438">
                  <c:v>26932</c:v>
                </c:pt>
                <c:pt idx="11439">
                  <c:v>26933</c:v>
                </c:pt>
                <c:pt idx="11440">
                  <c:v>26934</c:v>
                </c:pt>
                <c:pt idx="11441">
                  <c:v>26935</c:v>
                </c:pt>
                <c:pt idx="11442">
                  <c:v>26938</c:v>
                </c:pt>
                <c:pt idx="11443">
                  <c:v>26939</c:v>
                </c:pt>
                <c:pt idx="11444">
                  <c:v>26940</c:v>
                </c:pt>
                <c:pt idx="11445">
                  <c:v>26941</c:v>
                </c:pt>
                <c:pt idx="11446">
                  <c:v>26942</c:v>
                </c:pt>
                <c:pt idx="11447">
                  <c:v>26945</c:v>
                </c:pt>
                <c:pt idx="11448">
                  <c:v>26946</c:v>
                </c:pt>
                <c:pt idx="11449">
                  <c:v>26947</c:v>
                </c:pt>
                <c:pt idx="11450">
                  <c:v>26948</c:v>
                </c:pt>
                <c:pt idx="11451">
                  <c:v>26949</c:v>
                </c:pt>
                <c:pt idx="11452">
                  <c:v>26952</c:v>
                </c:pt>
                <c:pt idx="11453">
                  <c:v>26953</c:v>
                </c:pt>
                <c:pt idx="11454">
                  <c:v>26954</c:v>
                </c:pt>
                <c:pt idx="11455">
                  <c:v>26955</c:v>
                </c:pt>
                <c:pt idx="11456">
                  <c:v>26956</c:v>
                </c:pt>
                <c:pt idx="11457">
                  <c:v>26959</c:v>
                </c:pt>
                <c:pt idx="11458">
                  <c:v>26960</c:v>
                </c:pt>
                <c:pt idx="11459">
                  <c:v>26961</c:v>
                </c:pt>
                <c:pt idx="11460">
                  <c:v>26962</c:v>
                </c:pt>
                <c:pt idx="11461">
                  <c:v>26963</c:v>
                </c:pt>
                <c:pt idx="11462">
                  <c:v>26966</c:v>
                </c:pt>
                <c:pt idx="11463">
                  <c:v>26967</c:v>
                </c:pt>
                <c:pt idx="11464">
                  <c:v>26968</c:v>
                </c:pt>
                <c:pt idx="11465">
                  <c:v>26969</c:v>
                </c:pt>
                <c:pt idx="11466">
                  <c:v>26970</c:v>
                </c:pt>
                <c:pt idx="11467">
                  <c:v>26973</c:v>
                </c:pt>
                <c:pt idx="11468">
                  <c:v>26974</c:v>
                </c:pt>
                <c:pt idx="11469">
                  <c:v>26975</c:v>
                </c:pt>
                <c:pt idx="11470">
                  <c:v>26976</c:v>
                </c:pt>
                <c:pt idx="11471">
                  <c:v>26977</c:v>
                </c:pt>
                <c:pt idx="11472">
                  <c:v>26980</c:v>
                </c:pt>
                <c:pt idx="11473">
                  <c:v>26981</c:v>
                </c:pt>
                <c:pt idx="11474">
                  <c:v>26982</c:v>
                </c:pt>
                <c:pt idx="11475">
                  <c:v>26983</c:v>
                </c:pt>
                <c:pt idx="11476">
                  <c:v>26984</c:v>
                </c:pt>
                <c:pt idx="11477">
                  <c:v>26987</c:v>
                </c:pt>
                <c:pt idx="11478">
                  <c:v>26988</c:v>
                </c:pt>
                <c:pt idx="11479">
                  <c:v>26989</c:v>
                </c:pt>
                <c:pt idx="11480">
                  <c:v>26991</c:v>
                </c:pt>
                <c:pt idx="11481">
                  <c:v>26994</c:v>
                </c:pt>
                <c:pt idx="11482">
                  <c:v>26995</c:v>
                </c:pt>
                <c:pt idx="11483">
                  <c:v>26996</c:v>
                </c:pt>
                <c:pt idx="11484">
                  <c:v>26997</c:v>
                </c:pt>
                <c:pt idx="11485">
                  <c:v>26998</c:v>
                </c:pt>
                <c:pt idx="11486">
                  <c:v>27001</c:v>
                </c:pt>
                <c:pt idx="11487">
                  <c:v>27002</c:v>
                </c:pt>
                <c:pt idx="11488">
                  <c:v>27003</c:v>
                </c:pt>
                <c:pt idx="11489">
                  <c:v>27004</c:v>
                </c:pt>
                <c:pt idx="11490">
                  <c:v>27005</c:v>
                </c:pt>
                <c:pt idx="11491">
                  <c:v>27008</c:v>
                </c:pt>
                <c:pt idx="11492">
                  <c:v>27009</c:v>
                </c:pt>
                <c:pt idx="11493">
                  <c:v>27010</c:v>
                </c:pt>
                <c:pt idx="11494">
                  <c:v>27011</c:v>
                </c:pt>
                <c:pt idx="11495">
                  <c:v>27012</c:v>
                </c:pt>
                <c:pt idx="11496">
                  <c:v>27015</c:v>
                </c:pt>
                <c:pt idx="11497">
                  <c:v>27016</c:v>
                </c:pt>
                <c:pt idx="11498">
                  <c:v>27017</c:v>
                </c:pt>
                <c:pt idx="11499">
                  <c:v>27018</c:v>
                </c:pt>
                <c:pt idx="11500">
                  <c:v>27019</c:v>
                </c:pt>
                <c:pt idx="11501">
                  <c:v>27022</c:v>
                </c:pt>
                <c:pt idx="11502">
                  <c:v>27024</c:v>
                </c:pt>
                <c:pt idx="11503">
                  <c:v>27025</c:v>
                </c:pt>
                <c:pt idx="11504">
                  <c:v>27026</c:v>
                </c:pt>
                <c:pt idx="11505">
                  <c:v>27029</c:v>
                </c:pt>
                <c:pt idx="11506">
                  <c:v>27031</c:v>
                </c:pt>
                <c:pt idx="11507">
                  <c:v>27032</c:v>
                </c:pt>
                <c:pt idx="11508">
                  <c:v>27033</c:v>
                </c:pt>
                <c:pt idx="11509">
                  <c:v>27036</c:v>
                </c:pt>
                <c:pt idx="11510">
                  <c:v>27037</c:v>
                </c:pt>
                <c:pt idx="11511">
                  <c:v>27038</c:v>
                </c:pt>
                <c:pt idx="11512">
                  <c:v>27039</c:v>
                </c:pt>
                <c:pt idx="11513">
                  <c:v>27040</c:v>
                </c:pt>
                <c:pt idx="11514">
                  <c:v>27043</c:v>
                </c:pt>
                <c:pt idx="11515">
                  <c:v>27044</c:v>
                </c:pt>
                <c:pt idx="11516">
                  <c:v>27045</c:v>
                </c:pt>
                <c:pt idx="11517">
                  <c:v>27046</c:v>
                </c:pt>
                <c:pt idx="11518">
                  <c:v>27047</c:v>
                </c:pt>
                <c:pt idx="11519">
                  <c:v>27050</c:v>
                </c:pt>
                <c:pt idx="11520">
                  <c:v>27051</c:v>
                </c:pt>
                <c:pt idx="11521">
                  <c:v>27052</c:v>
                </c:pt>
                <c:pt idx="11522">
                  <c:v>27053</c:v>
                </c:pt>
                <c:pt idx="11523">
                  <c:v>27054</c:v>
                </c:pt>
                <c:pt idx="11524">
                  <c:v>27057</c:v>
                </c:pt>
                <c:pt idx="11525">
                  <c:v>27058</c:v>
                </c:pt>
                <c:pt idx="11526">
                  <c:v>27059</c:v>
                </c:pt>
                <c:pt idx="11527">
                  <c:v>27060</c:v>
                </c:pt>
                <c:pt idx="11528">
                  <c:v>27061</c:v>
                </c:pt>
                <c:pt idx="11529">
                  <c:v>27064</c:v>
                </c:pt>
                <c:pt idx="11530">
                  <c:v>27065</c:v>
                </c:pt>
                <c:pt idx="11531">
                  <c:v>27066</c:v>
                </c:pt>
                <c:pt idx="11532">
                  <c:v>27067</c:v>
                </c:pt>
                <c:pt idx="11533">
                  <c:v>27068</c:v>
                </c:pt>
                <c:pt idx="11534">
                  <c:v>27071</c:v>
                </c:pt>
                <c:pt idx="11535">
                  <c:v>27072</c:v>
                </c:pt>
                <c:pt idx="11536">
                  <c:v>27073</c:v>
                </c:pt>
                <c:pt idx="11537">
                  <c:v>27074</c:v>
                </c:pt>
                <c:pt idx="11538">
                  <c:v>27075</c:v>
                </c:pt>
                <c:pt idx="11539">
                  <c:v>27079</c:v>
                </c:pt>
                <c:pt idx="11540">
                  <c:v>27080</c:v>
                </c:pt>
                <c:pt idx="11541">
                  <c:v>27081</c:v>
                </c:pt>
                <c:pt idx="11542">
                  <c:v>27082</c:v>
                </c:pt>
                <c:pt idx="11543">
                  <c:v>27085</c:v>
                </c:pt>
                <c:pt idx="11544">
                  <c:v>27086</c:v>
                </c:pt>
                <c:pt idx="11545">
                  <c:v>27087</c:v>
                </c:pt>
                <c:pt idx="11546">
                  <c:v>27088</c:v>
                </c:pt>
                <c:pt idx="11547">
                  <c:v>27089</c:v>
                </c:pt>
                <c:pt idx="11548">
                  <c:v>27092</c:v>
                </c:pt>
                <c:pt idx="11549">
                  <c:v>27093</c:v>
                </c:pt>
                <c:pt idx="11550">
                  <c:v>27094</c:v>
                </c:pt>
                <c:pt idx="11551">
                  <c:v>27095</c:v>
                </c:pt>
                <c:pt idx="11552">
                  <c:v>27096</c:v>
                </c:pt>
                <c:pt idx="11553">
                  <c:v>27099</c:v>
                </c:pt>
                <c:pt idx="11554">
                  <c:v>27100</c:v>
                </c:pt>
                <c:pt idx="11555">
                  <c:v>27101</c:v>
                </c:pt>
                <c:pt idx="11556">
                  <c:v>27102</c:v>
                </c:pt>
                <c:pt idx="11557">
                  <c:v>27103</c:v>
                </c:pt>
                <c:pt idx="11558">
                  <c:v>27106</c:v>
                </c:pt>
                <c:pt idx="11559">
                  <c:v>27107</c:v>
                </c:pt>
                <c:pt idx="11560">
                  <c:v>27108</c:v>
                </c:pt>
                <c:pt idx="11561">
                  <c:v>27109</c:v>
                </c:pt>
                <c:pt idx="11562">
                  <c:v>27110</c:v>
                </c:pt>
                <c:pt idx="11563">
                  <c:v>27113</c:v>
                </c:pt>
                <c:pt idx="11564">
                  <c:v>27114</c:v>
                </c:pt>
                <c:pt idx="11565">
                  <c:v>27115</c:v>
                </c:pt>
                <c:pt idx="11566">
                  <c:v>27116</c:v>
                </c:pt>
                <c:pt idx="11567">
                  <c:v>27117</c:v>
                </c:pt>
                <c:pt idx="11568">
                  <c:v>27120</c:v>
                </c:pt>
                <c:pt idx="11569">
                  <c:v>27121</c:v>
                </c:pt>
                <c:pt idx="11570">
                  <c:v>27122</c:v>
                </c:pt>
                <c:pt idx="11571">
                  <c:v>27123</c:v>
                </c:pt>
                <c:pt idx="11572">
                  <c:v>27124</c:v>
                </c:pt>
                <c:pt idx="11573">
                  <c:v>27127</c:v>
                </c:pt>
                <c:pt idx="11574">
                  <c:v>27128</c:v>
                </c:pt>
                <c:pt idx="11575">
                  <c:v>27129</c:v>
                </c:pt>
                <c:pt idx="11576">
                  <c:v>27130</c:v>
                </c:pt>
                <c:pt idx="11577">
                  <c:v>27134</c:v>
                </c:pt>
                <c:pt idx="11578">
                  <c:v>27135</c:v>
                </c:pt>
                <c:pt idx="11579">
                  <c:v>27136</c:v>
                </c:pt>
                <c:pt idx="11580">
                  <c:v>27137</c:v>
                </c:pt>
                <c:pt idx="11581">
                  <c:v>27138</c:v>
                </c:pt>
                <c:pt idx="11582">
                  <c:v>27141</c:v>
                </c:pt>
                <c:pt idx="11583">
                  <c:v>27142</c:v>
                </c:pt>
                <c:pt idx="11584">
                  <c:v>27143</c:v>
                </c:pt>
                <c:pt idx="11585">
                  <c:v>27144</c:v>
                </c:pt>
                <c:pt idx="11586">
                  <c:v>27145</c:v>
                </c:pt>
                <c:pt idx="11587">
                  <c:v>27148</c:v>
                </c:pt>
                <c:pt idx="11588">
                  <c:v>27149</c:v>
                </c:pt>
                <c:pt idx="11589">
                  <c:v>27150</c:v>
                </c:pt>
                <c:pt idx="11590">
                  <c:v>27151</c:v>
                </c:pt>
                <c:pt idx="11591">
                  <c:v>27152</c:v>
                </c:pt>
                <c:pt idx="11592">
                  <c:v>27155</c:v>
                </c:pt>
                <c:pt idx="11593">
                  <c:v>27156</c:v>
                </c:pt>
                <c:pt idx="11594">
                  <c:v>27157</c:v>
                </c:pt>
                <c:pt idx="11595">
                  <c:v>27158</c:v>
                </c:pt>
                <c:pt idx="11596">
                  <c:v>27159</c:v>
                </c:pt>
                <c:pt idx="11597">
                  <c:v>27162</c:v>
                </c:pt>
                <c:pt idx="11598">
                  <c:v>27163</c:v>
                </c:pt>
                <c:pt idx="11599">
                  <c:v>27164</c:v>
                </c:pt>
                <c:pt idx="11600">
                  <c:v>27165</c:v>
                </c:pt>
                <c:pt idx="11601">
                  <c:v>27166</c:v>
                </c:pt>
                <c:pt idx="11602">
                  <c:v>27169</c:v>
                </c:pt>
                <c:pt idx="11603">
                  <c:v>27170</c:v>
                </c:pt>
                <c:pt idx="11604">
                  <c:v>27171</c:v>
                </c:pt>
                <c:pt idx="11605">
                  <c:v>27172</c:v>
                </c:pt>
                <c:pt idx="11606">
                  <c:v>27173</c:v>
                </c:pt>
                <c:pt idx="11607">
                  <c:v>27177</c:v>
                </c:pt>
                <c:pt idx="11608">
                  <c:v>27178</c:v>
                </c:pt>
                <c:pt idx="11609">
                  <c:v>27179</c:v>
                </c:pt>
                <c:pt idx="11610">
                  <c:v>27180</c:v>
                </c:pt>
                <c:pt idx="11611">
                  <c:v>27183</c:v>
                </c:pt>
                <c:pt idx="11612">
                  <c:v>27184</c:v>
                </c:pt>
                <c:pt idx="11613">
                  <c:v>27185</c:v>
                </c:pt>
                <c:pt idx="11614">
                  <c:v>27186</c:v>
                </c:pt>
                <c:pt idx="11615">
                  <c:v>27187</c:v>
                </c:pt>
                <c:pt idx="11616">
                  <c:v>27190</c:v>
                </c:pt>
                <c:pt idx="11617">
                  <c:v>27191</c:v>
                </c:pt>
                <c:pt idx="11618">
                  <c:v>27192</c:v>
                </c:pt>
                <c:pt idx="11619">
                  <c:v>27193</c:v>
                </c:pt>
                <c:pt idx="11620">
                  <c:v>27194</c:v>
                </c:pt>
                <c:pt idx="11621">
                  <c:v>27197</c:v>
                </c:pt>
                <c:pt idx="11622">
                  <c:v>27198</c:v>
                </c:pt>
                <c:pt idx="11623">
                  <c:v>27199</c:v>
                </c:pt>
                <c:pt idx="11624">
                  <c:v>27200</c:v>
                </c:pt>
                <c:pt idx="11625">
                  <c:v>27201</c:v>
                </c:pt>
                <c:pt idx="11626">
                  <c:v>27204</c:v>
                </c:pt>
                <c:pt idx="11627">
                  <c:v>27205</c:v>
                </c:pt>
                <c:pt idx="11628">
                  <c:v>27206</c:v>
                </c:pt>
                <c:pt idx="11629">
                  <c:v>27207</c:v>
                </c:pt>
                <c:pt idx="11630">
                  <c:v>27208</c:v>
                </c:pt>
                <c:pt idx="11631">
                  <c:v>27211</c:v>
                </c:pt>
                <c:pt idx="11632">
                  <c:v>27212</c:v>
                </c:pt>
                <c:pt idx="11633">
                  <c:v>27213</c:v>
                </c:pt>
                <c:pt idx="11634">
                  <c:v>27215</c:v>
                </c:pt>
                <c:pt idx="11635">
                  <c:v>27218</c:v>
                </c:pt>
                <c:pt idx="11636">
                  <c:v>27219</c:v>
                </c:pt>
                <c:pt idx="11637">
                  <c:v>27220</c:v>
                </c:pt>
                <c:pt idx="11638">
                  <c:v>27221</c:v>
                </c:pt>
                <c:pt idx="11639">
                  <c:v>27222</c:v>
                </c:pt>
                <c:pt idx="11640">
                  <c:v>27225</c:v>
                </c:pt>
                <c:pt idx="11641">
                  <c:v>27226</c:v>
                </c:pt>
                <c:pt idx="11642">
                  <c:v>27227</c:v>
                </c:pt>
                <c:pt idx="11643">
                  <c:v>27228</c:v>
                </c:pt>
                <c:pt idx="11644">
                  <c:v>27229</c:v>
                </c:pt>
                <c:pt idx="11645">
                  <c:v>27232</c:v>
                </c:pt>
                <c:pt idx="11646">
                  <c:v>27233</c:v>
                </c:pt>
                <c:pt idx="11647">
                  <c:v>27234</c:v>
                </c:pt>
                <c:pt idx="11648">
                  <c:v>27235</c:v>
                </c:pt>
                <c:pt idx="11649">
                  <c:v>27236</c:v>
                </c:pt>
                <c:pt idx="11650">
                  <c:v>27239</c:v>
                </c:pt>
                <c:pt idx="11651">
                  <c:v>27240</c:v>
                </c:pt>
                <c:pt idx="11652">
                  <c:v>27241</c:v>
                </c:pt>
                <c:pt idx="11653">
                  <c:v>27242</c:v>
                </c:pt>
                <c:pt idx="11654">
                  <c:v>27243</c:v>
                </c:pt>
                <c:pt idx="11655">
                  <c:v>27246</c:v>
                </c:pt>
                <c:pt idx="11656">
                  <c:v>27247</c:v>
                </c:pt>
                <c:pt idx="11657">
                  <c:v>27248</c:v>
                </c:pt>
                <c:pt idx="11658">
                  <c:v>27249</c:v>
                </c:pt>
                <c:pt idx="11659">
                  <c:v>27250</c:v>
                </c:pt>
                <c:pt idx="11660">
                  <c:v>27253</c:v>
                </c:pt>
                <c:pt idx="11661">
                  <c:v>27254</c:v>
                </c:pt>
                <c:pt idx="11662">
                  <c:v>27255</c:v>
                </c:pt>
                <c:pt idx="11663">
                  <c:v>27256</c:v>
                </c:pt>
                <c:pt idx="11664">
                  <c:v>27257</c:v>
                </c:pt>
                <c:pt idx="11665">
                  <c:v>27260</c:v>
                </c:pt>
                <c:pt idx="11666">
                  <c:v>27261</c:v>
                </c:pt>
                <c:pt idx="11667">
                  <c:v>27262</c:v>
                </c:pt>
                <c:pt idx="11668">
                  <c:v>27263</c:v>
                </c:pt>
                <c:pt idx="11669">
                  <c:v>27264</c:v>
                </c:pt>
                <c:pt idx="11670">
                  <c:v>27267</c:v>
                </c:pt>
                <c:pt idx="11671">
                  <c:v>27268</c:v>
                </c:pt>
                <c:pt idx="11672">
                  <c:v>27269</c:v>
                </c:pt>
                <c:pt idx="11673">
                  <c:v>27270</c:v>
                </c:pt>
                <c:pt idx="11674">
                  <c:v>27271</c:v>
                </c:pt>
                <c:pt idx="11675">
                  <c:v>27275</c:v>
                </c:pt>
                <c:pt idx="11676">
                  <c:v>27276</c:v>
                </c:pt>
                <c:pt idx="11677">
                  <c:v>27277</c:v>
                </c:pt>
                <c:pt idx="11678">
                  <c:v>27278</c:v>
                </c:pt>
                <c:pt idx="11679">
                  <c:v>27281</c:v>
                </c:pt>
                <c:pt idx="11680">
                  <c:v>27282</c:v>
                </c:pt>
                <c:pt idx="11681">
                  <c:v>27283</c:v>
                </c:pt>
                <c:pt idx="11682">
                  <c:v>27284</c:v>
                </c:pt>
                <c:pt idx="11683">
                  <c:v>27285</c:v>
                </c:pt>
                <c:pt idx="11684">
                  <c:v>27288</c:v>
                </c:pt>
                <c:pt idx="11685">
                  <c:v>27289</c:v>
                </c:pt>
                <c:pt idx="11686">
                  <c:v>27290</c:v>
                </c:pt>
                <c:pt idx="11687">
                  <c:v>27291</c:v>
                </c:pt>
                <c:pt idx="11688">
                  <c:v>27292</c:v>
                </c:pt>
                <c:pt idx="11689">
                  <c:v>27295</c:v>
                </c:pt>
                <c:pt idx="11690">
                  <c:v>27296</c:v>
                </c:pt>
                <c:pt idx="11691">
                  <c:v>27297</c:v>
                </c:pt>
                <c:pt idx="11692">
                  <c:v>27298</c:v>
                </c:pt>
                <c:pt idx="11693">
                  <c:v>27299</c:v>
                </c:pt>
                <c:pt idx="11694">
                  <c:v>27302</c:v>
                </c:pt>
                <c:pt idx="11695">
                  <c:v>27303</c:v>
                </c:pt>
                <c:pt idx="11696">
                  <c:v>27304</c:v>
                </c:pt>
                <c:pt idx="11697">
                  <c:v>27305</c:v>
                </c:pt>
                <c:pt idx="11698">
                  <c:v>27306</c:v>
                </c:pt>
                <c:pt idx="11699">
                  <c:v>27309</c:v>
                </c:pt>
                <c:pt idx="11700">
                  <c:v>27310</c:v>
                </c:pt>
                <c:pt idx="11701">
                  <c:v>27311</c:v>
                </c:pt>
                <c:pt idx="11702">
                  <c:v>27312</c:v>
                </c:pt>
                <c:pt idx="11703">
                  <c:v>27313</c:v>
                </c:pt>
                <c:pt idx="11704">
                  <c:v>27316</c:v>
                </c:pt>
                <c:pt idx="11705">
                  <c:v>27317</c:v>
                </c:pt>
                <c:pt idx="11706">
                  <c:v>27318</c:v>
                </c:pt>
                <c:pt idx="11707">
                  <c:v>27319</c:v>
                </c:pt>
                <c:pt idx="11708">
                  <c:v>27320</c:v>
                </c:pt>
                <c:pt idx="11709">
                  <c:v>27323</c:v>
                </c:pt>
                <c:pt idx="11710">
                  <c:v>27324</c:v>
                </c:pt>
                <c:pt idx="11711">
                  <c:v>27325</c:v>
                </c:pt>
                <c:pt idx="11712">
                  <c:v>27326</c:v>
                </c:pt>
                <c:pt idx="11713">
                  <c:v>27327</c:v>
                </c:pt>
                <c:pt idx="11714">
                  <c:v>27330</c:v>
                </c:pt>
                <c:pt idx="11715">
                  <c:v>27331</c:v>
                </c:pt>
                <c:pt idx="11716">
                  <c:v>27332</c:v>
                </c:pt>
                <c:pt idx="11717">
                  <c:v>27333</c:v>
                </c:pt>
                <c:pt idx="11718">
                  <c:v>27334</c:v>
                </c:pt>
                <c:pt idx="11719">
                  <c:v>27337</c:v>
                </c:pt>
                <c:pt idx="11720">
                  <c:v>27338</c:v>
                </c:pt>
                <c:pt idx="11721">
                  <c:v>27339</c:v>
                </c:pt>
                <c:pt idx="11722">
                  <c:v>27340</c:v>
                </c:pt>
                <c:pt idx="11723">
                  <c:v>27341</c:v>
                </c:pt>
                <c:pt idx="11724">
                  <c:v>27344</c:v>
                </c:pt>
                <c:pt idx="11725">
                  <c:v>27345</c:v>
                </c:pt>
                <c:pt idx="11726">
                  <c:v>27346</c:v>
                </c:pt>
                <c:pt idx="11727">
                  <c:v>27347</c:v>
                </c:pt>
                <c:pt idx="11728">
                  <c:v>27348</c:v>
                </c:pt>
                <c:pt idx="11729">
                  <c:v>27351</c:v>
                </c:pt>
                <c:pt idx="11730">
                  <c:v>27352</c:v>
                </c:pt>
                <c:pt idx="11731">
                  <c:v>27353</c:v>
                </c:pt>
                <c:pt idx="11732">
                  <c:v>27354</c:v>
                </c:pt>
                <c:pt idx="11733">
                  <c:v>27355</c:v>
                </c:pt>
                <c:pt idx="11734">
                  <c:v>27358</c:v>
                </c:pt>
                <c:pt idx="11735">
                  <c:v>27359</c:v>
                </c:pt>
                <c:pt idx="11736">
                  <c:v>27360</c:v>
                </c:pt>
                <c:pt idx="11737">
                  <c:v>27362</c:v>
                </c:pt>
                <c:pt idx="11738">
                  <c:v>27365</c:v>
                </c:pt>
                <c:pt idx="11739">
                  <c:v>27366</c:v>
                </c:pt>
                <c:pt idx="11740">
                  <c:v>27367</c:v>
                </c:pt>
                <c:pt idx="11741">
                  <c:v>27368</c:v>
                </c:pt>
                <c:pt idx="11742">
                  <c:v>27369</c:v>
                </c:pt>
                <c:pt idx="11743">
                  <c:v>27372</c:v>
                </c:pt>
                <c:pt idx="11744">
                  <c:v>27373</c:v>
                </c:pt>
                <c:pt idx="11745">
                  <c:v>27374</c:v>
                </c:pt>
                <c:pt idx="11746">
                  <c:v>27375</c:v>
                </c:pt>
                <c:pt idx="11747">
                  <c:v>27376</c:v>
                </c:pt>
                <c:pt idx="11748">
                  <c:v>27379</c:v>
                </c:pt>
                <c:pt idx="11749">
                  <c:v>27380</c:v>
                </c:pt>
                <c:pt idx="11750">
                  <c:v>27381</c:v>
                </c:pt>
                <c:pt idx="11751">
                  <c:v>27382</c:v>
                </c:pt>
                <c:pt idx="11752">
                  <c:v>27383</c:v>
                </c:pt>
                <c:pt idx="11753">
                  <c:v>27386</c:v>
                </c:pt>
                <c:pt idx="11754">
                  <c:v>27387</c:v>
                </c:pt>
                <c:pt idx="11755">
                  <c:v>27389</c:v>
                </c:pt>
                <c:pt idx="11756">
                  <c:v>27390</c:v>
                </c:pt>
                <c:pt idx="11757">
                  <c:v>27393</c:v>
                </c:pt>
                <c:pt idx="11758">
                  <c:v>27394</c:v>
                </c:pt>
                <c:pt idx="11759">
                  <c:v>27396</c:v>
                </c:pt>
                <c:pt idx="11760">
                  <c:v>27397</c:v>
                </c:pt>
                <c:pt idx="11761">
                  <c:v>27400</c:v>
                </c:pt>
                <c:pt idx="11762">
                  <c:v>27401</c:v>
                </c:pt>
                <c:pt idx="11763">
                  <c:v>27402</c:v>
                </c:pt>
                <c:pt idx="11764">
                  <c:v>27403</c:v>
                </c:pt>
                <c:pt idx="11765">
                  <c:v>27404</c:v>
                </c:pt>
                <c:pt idx="11766">
                  <c:v>27407</c:v>
                </c:pt>
                <c:pt idx="11767">
                  <c:v>27408</c:v>
                </c:pt>
                <c:pt idx="11768">
                  <c:v>27409</c:v>
                </c:pt>
                <c:pt idx="11769">
                  <c:v>27410</c:v>
                </c:pt>
                <c:pt idx="11770">
                  <c:v>27411</c:v>
                </c:pt>
                <c:pt idx="11771">
                  <c:v>27414</c:v>
                </c:pt>
                <c:pt idx="11772">
                  <c:v>27415</c:v>
                </c:pt>
                <c:pt idx="11773">
                  <c:v>27416</c:v>
                </c:pt>
                <c:pt idx="11774">
                  <c:v>27417</c:v>
                </c:pt>
                <c:pt idx="11775">
                  <c:v>27418</c:v>
                </c:pt>
                <c:pt idx="11776">
                  <c:v>27421</c:v>
                </c:pt>
                <c:pt idx="11777">
                  <c:v>27422</c:v>
                </c:pt>
                <c:pt idx="11778">
                  <c:v>27423</c:v>
                </c:pt>
                <c:pt idx="11779">
                  <c:v>27424</c:v>
                </c:pt>
                <c:pt idx="11780">
                  <c:v>27425</c:v>
                </c:pt>
                <c:pt idx="11781">
                  <c:v>27428</c:v>
                </c:pt>
                <c:pt idx="11782">
                  <c:v>27429</c:v>
                </c:pt>
                <c:pt idx="11783">
                  <c:v>27430</c:v>
                </c:pt>
                <c:pt idx="11784">
                  <c:v>27431</c:v>
                </c:pt>
                <c:pt idx="11785">
                  <c:v>27432</c:v>
                </c:pt>
                <c:pt idx="11786">
                  <c:v>27435</c:v>
                </c:pt>
                <c:pt idx="11787">
                  <c:v>27436</c:v>
                </c:pt>
                <c:pt idx="11788">
                  <c:v>27437</c:v>
                </c:pt>
                <c:pt idx="11789">
                  <c:v>27438</c:v>
                </c:pt>
                <c:pt idx="11790">
                  <c:v>27439</c:v>
                </c:pt>
                <c:pt idx="11791">
                  <c:v>27443</c:v>
                </c:pt>
                <c:pt idx="11792">
                  <c:v>27444</c:v>
                </c:pt>
                <c:pt idx="11793">
                  <c:v>27445</c:v>
                </c:pt>
                <c:pt idx="11794">
                  <c:v>27446</c:v>
                </c:pt>
                <c:pt idx="11795">
                  <c:v>27449</c:v>
                </c:pt>
                <c:pt idx="11796">
                  <c:v>27450</c:v>
                </c:pt>
                <c:pt idx="11797">
                  <c:v>27451</c:v>
                </c:pt>
                <c:pt idx="11798">
                  <c:v>27452</c:v>
                </c:pt>
                <c:pt idx="11799">
                  <c:v>27453</c:v>
                </c:pt>
                <c:pt idx="11800">
                  <c:v>27456</c:v>
                </c:pt>
                <c:pt idx="11801">
                  <c:v>27457</c:v>
                </c:pt>
                <c:pt idx="11802">
                  <c:v>27458</c:v>
                </c:pt>
                <c:pt idx="11803">
                  <c:v>27459</c:v>
                </c:pt>
                <c:pt idx="11804">
                  <c:v>27460</c:v>
                </c:pt>
                <c:pt idx="11805">
                  <c:v>27463</c:v>
                </c:pt>
                <c:pt idx="11806">
                  <c:v>27464</c:v>
                </c:pt>
                <c:pt idx="11807">
                  <c:v>27465</c:v>
                </c:pt>
                <c:pt idx="11808">
                  <c:v>27466</c:v>
                </c:pt>
                <c:pt idx="11809">
                  <c:v>27467</c:v>
                </c:pt>
                <c:pt idx="11810">
                  <c:v>27470</c:v>
                </c:pt>
                <c:pt idx="11811">
                  <c:v>27471</c:v>
                </c:pt>
                <c:pt idx="11812">
                  <c:v>27472</c:v>
                </c:pt>
                <c:pt idx="11813">
                  <c:v>27473</c:v>
                </c:pt>
                <c:pt idx="11814">
                  <c:v>27474</c:v>
                </c:pt>
                <c:pt idx="11815">
                  <c:v>27477</c:v>
                </c:pt>
                <c:pt idx="11816">
                  <c:v>27478</c:v>
                </c:pt>
                <c:pt idx="11817">
                  <c:v>27479</c:v>
                </c:pt>
                <c:pt idx="11818">
                  <c:v>27480</c:v>
                </c:pt>
                <c:pt idx="11819">
                  <c:v>27484</c:v>
                </c:pt>
                <c:pt idx="11820">
                  <c:v>27485</c:v>
                </c:pt>
                <c:pt idx="11821">
                  <c:v>27486</c:v>
                </c:pt>
                <c:pt idx="11822">
                  <c:v>27487</c:v>
                </c:pt>
                <c:pt idx="11823">
                  <c:v>27488</c:v>
                </c:pt>
                <c:pt idx="11824">
                  <c:v>27491</c:v>
                </c:pt>
                <c:pt idx="11825">
                  <c:v>27492</c:v>
                </c:pt>
                <c:pt idx="11826">
                  <c:v>27493</c:v>
                </c:pt>
                <c:pt idx="11827">
                  <c:v>27494</c:v>
                </c:pt>
                <c:pt idx="11828">
                  <c:v>27495</c:v>
                </c:pt>
                <c:pt idx="11829">
                  <c:v>27498</c:v>
                </c:pt>
                <c:pt idx="11830">
                  <c:v>27499</c:v>
                </c:pt>
                <c:pt idx="11831">
                  <c:v>27500</c:v>
                </c:pt>
                <c:pt idx="11832">
                  <c:v>27501</c:v>
                </c:pt>
                <c:pt idx="11833">
                  <c:v>27502</c:v>
                </c:pt>
                <c:pt idx="11834">
                  <c:v>27505</c:v>
                </c:pt>
                <c:pt idx="11835">
                  <c:v>27506</c:v>
                </c:pt>
                <c:pt idx="11836">
                  <c:v>27507</c:v>
                </c:pt>
                <c:pt idx="11837">
                  <c:v>27508</c:v>
                </c:pt>
                <c:pt idx="11838">
                  <c:v>27509</c:v>
                </c:pt>
                <c:pt idx="11839">
                  <c:v>27512</c:v>
                </c:pt>
                <c:pt idx="11840">
                  <c:v>27513</c:v>
                </c:pt>
                <c:pt idx="11841">
                  <c:v>27514</c:v>
                </c:pt>
                <c:pt idx="11842">
                  <c:v>27515</c:v>
                </c:pt>
                <c:pt idx="11843">
                  <c:v>27516</c:v>
                </c:pt>
                <c:pt idx="11844">
                  <c:v>27519</c:v>
                </c:pt>
                <c:pt idx="11845">
                  <c:v>27520</c:v>
                </c:pt>
                <c:pt idx="11846">
                  <c:v>27521</c:v>
                </c:pt>
                <c:pt idx="11847">
                  <c:v>27522</c:v>
                </c:pt>
                <c:pt idx="11848">
                  <c:v>27523</c:v>
                </c:pt>
                <c:pt idx="11849">
                  <c:v>27526</c:v>
                </c:pt>
                <c:pt idx="11850">
                  <c:v>27527</c:v>
                </c:pt>
                <c:pt idx="11851">
                  <c:v>27528</c:v>
                </c:pt>
                <c:pt idx="11852">
                  <c:v>27529</c:v>
                </c:pt>
                <c:pt idx="11853">
                  <c:v>27530</c:v>
                </c:pt>
                <c:pt idx="11854">
                  <c:v>27533</c:v>
                </c:pt>
                <c:pt idx="11855">
                  <c:v>27534</c:v>
                </c:pt>
                <c:pt idx="11856">
                  <c:v>27535</c:v>
                </c:pt>
                <c:pt idx="11857">
                  <c:v>27536</c:v>
                </c:pt>
                <c:pt idx="11858">
                  <c:v>27537</c:v>
                </c:pt>
                <c:pt idx="11859">
                  <c:v>27541</c:v>
                </c:pt>
                <c:pt idx="11860">
                  <c:v>27542</c:v>
                </c:pt>
                <c:pt idx="11861">
                  <c:v>27543</c:v>
                </c:pt>
                <c:pt idx="11862">
                  <c:v>27544</c:v>
                </c:pt>
                <c:pt idx="11863">
                  <c:v>27547</c:v>
                </c:pt>
                <c:pt idx="11864">
                  <c:v>27548</c:v>
                </c:pt>
                <c:pt idx="11865">
                  <c:v>27549</c:v>
                </c:pt>
                <c:pt idx="11866">
                  <c:v>27550</c:v>
                </c:pt>
                <c:pt idx="11867">
                  <c:v>27551</c:v>
                </c:pt>
                <c:pt idx="11868">
                  <c:v>27554</c:v>
                </c:pt>
                <c:pt idx="11869">
                  <c:v>27555</c:v>
                </c:pt>
                <c:pt idx="11870">
                  <c:v>27556</c:v>
                </c:pt>
                <c:pt idx="11871">
                  <c:v>27557</c:v>
                </c:pt>
                <c:pt idx="11872">
                  <c:v>27558</c:v>
                </c:pt>
                <c:pt idx="11873">
                  <c:v>27561</c:v>
                </c:pt>
                <c:pt idx="11874">
                  <c:v>27562</c:v>
                </c:pt>
                <c:pt idx="11875">
                  <c:v>27563</c:v>
                </c:pt>
                <c:pt idx="11876">
                  <c:v>27564</c:v>
                </c:pt>
                <c:pt idx="11877">
                  <c:v>27565</c:v>
                </c:pt>
                <c:pt idx="11878">
                  <c:v>27568</c:v>
                </c:pt>
                <c:pt idx="11879">
                  <c:v>27569</c:v>
                </c:pt>
                <c:pt idx="11880">
                  <c:v>27570</c:v>
                </c:pt>
                <c:pt idx="11881">
                  <c:v>27571</c:v>
                </c:pt>
                <c:pt idx="11882">
                  <c:v>27572</c:v>
                </c:pt>
                <c:pt idx="11883">
                  <c:v>27575</c:v>
                </c:pt>
                <c:pt idx="11884">
                  <c:v>27576</c:v>
                </c:pt>
                <c:pt idx="11885">
                  <c:v>27577</c:v>
                </c:pt>
                <c:pt idx="11886">
                  <c:v>27578</c:v>
                </c:pt>
                <c:pt idx="11887">
                  <c:v>27582</c:v>
                </c:pt>
                <c:pt idx="11888">
                  <c:v>27583</c:v>
                </c:pt>
                <c:pt idx="11889">
                  <c:v>27584</c:v>
                </c:pt>
                <c:pt idx="11890">
                  <c:v>27585</c:v>
                </c:pt>
                <c:pt idx="11891">
                  <c:v>27586</c:v>
                </c:pt>
                <c:pt idx="11892">
                  <c:v>27589</c:v>
                </c:pt>
                <c:pt idx="11893">
                  <c:v>27590</c:v>
                </c:pt>
                <c:pt idx="11894">
                  <c:v>27591</c:v>
                </c:pt>
                <c:pt idx="11895">
                  <c:v>27592</c:v>
                </c:pt>
                <c:pt idx="11896">
                  <c:v>27593</c:v>
                </c:pt>
                <c:pt idx="11897">
                  <c:v>27596</c:v>
                </c:pt>
                <c:pt idx="11898">
                  <c:v>27597</c:v>
                </c:pt>
                <c:pt idx="11899">
                  <c:v>27598</c:v>
                </c:pt>
                <c:pt idx="11900">
                  <c:v>27599</c:v>
                </c:pt>
                <c:pt idx="11901">
                  <c:v>27600</c:v>
                </c:pt>
                <c:pt idx="11902">
                  <c:v>27603</c:v>
                </c:pt>
                <c:pt idx="11903">
                  <c:v>27604</c:v>
                </c:pt>
                <c:pt idx="11904">
                  <c:v>27605</c:v>
                </c:pt>
                <c:pt idx="11905">
                  <c:v>27606</c:v>
                </c:pt>
                <c:pt idx="11906">
                  <c:v>27607</c:v>
                </c:pt>
                <c:pt idx="11907">
                  <c:v>27610</c:v>
                </c:pt>
                <c:pt idx="11908">
                  <c:v>27611</c:v>
                </c:pt>
                <c:pt idx="11909">
                  <c:v>27612</c:v>
                </c:pt>
                <c:pt idx="11910">
                  <c:v>27613</c:v>
                </c:pt>
                <c:pt idx="11911">
                  <c:v>27614</c:v>
                </c:pt>
                <c:pt idx="11912">
                  <c:v>27617</c:v>
                </c:pt>
                <c:pt idx="11913">
                  <c:v>27618</c:v>
                </c:pt>
                <c:pt idx="11914">
                  <c:v>27619</c:v>
                </c:pt>
                <c:pt idx="11915">
                  <c:v>27620</c:v>
                </c:pt>
                <c:pt idx="11916">
                  <c:v>27621</c:v>
                </c:pt>
                <c:pt idx="11917">
                  <c:v>27624</c:v>
                </c:pt>
                <c:pt idx="11918">
                  <c:v>27625</c:v>
                </c:pt>
                <c:pt idx="11919">
                  <c:v>27626</c:v>
                </c:pt>
                <c:pt idx="11920">
                  <c:v>27627</c:v>
                </c:pt>
                <c:pt idx="11921">
                  <c:v>27628</c:v>
                </c:pt>
                <c:pt idx="11922">
                  <c:v>27631</c:v>
                </c:pt>
                <c:pt idx="11923">
                  <c:v>27632</c:v>
                </c:pt>
                <c:pt idx="11924">
                  <c:v>27633</c:v>
                </c:pt>
                <c:pt idx="11925">
                  <c:v>27634</c:v>
                </c:pt>
                <c:pt idx="11926">
                  <c:v>27635</c:v>
                </c:pt>
                <c:pt idx="11927">
                  <c:v>27639</c:v>
                </c:pt>
                <c:pt idx="11928">
                  <c:v>27640</c:v>
                </c:pt>
                <c:pt idx="11929">
                  <c:v>27641</c:v>
                </c:pt>
                <c:pt idx="11930">
                  <c:v>27642</c:v>
                </c:pt>
                <c:pt idx="11931">
                  <c:v>27645</c:v>
                </c:pt>
                <c:pt idx="11932">
                  <c:v>27646</c:v>
                </c:pt>
                <c:pt idx="11933">
                  <c:v>27647</c:v>
                </c:pt>
                <c:pt idx="11934">
                  <c:v>27648</c:v>
                </c:pt>
                <c:pt idx="11935">
                  <c:v>27649</c:v>
                </c:pt>
                <c:pt idx="11936">
                  <c:v>27652</c:v>
                </c:pt>
                <c:pt idx="11937">
                  <c:v>27653</c:v>
                </c:pt>
                <c:pt idx="11938">
                  <c:v>27654</c:v>
                </c:pt>
                <c:pt idx="11939">
                  <c:v>27655</c:v>
                </c:pt>
                <c:pt idx="11940">
                  <c:v>27656</c:v>
                </c:pt>
                <c:pt idx="11941">
                  <c:v>27659</c:v>
                </c:pt>
                <c:pt idx="11942">
                  <c:v>27660</c:v>
                </c:pt>
                <c:pt idx="11943">
                  <c:v>27661</c:v>
                </c:pt>
                <c:pt idx="11944">
                  <c:v>27662</c:v>
                </c:pt>
                <c:pt idx="11945">
                  <c:v>27663</c:v>
                </c:pt>
                <c:pt idx="11946">
                  <c:v>27666</c:v>
                </c:pt>
                <c:pt idx="11947">
                  <c:v>27667</c:v>
                </c:pt>
                <c:pt idx="11948">
                  <c:v>27668</c:v>
                </c:pt>
                <c:pt idx="11949">
                  <c:v>27669</c:v>
                </c:pt>
                <c:pt idx="11950">
                  <c:v>27670</c:v>
                </c:pt>
                <c:pt idx="11951">
                  <c:v>27673</c:v>
                </c:pt>
                <c:pt idx="11952">
                  <c:v>27674</c:v>
                </c:pt>
                <c:pt idx="11953">
                  <c:v>27675</c:v>
                </c:pt>
                <c:pt idx="11954">
                  <c:v>27676</c:v>
                </c:pt>
                <c:pt idx="11955">
                  <c:v>27677</c:v>
                </c:pt>
                <c:pt idx="11956">
                  <c:v>27680</c:v>
                </c:pt>
                <c:pt idx="11957">
                  <c:v>27681</c:v>
                </c:pt>
                <c:pt idx="11958">
                  <c:v>27682</c:v>
                </c:pt>
                <c:pt idx="11959">
                  <c:v>27683</c:v>
                </c:pt>
                <c:pt idx="11960">
                  <c:v>27684</c:v>
                </c:pt>
                <c:pt idx="11961">
                  <c:v>27687</c:v>
                </c:pt>
                <c:pt idx="11962">
                  <c:v>27688</c:v>
                </c:pt>
                <c:pt idx="11963">
                  <c:v>27689</c:v>
                </c:pt>
                <c:pt idx="11964">
                  <c:v>27690</c:v>
                </c:pt>
                <c:pt idx="11965">
                  <c:v>27691</c:v>
                </c:pt>
                <c:pt idx="11966">
                  <c:v>27694</c:v>
                </c:pt>
                <c:pt idx="11967">
                  <c:v>27695</c:v>
                </c:pt>
                <c:pt idx="11968">
                  <c:v>27696</c:v>
                </c:pt>
                <c:pt idx="11969">
                  <c:v>27697</c:v>
                </c:pt>
                <c:pt idx="11970">
                  <c:v>27698</c:v>
                </c:pt>
                <c:pt idx="11971">
                  <c:v>27701</c:v>
                </c:pt>
                <c:pt idx="11972">
                  <c:v>27702</c:v>
                </c:pt>
                <c:pt idx="11973">
                  <c:v>27703</c:v>
                </c:pt>
                <c:pt idx="11974">
                  <c:v>27704</c:v>
                </c:pt>
                <c:pt idx="11975">
                  <c:v>27705</c:v>
                </c:pt>
                <c:pt idx="11976">
                  <c:v>27708</c:v>
                </c:pt>
                <c:pt idx="11977">
                  <c:v>27709</c:v>
                </c:pt>
                <c:pt idx="11978">
                  <c:v>27710</c:v>
                </c:pt>
                <c:pt idx="11979">
                  <c:v>27711</c:v>
                </c:pt>
                <c:pt idx="11980">
                  <c:v>27712</c:v>
                </c:pt>
                <c:pt idx="11981">
                  <c:v>27715</c:v>
                </c:pt>
                <c:pt idx="11982">
                  <c:v>27716</c:v>
                </c:pt>
                <c:pt idx="11983">
                  <c:v>27717</c:v>
                </c:pt>
                <c:pt idx="11984">
                  <c:v>27718</c:v>
                </c:pt>
                <c:pt idx="11985">
                  <c:v>27719</c:v>
                </c:pt>
                <c:pt idx="11986">
                  <c:v>27722</c:v>
                </c:pt>
                <c:pt idx="11987">
                  <c:v>27723</c:v>
                </c:pt>
                <c:pt idx="11988">
                  <c:v>27724</c:v>
                </c:pt>
                <c:pt idx="11989">
                  <c:v>27726</c:v>
                </c:pt>
                <c:pt idx="11990">
                  <c:v>27729</c:v>
                </c:pt>
                <c:pt idx="11991">
                  <c:v>27730</c:v>
                </c:pt>
                <c:pt idx="11992">
                  <c:v>27731</c:v>
                </c:pt>
                <c:pt idx="11993">
                  <c:v>27732</c:v>
                </c:pt>
                <c:pt idx="11994">
                  <c:v>27733</c:v>
                </c:pt>
                <c:pt idx="11995">
                  <c:v>27736</c:v>
                </c:pt>
                <c:pt idx="11996">
                  <c:v>27737</c:v>
                </c:pt>
                <c:pt idx="11997">
                  <c:v>27738</c:v>
                </c:pt>
                <c:pt idx="11998">
                  <c:v>27739</c:v>
                </c:pt>
                <c:pt idx="11999">
                  <c:v>27740</c:v>
                </c:pt>
                <c:pt idx="12000">
                  <c:v>27743</c:v>
                </c:pt>
                <c:pt idx="12001">
                  <c:v>27744</c:v>
                </c:pt>
                <c:pt idx="12002">
                  <c:v>27745</c:v>
                </c:pt>
                <c:pt idx="12003">
                  <c:v>27746</c:v>
                </c:pt>
                <c:pt idx="12004">
                  <c:v>27747</c:v>
                </c:pt>
                <c:pt idx="12005">
                  <c:v>27750</c:v>
                </c:pt>
                <c:pt idx="12006">
                  <c:v>27751</c:v>
                </c:pt>
                <c:pt idx="12007">
                  <c:v>27752</c:v>
                </c:pt>
                <c:pt idx="12008">
                  <c:v>27754</c:v>
                </c:pt>
                <c:pt idx="12009">
                  <c:v>27757</c:v>
                </c:pt>
                <c:pt idx="12010">
                  <c:v>27758</c:v>
                </c:pt>
                <c:pt idx="12011">
                  <c:v>27759</c:v>
                </c:pt>
                <c:pt idx="12012">
                  <c:v>27761</c:v>
                </c:pt>
                <c:pt idx="12013">
                  <c:v>27764</c:v>
                </c:pt>
                <c:pt idx="12014">
                  <c:v>27765</c:v>
                </c:pt>
                <c:pt idx="12015">
                  <c:v>27766</c:v>
                </c:pt>
                <c:pt idx="12016">
                  <c:v>27767</c:v>
                </c:pt>
                <c:pt idx="12017">
                  <c:v>27768</c:v>
                </c:pt>
                <c:pt idx="12018">
                  <c:v>27771</c:v>
                </c:pt>
                <c:pt idx="12019">
                  <c:v>27772</c:v>
                </c:pt>
                <c:pt idx="12020">
                  <c:v>27773</c:v>
                </c:pt>
                <c:pt idx="12021">
                  <c:v>27774</c:v>
                </c:pt>
                <c:pt idx="12022">
                  <c:v>27775</c:v>
                </c:pt>
                <c:pt idx="12023">
                  <c:v>27778</c:v>
                </c:pt>
                <c:pt idx="12024">
                  <c:v>27779</c:v>
                </c:pt>
                <c:pt idx="12025">
                  <c:v>27780</c:v>
                </c:pt>
                <c:pt idx="12026">
                  <c:v>27781</c:v>
                </c:pt>
                <c:pt idx="12027">
                  <c:v>27782</c:v>
                </c:pt>
                <c:pt idx="12028">
                  <c:v>27785</c:v>
                </c:pt>
                <c:pt idx="12029">
                  <c:v>27786</c:v>
                </c:pt>
                <c:pt idx="12030">
                  <c:v>27787</c:v>
                </c:pt>
                <c:pt idx="12031">
                  <c:v>27788</c:v>
                </c:pt>
                <c:pt idx="12032">
                  <c:v>27789</c:v>
                </c:pt>
                <c:pt idx="12033">
                  <c:v>27792</c:v>
                </c:pt>
                <c:pt idx="12034">
                  <c:v>27793</c:v>
                </c:pt>
                <c:pt idx="12035">
                  <c:v>27794</c:v>
                </c:pt>
                <c:pt idx="12036">
                  <c:v>27795</c:v>
                </c:pt>
                <c:pt idx="12037">
                  <c:v>27796</c:v>
                </c:pt>
                <c:pt idx="12038">
                  <c:v>27799</c:v>
                </c:pt>
                <c:pt idx="12039">
                  <c:v>27800</c:v>
                </c:pt>
                <c:pt idx="12040">
                  <c:v>27801</c:v>
                </c:pt>
                <c:pt idx="12041">
                  <c:v>27802</c:v>
                </c:pt>
                <c:pt idx="12042">
                  <c:v>27803</c:v>
                </c:pt>
                <c:pt idx="12043">
                  <c:v>27807</c:v>
                </c:pt>
                <c:pt idx="12044">
                  <c:v>27808</c:v>
                </c:pt>
                <c:pt idx="12045">
                  <c:v>27809</c:v>
                </c:pt>
                <c:pt idx="12046">
                  <c:v>27810</c:v>
                </c:pt>
                <c:pt idx="12047">
                  <c:v>27813</c:v>
                </c:pt>
                <c:pt idx="12048">
                  <c:v>27814</c:v>
                </c:pt>
                <c:pt idx="12049">
                  <c:v>27815</c:v>
                </c:pt>
                <c:pt idx="12050">
                  <c:v>27816</c:v>
                </c:pt>
                <c:pt idx="12051">
                  <c:v>27817</c:v>
                </c:pt>
                <c:pt idx="12052">
                  <c:v>27820</c:v>
                </c:pt>
                <c:pt idx="12053">
                  <c:v>27821</c:v>
                </c:pt>
                <c:pt idx="12054">
                  <c:v>27822</c:v>
                </c:pt>
                <c:pt idx="12055">
                  <c:v>27823</c:v>
                </c:pt>
                <c:pt idx="12056">
                  <c:v>27824</c:v>
                </c:pt>
                <c:pt idx="12057">
                  <c:v>27827</c:v>
                </c:pt>
                <c:pt idx="12058">
                  <c:v>27828</c:v>
                </c:pt>
                <c:pt idx="12059">
                  <c:v>27829</c:v>
                </c:pt>
                <c:pt idx="12060">
                  <c:v>27830</c:v>
                </c:pt>
                <c:pt idx="12061">
                  <c:v>27831</c:v>
                </c:pt>
                <c:pt idx="12062">
                  <c:v>27834</c:v>
                </c:pt>
                <c:pt idx="12063">
                  <c:v>27835</c:v>
                </c:pt>
                <c:pt idx="12064">
                  <c:v>27836</c:v>
                </c:pt>
                <c:pt idx="12065">
                  <c:v>27837</c:v>
                </c:pt>
                <c:pt idx="12066">
                  <c:v>27838</c:v>
                </c:pt>
                <c:pt idx="12067">
                  <c:v>27841</c:v>
                </c:pt>
                <c:pt idx="12068">
                  <c:v>27842</c:v>
                </c:pt>
                <c:pt idx="12069">
                  <c:v>27843</c:v>
                </c:pt>
                <c:pt idx="12070">
                  <c:v>27844</c:v>
                </c:pt>
                <c:pt idx="12071">
                  <c:v>27845</c:v>
                </c:pt>
                <c:pt idx="12072">
                  <c:v>27848</c:v>
                </c:pt>
                <c:pt idx="12073">
                  <c:v>27849</c:v>
                </c:pt>
                <c:pt idx="12074">
                  <c:v>27850</c:v>
                </c:pt>
                <c:pt idx="12075">
                  <c:v>27851</c:v>
                </c:pt>
                <c:pt idx="12076">
                  <c:v>27852</c:v>
                </c:pt>
                <c:pt idx="12077">
                  <c:v>27855</c:v>
                </c:pt>
                <c:pt idx="12078">
                  <c:v>27856</c:v>
                </c:pt>
                <c:pt idx="12079">
                  <c:v>27857</c:v>
                </c:pt>
                <c:pt idx="12080">
                  <c:v>27858</c:v>
                </c:pt>
                <c:pt idx="12081">
                  <c:v>27859</c:v>
                </c:pt>
                <c:pt idx="12082">
                  <c:v>27862</c:v>
                </c:pt>
                <c:pt idx="12083">
                  <c:v>27863</c:v>
                </c:pt>
                <c:pt idx="12084">
                  <c:v>27864</c:v>
                </c:pt>
                <c:pt idx="12085">
                  <c:v>27865</c:v>
                </c:pt>
                <c:pt idx="12086">
                  <c:v>27869</c:v>
                </c:pt>
                <c:pt idx="12087">
                  <c:v>27870</c:v>
                </c:pt>
                <c:pt idx="12088">
                  <c:v>27871</c:v>
                </c:pt>
                <c:pt idx="12089">
                  <c:v>27872</c:v>
                </c:pt>
                <c:pt idx="12090">
                  <c:v>27873</c:v>
                </c:pt>
                <c:pt idx="12091">
                  <c:v>27876</c:v>
                </c:pt>
                <c:pt idx="12092">
                  <c:v>27877</c:v>
                </c:pt>
                <c:pt idx="12093">
                  <c:v>27878</c:v>
                </c:pt>
                <c:pt idx="12094">
                  <c:v>27879</c:v>
                </c:pt>
                <c:pt idx="12095">
                  <c:v>27880</c:v>
                </c:pt>
                <c:pt idx="12096">
                  <c:v>27883</c:v>
                </c:pt>
                <c:pt idx="12097">
                  <c:v>27884</c:v>
                </c:pt>
                <c:pt idx="12098">
                  <c:v>27885</c:v>
                </c:pt>
                <c:pt idx="12099">
                  <c:v>27886</c:v>
                </c:pt>
                <c:pt idx="12100">
                  <c:v>27887</c:v>
                </c:pt>
                <c:pt idx="12101">
                  <c:v>27890</c:v>
                </c:pt>
                <c:pt idx="12102">
                  <c:v>27891</c:v>
                </c:pt>
                <c:pt idx="12103">
                  <c:v>27892</c:v>
                </c:pt>
                <c:pt idx="12104">
                  <c:v>27893</c:v>
                </c:pt>
                <c:pt idx="12105">
                  <c:v>27894</c:v>
                </c:pt>
                <c:pt idx="12106">
                  <c:v>27897</c:v>
                </c:pt>
                <c:pt idx="12107">
                  <c:v>27898</c:v>
                </c:pt>
                <c:pt idx="12108">
                  <c:v>27899</c:v>
                </c:pt>
                <c:pt idx="12109">
                  <c:v>27900</c:v>
                </c:pt>
                <c:pt idx="12110">
                  <c:v>27901</c:v>
                </c:pt>
                <c:pt idx="12111">
                  <c:v>27904</c:v>
                </c:pt>
                <c:pt idx="12112">
                  <c:v>27905</c:v>
                </c:pt>
                <c:pt idx="12113">
                  <c:v>27906</c:v>
                </c:pt>
                <c:pt idx="12114">
                  <c:v>27907</c:v>
                </c:pt>
                <c:pt idx="12115">
                  <c:v>27908</c:v>
                </c:pt>
                <c:pt idx="12116">
                  <c:v>27912</c:v>
                </c:pt>
                <c:pt idx="12117">
                  <c:v>27913</c:v>
                </c:pt>
                <c:pt idx="12118">
                  <c:v>27914</c:v>
                </c:pt>
                <c:pt idx="12119">
                  <c:v>27915</c:v>
                </c:pt>
                <c:pt idx="12120">
                  <c:v>27918</c:v>
                </c:pt>
                <c:pt idx="12121">
                  <c:v>27919</c:v>
                </c:pt>
                <c:pt idx="12122">
                  <c:v>27920</c:v>
                </c:pt>
                <c:pt idx="12123">
                  <c:v>27921</c:v>
                </c:pt>
                <c:pt idx="12124">
                  <c:v>27922</c:v>
                </c:pt>
                <c:pt idx="12125">
                  <c:v>27925</c:v>
                </c:pt>
                <c:pt idx="12126">
                  <c:v>27926</c:v>
                </c:pt>
                <c:pt idx="12127">
                  <c:v>27927</c:v>
                </c:pt>
                <c:pt idx="12128">
                  <c:v>27928</c:v>
                </c:pt>
                <c:pt idx="12129">
                  <c:v>27929</c:v>
                </c:pt>
                <c:pt idx="12130">
                  <c:v>27932</c:v>
                </c:pt>
                <c:pt idx="12131">
                  <c:v>27933</c:v>
                </c:pt>
                <c:pt idx="12132">
                  <c:v>27934</c:v>
                </c:pt>
                <c:pt idx="12133">
                  <c:v>27935</c:v>
                </c:pt>
                <c:pt idx="12134">
                  <c:v>27936</c:v>
                </c:pt>
                <c:pt idx="12135">
                  <c:v>27939</c:v>
                </c:pt>
                <c:pt idx="12136">
                  <c:v>27940</c:v>
                </c:pt>
                <c:pt idx="12137">
                  <c:v>27941</c:v>
                </c:pt>
                <c:pt idx="12138">
                  <c:v>27942</c:v>
                </c:pt>
                <c:pt idx="12139">
                  <c:v>27943</c:v>
                </c:pt>
                <c:pt idx="12140">
                  <c:v>27947</c:v>
                </c:pt>
                <c:pt idx="12141">
                  <c:v>27948</c:v>
                </c:pt>
                <c:pt idx="12142">
                  <c:v>27949</c:v>
                </c:pt>
                <c:pt idx="12143">
                  <c:v>27950</c:v>
                </c:pt>
                <c:pt idx="12144">
                  <c:v>27953</c:v>
                </c:pt>
                <c:pt idx="12145">
                  <c:v>27954</c:v>
                </c:pt>
                <c:pt idx="12146">
                  <c:v>27955</c:v>
                </c:pt>
                <c:pt idx="12147">
                  <c:v>27956</c:v>
                </c:pt>
                <c:pt idx="12148">
                  <c:v>27957</c:v>
                </c:pt>
                <c:pt idx="12149">
                  <c:v>27960</c:v>
                </c:pt>
                <c:pt idx="12150">
                  <c:v>27961</c:v>
                </c:pt>
                <c:pt idx="12151">
                  <c:v>27962</c:v>
                </c:pt>
                <c:pt idx="12152">
                  <c:v>27963</c:v>
                </c:pt>
                <c:pt idx="12153">
                  <c:v>27964</c:v>
                </c:pt>
                <c:pt idx="12154">
                  <c:v>27967</c:v>
                </c:pt>
                <c:pt idx="12155">
                  <c:v>27968</c:v>
                </c:pt>
                <c:pt idx="12156">
                  <c:v>27969</c:v>
                </c:pt>
                <c:pt idx="12157">
                  <c:v>27970</c:v>
                </c:pt>
                <c:pt idx="12158">
                  <c:v>27971</c:v>
                </c:pt>
                <c:pt idx="12159">
                  <c:v>27974</c:v>
                </c:pt>
                <c:pt idx="12160">
                  <c:v>27975</c:v>
                </c:pt>
                <c:pt idx="12161">
                  <c:v>27976</c:v>
                </c:pt>
                <c:pt idx="12162">
                  <c:v>27977</c:v>
                </c:pt>
                <c:pt idx="12163">
                  <c:v>27978</c:v>
                </c:pt>
                <c:pt idx="12164">
                  <c:v>27981</c:v>
                </c:pt>
                <c:pt idx="12165">
                  <c:v>27982</c:v>
                </c:pt>
                <c:pt idx="12166">
                  <c:v>27983</c:v>
                </c:pt>
                <c:pt idx="12167">
                  <c:v>27984</c:v>
                </c:pt>
                <c:pt idx="12168">
                  <c:v>27985</c:v>
                </c:pt>
                <c:pt idx="12169">
                  <c:v>27988</c:v>
                </c:pt>
                <c:pt idx="12170">
                  <c:v>27989</c:v>
                </c:pt>
                <c:pt idx="12171">
                  <c:v>27990</c:v>
                </c:pt>
                <c:pt idx="12172">
                  <c:v>27991</c:v>
                </c:pt>
                <c:pt idx="12173">
                  <c:v>27992</c:v>
                </c:pt>
                <c:pt idx="12174">
                  <c:v>27995</c:v>
                </c:pt>
                <c:pt idx="12175">
                  <c:v>27996</c:v>
                </c:pt>
                <c:pt idx="12176">
                  <c:v>27997</c:v>
                </c:pt>
                <c:pt idx="12177">
                  <c:v>27998</c:v>
                </c:pt>
                <c:pt idx="12178">
                  <c:v>27999</c:v>
                </c:pt>
                <c:pt idx="12179">
                  <c:v>28002</c:v>
                </c:pt>
                <c:pt idx="12180">
                  <c:v>28003</c:v>
                </c:pt>
                <c:pt idx="12181">
                  <c:v>28004</c:v>
                </c:pt>
                <c:pt idx="12182">
                  <c:v>28005</c:v>
                </c:pt>
                <c:pt idx="12183">
                  <c:v>28006</c:v>
                </c:pt>
                <c:pt idx="12184">
                  <c:v>28010</c:v>
                </c:pt>
                <c:pt idx="12185">
                  <c:v>28011</c:v>
                </c:pt>
                <c:pt idx="12186">
                  <c:v>28012</c:v>
                </c:pt>
                <c:pt idx="12187">
                  <c:v>28013</c:v>
                </c:pt>
                <c:pt idx="12188">
                  <c:v>28016</c:v>
                </c:pt>
                <c:pt idx="12189">
                  <c:v>28017</c:v>
                </c:pt>
                <c:pt idx="12190">
                  <c:v>28018</c:v>
                </c:pt>
                <c:pt idx="12191">
                  <c:v>28019</c:v>
                </c:pt>
                <c:pt idx="12192">
                  <c:v>28020</c:v>
                </c:pt>
                <c:pt idx="12193">
                  <c:v>28023</c:v>
                </c:pt>
                <c:pt idx="12194">
                  <c:v>28024</c:v>
                </c:pt>
                <c:pt idx="12195">
                  <c:v>28025</c:v>
                </c:pt>
                <c:pt idx="12196">
                  <c:v>28026</c:v>
                </c:pt>
                <c:pt idx="12197">
                  <c:v>28027</c:v>
                </c:pt>
                <c:pt idx="12198">
                  <c:v>28030</c:v>
                </c:pt>
                <c:pt idx="12199">
                  <c:v>28031</c:v>
                </c:pt>
                <c:pt idx="12200">
                  <c:v>28032</c:v>
                </c:pt>
                <c:pt idx="12201">
                  <c:v>28033</c:v>
                </c:pt>
                <c:pt idx="12202">
                  <c:v>28034</c:v>
                </c:pt>
                <c:pt idx="12203">
                  <c:v>28037</c:v>
                </c:pt>
                <c:pt idx="12204">
                  <c:v>28038</c:v>
                </c:pt>
                <c:pt idx="12205">
                  <c:v>28039</c:v>
                </c:pt>
                <c:pt idx="12206">
                  <c:v>28040</c:v>
                </c:pt>
                <c:pt idx="12207">
                  <c:v>28041</c:v>
                </c:pt>
                <c:pt idx="12208">
                  <c:v>28044</c:v>
                </c:pt>
                <c:pt idx="12209">
                  <c:v>28045</c:v>
                </c:pt>
                <c:pt idx="12210">
                  <c:v>28046</c:v>
                </c:pt>
                <c:pt idx="12211">
                  <c:v>28047</c:v>
                </c:pt>
                <c:pt idx="12212">
                  <c:v>28048</c:v>
                </c:pt>
                <c:pt idx="12213">
                  <c:v>28051</c:v>
                </c:pt>
                <c:pt idx="12214">
                  <c:v>28052</c:v>
                </c:pt>
                <c:pt idx="12215">
                  <c:v>28053</c:v>
                </c:pt>
                <c:pt idx="12216">
                  <c:v>28054</c:v>
                </c:pt>
                <c:pt idx="12217">
                  <c:v>28055</c:v>
                </c:pt>
                <c:pt idx="12218">
                  <c:v>28058</c:v>
                </c:pt>
                <c:pt idx="12219">
                  <c:v>28059</c:v>
                </c:pt>
                <c:pt idx="12220">
                  <c:v>28060</c:v>
                </c:pt>
                <c:pt idx="12221">
                  <c:v>28061</c:v>
                </c:pt>
                <c:pt idx="12222">
                  <c:v>28062</c:v>
                </c:pt>
                <c:pt idx="12223">
                  <c:v>28065</c:v>
                </c:pt>
                <c:pt idx="12224">
                  <c:v>28067</c:v>
                </c:pt>
                <c:pt idx="12225">
                  <c:v>28068</c:v>
                </c:pt>
                <c:pt idx="12226">
                  <c:v>28069</c:v>
                </c:pt>
                <c:pt idx="12227">
                  <c:v>28072</c:v>
                </c:pt>
                <c:pt idx="12228">
                  <c:v>28073</c:v>
                </c:pt>
                <c:pt idx="12229">
                  <c:v>28074</c:v>
                </c:pt>
                <c:pt idx="12230">
                  <c:v>28075</c:v>
                </c:pt>
                <c:pt idx="12231">
                  <c:v>28076</c:v>
                </c:pt>
                <c:pt idx="12232">
                  <c:v>28079</c:v>
                </c:pt>
                <c:pt idx="12233">
                  <c:v>28080</c:v>
                </c:pt>
                <c:pt idx="12234">
                  <c:v>28081</c:v>
                </c:pt>
                <c:pt idx="12235">
                  <c:v>28082</c:v>
                </c:pt>
                <c:pt idx="12236">
                  <c:v>28083</c:v>
                </c:pt>
                <c:pt idx="12237">
                  <c:v>28086</c:v>
                </c:pt>
                <c:pt idx="12238">
                  <c:v>28087</c:v>
                </c:pt>
                <c:pt idx="12239">
                  <c:v>28088</c:v>
                </c:pt>
                <c:pt idx="12240">
                  <c:v>28090</c:v>
                </c:pt>
                <c:pt idx="12241">
                  <c:v>28093</c:v>
                </c:pt>
                <c:pt idx="12242">
                  <c:v>28094</c:v>
                </c:pt>
                <c:pt idx="12243">
                  <c:v>28095</c:v>
                </c:pt>
                <c:pt idx="12244">
                  <c:v>28096</c:v>
                </c:pt>
                <c:pt idx="12245">
                  <c:v>28097</c:v>
                </c:pt>
                <c:pt idx="12246">
                  <c:v>28100</c:v>
                </c:pt>
                <c:pt idx="12247">
                  <c:v>28101</c:v>
                </c:pt>
                <c:pt idx="12248">
                  <c:v>28102</c:v>
                </c:pt>
                <c:pt idx="12249">
                  <c:v>28103</c:v>
                </c:pt>
                <c:pt idx="12250">
                  <c:v>28104</c:v>
                </c:pt>
                <c:pt idx="12251">
                  <c:v>28107</c:v>
                </c:pt>
                <c:pt idx="12252">
                  <c:v>28108</c:v>
                </c:pt>
                <c:pt idx="12253">
                  <c:v>28109</c:v>
                </c:pt>
                <c:pt idx="12254">
                  <c:v>28110</c:v>
                </c:pt>
                <c:pt idx="12255">
                  <c:v>28111</c:v>
                </c:pt>
                <c:pt idx="12256">
                  <c:v>28114</c:v>
                </c:pt>
                <c:pt idx="12257">
                  <c:v>28115</c:v>
                </c:pt>
                <c:pt idx="12258">
                  <c:v>28116</c:v>
                </c:pt>
                <c:pt idx="12259">
                  <c:v>28117</c:v>
                </c:pt>
                <c:pt idx="12260">
                  <c:v>28121</c:v>
                </c:pt>
                <c:pt idx="12261">
                  <c:v>28122</c:v>
                </c:pt>
                <c:pt idx="12262">
                  <c:v>28123</c:v>
                </c:pt>
                <c:pt idx="12263">
                  <c:v>28124</c:v>
                </c:pt>
                <c:pt idx="12264">
                  <c:v>28125</c:v>
                </c:pt>
                <c:pt idx="12265">
                  <c:v>28128</c:v>
                </c:pt>
                <c:pt idx="12266">
                  <c:v>28129</c:v>
                </c:pt>
                <c:pt idx="12267">
                  <c:v>28130</c:v>
                </c:pt>
                <c:pt idx="12268">
                  <c:v>28131</c:v>
                </c:pt>
                <c:pt idx="12269">
                  <c:v>28132</c:v>
                </c:pt>
                <c:pt idx="12270">
                  <c:v>28135</c:v>
                </c:pt>
                <c:pt idx="12271">
                  <c:v>28136</c:v>
                </c:pt>
                <c:pt idx="12272">
                  <c:v>28137</c:v>
                </c:pt>
                <c:pt idx="12273">
                  <c:v>28138</c:v>
                </c:pt>
                <c:pt idx="12274">
                  <c:v>28139</c:v>
                </c:pt>
                <c:pt idx="12275">
                  <c:v>28142</c:v>
                </c:pt>
                <c:pt idx="12276">
                  <c:v>28143</c:v>
                </c:pt>
                <c:pt idx="12277">
                  <c:v>28144</c:v>
                </c:pt>
                <c:pt idx="12278">
                  <c:v>28145</c:v>
                </c:pt>
                <c:pt idx="12279">
                  <c:v>28146</c:v>
                </c:pt>
                <c:pt idx="12280">
                  <c:v>28149</c:v>
                </c:pt>
                <c:pt idx="12281">
                  <c:v>28150</c:v>
                </c:pt>
                <c:pt idx="12282">
                  <c:v>28151</c:v>
                </c:pt>
                <c:pt idx="12283">
                  <c:v>28152</c:v>
                </c:pt>
                <c:pt idx="12284">
                  <c:v>28153</c:v>
                </c:pt>
                <c:pt idx="12285">
                  <c:v>28156</c:v>
                </c:pt>
                <c:pt idx="12286">
                  <c:v>28157</c:v>
                </c:pt>
                <c:pt idx="12287">
                  <c:v>28158</c:v>
                </c:pt>
                <c:pt idx="12288">
                  <c:v>28159</c:v>
                </c:pt>
                <c:pt idx="12289">
                  <c:v>28160</c:v>
                </c:pt>
                <c:pt idx="12290">
                  <c:v>28163</c:v>
                </c:pt>
                <c:pt idx="12291">
                  <c:v>28164</c:v>
                </c:pt>
                <c:pt idx="12292">
                  <c:v>28165</c:v>
                </c:pt>
                <c:pt idx="12293">
                  <c:v>28166</c:v>
                </c:pt>
                <c:pt idx="12294">
                  <c:v>28167</c:v>
                </c:pt>
                <c:pt idx="12295">
                  <c:v>28170</c:v>
                </c:pt>
                <c:pt idx="12296">
                  <c:v>28171</c:v>
                </c:pt>
                <c:pt idx="12297">
                  <c:v>28172</c:v>
                </c:pt>
                <c:pt idx="12298">
                  <c:v>28173</c:v>
                </c:pt>
                <c:pt idx="12299">
                  <c:v>28174</c:v>
                </c:pt>
                <c:pt idx="12300">
                  <c:v>28178</c:v>
                </c:pt>
                <c:pt idx="12301">
                  <c:v>28179</c:v>
                </c:pt>
                <c:pt idx="12302">
                  <c:v>28180</c:v>
                </c:pt>
                <c:pt idx="12303">
                  <c:v>28181</c:v>
                </c:pt>
                <c:pt idx="12304">
                  <c:v>28184</c:v>
                </c:pt>
                <c:pt idx="12305">
                  <c:v>28185</c:v>
                </c:pt>
                <c:pt idx="12306">
                  <c:v>28186</c:v>
                </c:pt>
                <c:pt idx="12307">
                  <c:v>28187</c:v>
                </c:pt>
                <c:pt idx="12308">
                  <c:v>28188</c:v>
                </c:pt>
                <c:pt idx="12309">
                  <c:v>28191</c:v>
                </c:pt>
                <c:pt idx="12310">
                  <c:v>28192</c:v>
                </c:pt>
                <c:pt idx="12311">
                  <c:v>28193</c:v>
                </c:pt>
                <c:pt idx="12312">
                  <c:v>28194</c:v>
                </c:pt>
                <c:pt idx="12313">
                  <c:v>28195</c:v>
                </c:pt>
                <c:pt idx="12314">
                  <c:v>28198</c:v>
                </c:pt>
                <c:pt idx="12315">
                  <c:v>28199</c:v>
                </c:pt>
                <c:pt idx="12316">
                  <c:v>28200</c:v>
                </c:pt>
                <c:pt idx="12317">
                  <c:v>28201</c:v>
                </c:pt>
                <c:pt idx="12318">
                  <c:v>28202</c:v>
                </c:pt>
                <c:pt idx="12319">
                  <c:v>28205</c:v>
                </c:pt>
                <c:pt idx="12320">
                  <c:v>28206</c:v>
                </c:pt>
                <c:pt idx="12321">
                  <c:v>28207</c:v>
                </c:pt>
                <c:pt idx="12322">
                  <c:v>28208</c:v>
                </c:pt>
                <c:pt idx="12323">
                  <c:v>28209</c:v>
                </c:pt>
                <c:pt idx="12324">
                  <c:v>28212</c:v>
                </c:pt>
                <c:pt idx="12325">
                  <c:v>28213</c:v>
                </c:pt>
                <c:pt idx="12326">
                  <c:v>28214</c:v>
                </c:pt>
                <c:pt idx="12327">
                  <c:v>28215</c:v>
                </c:pt>
                <c:pt idx="12328">
                  <c:v>28216</c:v>
                </c:pt>
                <c:pt idx="12329">
                  <c:v>28219</c:v>
                </c:pt>
                <c:pt idx="12330">
                  <c:v>28220</c:v>
                </c:pt>
                <c:pt idx="12331">
                  <c:v>28221</c:v>
                </c:pt>
                <c:pt idx="12332">
                  <c:v>28222</c:v>
                </c:pt>
                <c:pt idx="12333">
                  <c:v>28226</c:v>
                </c:pt>
                <c:pt idx="12334">
                  <c:v>28227</c:v>
                </c:pt>
                <c:pt idx="12335">
                  <c:v>28228</c:v>
                </c:pt>
                <c:pt idx="12336">
                  <c:v>28229</c:v>
                </c:pt>
                <c:pt idx="12337">
                  <c:v>28230</c:v>
                </c:pt>
                <c:pt idx="12338">
                  <c:v>28233</c:v>
                </c:pt>
                <c:pt idx="12339">
                  <c:v>28234</c:v>
                </c:pt>
                <c:pt idx="12340">
                  <c:v>28235</c:v>
                </c:pt>
                <c:pt idx="12341">
                  <c:v>28236</c:v>
                </c:pt>
                <c:pt idx="12342">
                  <c:v>28237</c:v>
                </c:pt>
                <c:pt idx="12343">
                  <c:v>28240</c:v>
                </c:pt>
                <c:pt idx="12344">
                  <c:v>28241</c:v>
                </c:pt>
                <c:pt idx="12345">
                  <c:v>28242</c:v>
                </c:pt>
                <c:pt idx="12346">
                  <c:v>28243</c:v>
                </c:pt>
                <c:pt idx="12347">
                  <c:v>28244</c:v>
                </c:pt>
                <c:pt idx="12348">
                  <c:v>28247</c:v>
                </c:pt>
                <c:pt idx="12349">
                  <c:v>28248</c:v>
                </c:pt>
                <c:pt idx="12350">
                  <c:v>28249</c:v>
                </c:pt>
                <c:pt idx="12351">
                  <c:v>28250</c:v>
                </c:pt>
                <c:pt idx="12352">
                  <c:v>28251</c:v>
                </c:pt>
                <c:pt idx="12353">
                  <c:v>28254</c:v>
                </c:pt>
                <c:pt idx="12354">
                  <c:v>28255</c:v>
                </c:pt>
                <c:pt idx="12355">
                  <c:v>28256</c:v>
                </c:pt>
                <c:pt idx="12356">
                  <c:v>28257</c:v>
                </c:pt>
                <c:pt idx="12357">
                  <c:v>28258</c:v>
                </c:pt>
                <c:pt idx="12358">
                  <c:v>28261</c:v>
                </c:pt>
                <c:pt idx="12359">
                  <c:v>28262</c:v>
                </c:pt>
                <c:pt idx="12360">
                  <c:v>28263</c:v>
                </c:pt>
                <c:pt idx="12361">
                  <c:v>28264</c:v>
                </c:pt>
                <c:pt idx="12362">
                  <c:v>28265</c:v>
                </c:pt>
                <c:pt idx="12363">
                  <c:v>28268</c:v>
                </c:pt>
                <c:pt idx="12364">
                  <c:v>28269</c:v>
                </c:pt>
                <c:pt idx="12365">
                  <c:v>28270</c:v>
                </c:pt>
                <c:pt idx="12366">
                  <c:v>28271</c:v>
                </c:pt>
                <c:pt idx="12367">
                  <c:v>28272</c:v>
                </c:pt>
                <c:pt idx="12368">
                  <c:v>28276</c:v>
                </c:pt>
                <c:pt idx="12369">
                  <c:v>28277</c:v>
                </c:pt>
                <c:pt idx="12370">
                  <c:v>28278</c:v>
                </c:pt>
                <c:pt idx="12371">
                  <c:v>28279</c:v>
                </c:pt>
                <c:pt idx="12372">
                  <c:v>28282</c:v>
                </c:pt>
                <c:pt idx="12373">
                  <c:v>28283</c:v>
                </c:pt>
                <c:pt idx="12374">
                  <c:v>28284</c:v>
                </c:pt>
                <c:pt idx="12375">
                  <c:v>28285</c:v>
                </c:pt>
                <c:pt idx="12376">
                  <c:v>28286</c:v>
                </c:pt>
                <c:pt idx="12377">
                  <c:v>28289</c:v>
                </c:pt>
                <c:pt idx="12378">
                  <c:v>28290</c:v>
                </c:pt>
                <c:pt idx="12379">
                  <c:v>28291</c:v>
                </c:pt>
                <c:pt idx="12380">
                  <c:v>28292</c:v>
                </c:pt>
                <c:pt idx="12381">
                  <c:v>28293</c:v>
                </c:pt>
                <c:pt idx="12382">
                  <c:v>28296</c:v>
                </c:pt>
                <c:pt idx="12383">
                  <c:v>28297</c:v>
                </c:pt>
                <c:pt idx="12384">
                  <c:v>28298</c:v>
                </c:pt>
                <c:pt idx="12385">
                  <c:v>28299</c:v>
                </c:pt>
                <c:pt idx="12386">
                  <c:v>28300</c:v>
                </c:pt>
                <c:pt idx="12387">
                  <c:v>28303</c:v>
                </c:pt>
                <c:pt idx="12388">
                  <c:v>28304</c:v>
                </c:pt>
                <c:pt idx="12389">
                  <c:v>28305</c:v>
                </c:pt>
                <c:pt idx="12390">
                  <c:v>28306</c:v>
                </c:pt>
                <c:pt idx="12391">
                  <c:v>28307</c:v>
                </c:pt>
                <c:pt idx="12392">
                  <c:v>28311</c:v>
                </c:pt>
                <c:pt idx="12393">
                  <c:v>28312</c:v>
                </c:pt>
                <c:pt idx="12394">
                  <c:v>28313</c:v>
                </c:pt>
                <c:pt idx="12395">
                  <c:v>28314</c:v>
                </c:pt>
                <c:pt idx="12396">
                  <c:v>28317</c:v>
                </c:pt>
                <c:pt idx="12397">
                  <c:v>28318</c:v>
                </c:pt>
                <c:pt idx="12398">
                  <c:v>28319</c:v>
                </c:pt>
                <c:pt idx="12399">
                  <c:v>28321</c:v>
                </c:pt>
                <c:pt idx="12400">
                  <c:v>28324</c:v>
                </c:pt>
                <c:pt idx="12401">
                  <c:v>28325</c:v>
                </c:pt>
                <c:pt idx="12402">
                  <c:v>28326</c:v>
                </c:pt>
                <c:pt idx="12403">
                  <c:v>28327</c:v>
                </c:pt>
                <c:pt idx="12404">
                  <c:v>28328</c:v>
                </c:pt>
                <c:pt idx="12405">
                  <c:v>28331</c:v>
                </c:pt>
                <c:pt idx="12406">
                  <c:v>28332</c:v>
                </c:pt>
                <c:pt idx="12407">
                  <c:v>28333</c:v>
                </c:pt>
                <c:pt idx="12408">
                  <c:v>28334</c:v>
                </c:pt>
                <c:pt idx="12409">
                  <c:v>28335</c:v>
                </c:pt>
                <c:pt idx="12410">
                  <c:v>28338</c:v>
                </c:pt>
                <c:pt idx="12411">
                  <c:v>28339</c:v>
                </c:pt>
                <c:pt idx="12412">
                  <c:v>28340</c:v>
                </c:pt>
                <c:pt idx="12413">
                  <c:v>28341</c:v>
                </c:pt>
                <c:pt idx="12414">
                  <c:v>28342</c:v>
                </c:pt>
                <c:pt idx="12415">
                  <c:v>28345</c:v>
                </c:pt>
                <c:pt idx="12416">
                  <c:v>28346</c:v>
                </c:pt>
                <c:pt idx="12417">
                  <c:v>28347</c:v>
                </c:pt>
                <c:pt idx="12418">
                  <c:v>28348</c:v>
                </c:pt>
                <c:pt idx="12419">
                  <c:v>28349</c:v>
                </c:pt>
                <c:pt idx="12420">
                  <c:v>28352</c:v>
                </c:pt>
                <c:pt idx="12421">
                  <c:v>28353</c:v>
                </c:pt>
                <c:pt idx="12422">
                  <c:v>28354</c:v>
                </c:pt>
                <c:pt idx="12423">
                  <c:v>28355</c:v>
                </c:pt>
                <c:pt idx="12424">
                  <c:v>28356</c:v>
                </c:pt>
                <c:pt idx="12425">
                  <c:v>28359</c:v>
                </c:pt>
                <c:pt idx="12426">
                  <c:v>28360</c:v>
                </c:pt>
                <c:pt idx="12427">
                  <c:v>28361</c:v>
                </c:pt>
                <c:pt idx="12428">
                  <c:v>28362</c:v>
                </c:pt>
                <c:pt idx="12429">
                  <c:v>28363</c:v>
                </c:pt>
                <c:pt idx="12430">
                  <c:v>28366</c:v>
                </c:pt>
                <c:pt idx="12431">
                  <c:v>28367</c:v>
                </c:pt>
                <c:pt idx="12432">
                  <c:v>28368</c:v>
                </c:pt>
                <c:pt idx="12433">
                  <c:v>28369</c:v>
                </c:pt>
                <c:pt idx="12434">
                  <c:v>28370</c:v>
                </c:pt>
                <c:pt idx="12435">
                  <c:v>28374</c:v>
                </c:pt>
                <c:pt idx="12436">
                  <c:v>28375</c:v>
                </c:pt>
                <c:pt idx="12437">
                  <c:v>28376</c:v>
                </c:pt>
                <c:pt idx="12438">
                  <c:v>28377</c:v>
                </c:pt>
                <c:pt idx="12439">
                  <c:v>28380</c:v>
                </c:pt>
                <c:pt idx="12440">
                  <c:v>28381</c:v>
                </c:pt>
                <c:pt idx="12441">
                  <c:v>28382</c:v>
                </c:pt>
                <c:pt idx="12442">
                  <c:v>28383</c:v>
                </c:pt>
                <c:pt idx="12443">
                  <c:v>28384</c:v>
                </c:pt>
                <c:pt idx="12444">
                  <c:v>28387</c:v>
                </c:pt>
                <c:pt idx="12445">
                  <c:v>28388</c:v>
                </c:pt>
                <c:pt idx="12446">
                  <c:v>28389</c:v>
                </c:pt>
                <c:pt idx="12447">
                  <c:v>28390</c:v>
                </c:pt>
                <c:pt idx="12448">
                  <c:v>28391</c:v>
                </c:pt>
                <c:pt idx="12449">
                  <c:v>28394</c:v>
                </c:pt>
                <c:pt idx="12450">
                  <c:v>28395</c:v>
                </c:pt>
                <c:pt idx="12451">
                  <c:v>28396</c:v>
                </c:pt>
                <c:pt idx="12452">
                  <c:v>28397</c:v>
                </c:pt>
                <c:pt idx="12453">
                  <c:v>28398</c:v>
                </c:pt>
                <c:pt idx="12454">
                  <c:v>28401</c:v>
                </c:pt>
                <c:pt idx="12455">
                  <c:v>28402</c:v>
                </c:pt>
                <c:pt idx="12456">
                  <c:v>28403</c:v>
                </c:pt>
                <c:pt idx="12457">
                  <c:v>28404</c:v>
                </c:pt>
                <c:pt idx="12458">
                  <c:v>28405</c:v>
                </c:pt>
                <c:pt idx="12459">
                  <c:v>28408</c:v>
                </c:pt>
                <c:pt idx="12460">
                  <c:v>28409</c:v>
                </c:pt>
                <c:pt idx="12461">
                  <c:v>28410</c:v>
                </c:pt>
                <c:pt idx="12462">
                  <c:v>28411</c:v>
                </c:pt>
                <c:pt idx="12463">
                  <c:v>28412</c:v>
                </c:pt>
                <c:pt idx="12464">
                  <c:v>28415</c:v>
                </c:pt>
                <c:pt idx="12465">
                  <c:v>28416</c:v>
                </c:pt>
                <c:pt idx="12466">
                  <c:v>28417</c:v>
                </c:pt>
                <c:pt idx="12467">
                  <c:v>28418</c:v>
                </c:pt>
                <c:pt idx="12468">
                  <c:v>28419</c:v>
                </c:pt>
                <c:pt idx="12469">
                  <c:v>28422</c:v>
                </c:pt>
                <c:pt idx="12470">
                  <c:v>28423</c:v>
                </c:pt>
                <c:pt idx="12471">
                  <c:v>28424</c:v>
                </c:pt>
                <c:pt idx="12472">
                  <c:v>28425</c:v>
                </c:pt>
                <c:pt idx="12473">
                  <c:v>28426</c:v>
                </c:pt>
                <c:pt idx="12474">
                  <c:v>28429</c:v>
                </c:pt>
                <c:pt idx="12475">
                  <c:v>28430</c:v>
                </c:pt>
                <c:pt idx="12476">
                  <c:v>28431</c:v>
                </c:pt>
                <c:pt idx="12477">
                  <c:v>28432</c:v>
                </c:pt>
                <c:pt idx="12478">
                  <c:v>28433</c:v>
                </c:pt>
                <c:pt idx="12479">
                  <c:v>28436</c:v>
                </c:pt>
                <c:pt idx="12480">
                  <c:v>28437</c:v>
                </c:pt>
                <c:pt idx="12481">
                  <c:v>28438</c:v>
                </c:pt>
                <c:pt idx="12482">
                  <c:v>28439</c:v>
                </c:pt>
                <c:pt idx="12483">
                  <c:v>28440</c:v>
                </c:pt>
                <c:pt idx="12484">
                  <c:v>28443</c:v>
                </c:pt>
                <c:pt idx="12485">
                  <c:v>28444</c:v>
                </c:pt>
                <c:pt idx="12486">
                  <c:v>28445</c:v>
                </c:pt>
                <c:pt idx="12487">
                  <c:v>28446</c:v>
                </c:pt>
                <c:pt idx="12488">
                  <c:v>28447</c:v>
                </c:pt>
                <c:pt idx="12489">
                  <c:v>28450</c:v>
                </c:pt>
                <c:pt idx="12490">
                  <c:v>28451</c:v>
                </c:pt>
                <c:pt idx="12491">
                  <c:v>28452</c:v>
                </c:pt>
                <c:pt idx="12492">
                  <c:v>28454</c:v>
                </c:pt>
                <c:pt idx="12493">
                  <c:v>28457</c:v>
                </c:pt>
                <c:pt idx="12494">
                  <c:v>28458</c:v>
                </c:pt>
                <c:pt idx="12495">
                  <c:v>28459</c:v>
                </c:pt>
                <c:pt idx="12496">
                  <c:v>28460</c:v>
                </c:pt>
                <c:pt idx="12497">
                  <c:v>28461</c:v>
                </c:pt>
                <c:pt idx="12498">
                  <c:v>28464</c:v>
                </c:pt>
                <c:pt idx="12499">
                  <c:v>28465</c:v>
                </c:pt>
                <c:pt idx="12500">
                  <c:v>28466</c:v>
                </c:pt>
                <c:pt idx="12501">
                  <c:v>28467</c:v>
                </c:pt>
                <c:pt idx="12502">
                  <c:v>28468</c:v>
                </c:pt>
                <c:pt idx="12503">
                  <c:v>28471</c:v>
                </c:pt>
                <c:pt idx="12504">
                  <c:v>28472</c:v>
                </c:pt>
                <c:pt idx="12505">
                  <c:v>28473</c:v>
                </c:pt>
                <c:pt idx="12506">
                  <c:v>28474</c:v>
                </c:pt>
                <c:pt idx="12507">
                  <c:v>28475</c:v>
                </c:pt>
                <c:pt idx="12508">
                  <c:v>28478</c:v>
                </c:pt>
                <c:pt idx="12509">
                  <c:v>28479</c:v>
                </c:pt>
                <c:pt idx="12510">
                  <c:v>28480</c:v>
                </c:pt>
                <c:pt idx="12511">
                  <c:v>28481</c:v>
                </c:pt>
                <c:pt idx="12512">
                  <c:v>28482</c:v>
                </c:pt>
                <c:pt idx="12513">
                  <c:v>28486</c:v>
                </c:pt>
                <c:pt idx="12514">
                  <c:v>28487</c:v>
                </c:pt>
                <c:pt idx="12515">
                  <c:v>28488</c:v>
                </c:pt>
                <c:pt idx="12516">
                  <c:v>28489</c:v>
                </c:pt>
                <c:pt idx="12517">
                  <c:v>28493</c:v>
                </c:pt>
                <c:pt idx="12518">
                  <c:v>28494</c:v>
                </c:pt>
                <c:pt idx="12519">
                  <c:v>28495</c:v>
                </c:pt>
                <c:pt idx="12520">
                  <c:v>28496</c:v>
                </c:pt>
                <c:pt idx="12521">
                  <c:v>28499</c:v>
                </c:pt>
                <c:pt idx="12522">
                  <c:v>28500</c:v>
                </c:pt>
                <c:pt idx="12523">
                  <c:v>28501</c:v>
                </c:pt>
                <c:pt idx="12524">
                  <c:v>28502</c:v>
                </c:pt>
                <c:pt idx="12525">
                  <c:v>28503</c:v>
                </c:pt>
                <c:pt idx="12526">
                  <c:v>28506</c:v>
                </c:pt>
                <c:pt idx="12527">
                  <c:v>28507</c:v>
                </c:pt>
                <c:pt idx="12528">
                  <c:v>28508</c:v>
                </c:pt>
                <c:pt idx="12529">
                  <c:v>28509</c:v>
                </c:pt>
                <c:pt idx="12530">
                  <c:v>28510</c:v>
                </c:pt>
                <c:pt idx="12531">
                  <c:v>28513</c:v>
                </c:pt>
                <c:pt idx="12532">
                  <c:v>28514</c:v>
                </c:pt>
                <c:pt idx="12533">
                  <c:v>28515</c:v>
                </c:pt>
                <c:pt idx="12534">
                  <c:v>28516</c:v>
                </c:pt>
                <c:pt idx="12535">
                  <c:v>28517</c:v>
                </c:pt>
                <c:pt idx="12536">
                  <c:v>28520</c:v>
                </c:pt>
                <c:pt idx="12537">
                  <c:v>28521</c:v>
                </c:pt>
                <c:pt idx="12538">
                  <c:v>28522</c:v>
                </c:pt>
                <c:pt idx="12539">
                  <c:v>28523</c:v>
                </c:pt>
                <c:pt idx="12540">
                  <c:v>28524</c:v>
                </c:pt>
                <c:pt idx="12541">
                  <c:v>28527</c:v>
                </c:pt>
                <c:pt idx="12542">
                  <c:v>28528</c:v>
                </c:pt>
                <c:pt idx="12543">
                  <c:v>28529</c:v>
                </c:pt>
                <c:pt idx="12544">
                  <c:v>28530</c:v>
                </c:pt>
                <c:pt idx="12545">
                  <c:v>28531</c:v>
                </c:pt>
                <c:pt idx="12546">
                  <c:v>28534</c:v>
                </c:pt>
                <c:pt idx="12547">
                  <c:v>28535</c:v>
                </c:pt>
                <c:pt idx="12548">
                  <c:v>28536</c:v>
                </c:pt>
                <c:pt idx="12549">
                  <c:v>28537</c:v>
                </c:pt>
                <c:pt idx="12550">
                  <c:v>28538</c:v>
                </c:pt>
                <c:pt idx="12551">
                  <c:v>28542</c:v>
                </c:pt>
                <c:pt idx="12552">
                  <c:v>28543</c:v>
                </c:pt>
                <c:pt idx="12553">
                  <c:v>28544</c:v>
                </c:pt>
                <c:pt idx="12554">
                  <c:v>28545</c:v>
                </c:pt>
                <c:pt idx="12555">
                  <c:v>28548</c:v>
                </c:pt>
                <c:pt idx="12556">
                  <c:v>28549</c:v>
                </c:pt>
                <c:pt idx="12557">
                  <c:v>28550</c:v>
                </c:pt>
                <c:pt idx="12558">
                  <c:v>28551</c:v>
                </c:pt>
                <c:pt idx="12559">
                  <c:v>28552</c:v>
                </c:pt>
                <c:pt idx="12560">
                  <c:v>28555</c:v>
                </c:pt>
                <c:pt idx="12561">
                  <c:v>28556</c:v>
                </c:pt>
                <c:pt idx="12562">
                  <c:v>28557</c:v>
                </c:pt>
                <c:pt idx="12563">
                  <c:v>28558</c:v>
                </c:pt>
                <c:pt idx="12564">
                  <c:v>28559</c:v>
                </c:pt>
                <c:pt idx="12565">
                  <c:v>28562</c:v>
                </c:pt>
                <c:pt idx="12566">
                  <c:v>28563</c:v>
                </c:pt>
                <c:pt idx="12567">
                  <c:v>28564</c:v>
                </c:pt>
                <c:pt idx="12568">
                  <c:v>28565</c:v>
                </c:pt>
                <c:pt idx="12569">
                  <c:v>28566</c:v>
                </c:pt>
                <c:pt idx="12570">
                  <c:v>28569</c:v>
                </c:pt>
                <c:pt idx="12571">
                  <c:v>28570</c:v>
                </c:pt>
                <c:pt idx="12572">
                  <c:v>28571</c:v>
                </c:pt>
                <c:pt idx="12573">
                  <c:v>28572</c:v>
                </c:pt>
                <c:pt idx="12574">
                  <c:v>28576</c:v>
                </c:pt>
                <c:pt idx="12575">
                  <c:v>28577</c:v>
                </c:pt>
                <c:pt idx="12576">
                  <c:v>28578</c:v>
                </c:pt>
                <c:pt idx="12577">
                  <c:v>28579</c:v>
                </c:pt>
                <c:pt idx="12578">
                  <c:v>28580</c:v>
                </c:pt>
                <c:pt idx="12579">
                  <c:v>28583</c:v>
                </c:pt>
                <c:pt idx="12580">
                  <c:v>28584</c:v>
                </c:pt>
                <c:pt idx="12581">
                  <c:v>28585</c:v>
                </c:pt>
                <c:pt idx="12582">
                  <c:v>28586</c:v>
                </c:pt>
                <c:pt idx="12583">
                  <c:v>28587</c:v>
                </c:pt>
                <c:pt idx="12584">
                  <c:v>28590</c:v>
                </c:pt>
                <c:pt idx="12585">
                  <c:v>28591</c:v>
                </c:pt>
                <c:pt idx="12586">
                  <c:v>28592</c:v>
                </c:pt>
                <c:pt idx="12587">
                  <c:v>28593</c:v>
                </c:pt>
                <c:pt idx="12588">
                  <c:v>28594</c:v>
                </c:pt>
                <c:pt idx="12589">
                  <c:v>28597</c:v>
                </c:pt>
                <c:pt idx="12590">
                  <c:v>28598</c:v>
                </c:pt>
                <c:pt idx="12591">
                  <c:v>28599</c:v>
                </c:pt>
                <c:pt idx="12592">
                  <c:v>28600</c:v>
                </c:pt>
                <c:pt idx="12593">
                  <c:v>28601</c:v>
                </c:pt>
                <c:pt idx="12594">
                  <c:v>28604</c:v>
                </c:pt>
                <c:pt idx="12595">
                  <c:v>28605</c:v>
                </c:pt>
                <c:pt idx="12596">
                  <c:v>28606</c:v>
                </c:pt>
                <c:pt idx="12597">
                  <c:v>28607</c:v>
                </c:pt>
                <c:pt idx="12598">
                  <c:v>28608</c:v>
                </c:pt>
                <c:pt idx="12599">
                  <c:v>28611</c:v>
                </c:pt>
                <c:pt idx="12600">
                  <c:v>28612</c:v>
                </c:pt>
                <c:pt idx="12601">
                  <c:v>28613</c:v>
                </c:pt>
                <c:pt idx="12602">
                  <c:v>28614</c:v>
                </c:pt>
                <c:pt idx="12603">
                  <c:v>28615</c:v>
                </c:pt>
                <c:pt idx="12604">
                  <c:v>28618</c:v>
                </c:pt>
                <c:pt idx="12605">
                  <c:v>28619</c:v>
                </c:pt>
                <c:pt idx="12606">
                  <c:v>28620</c:v>
                </c:pt>
                <c:pt idx="12607">
                  <c:v>28621</c:v>
                </c:pt>
                <c:pt idx="12608">
                  <c:v>28622</c:v>
                </c:pt>
                <c:pt idx="12609">
                  <c:v>28625</c:v>
                </c:pt>
                <c:pt idx="12610">
                  <c:v>28626</c:v>
                </c:pt>
                <c:pt idx="12611">
                  <c:v>28627</c:v>
                </c:pt>
                <c:pt idx="12612">
                  <c:v>28628</c:v>
                </c:pt>
                <c:pt idx="12613">
                  <c:v>28629</c:v>
                </c:pt>
                <c:pt idx="12614">
                  <c:v>28632</c:v>
                </c:pt>
                <c:pt idx="12615">
                  <c:v>28633</c:v>
                </c:pt>
                <c:pt idx="12616">
                  <c:v>28634</c:v>
                </c:pt>
                <c:pt idx="12617">
                  <c:v>28635</c:v>
                </c:pt>
                <c:pt idx="12618">
                  <c:v>28636</c:v>
                </c:pt>
                <c:pt idx="12619">
                  <c:v>28640</c:v>
                </c:pt>
                <c:pt idx="12620">
                  <c:v>28641</c:v>
                </c:pt>
                <c:pt idx="12621">
                  <c:v>28642</c:v>
                </c:pt>
                <c:pt idx="12622">
                  <c:v>28643</c:v>
                </c:pt>
                <c:pt idx="12623">
                  <c:v>28646</c:v>
                </c:pt>
                <c:pt idx="12624">
                  <c:v>28647</c:v>
                </c:pt>
                <c:pt idx="12625">
                  <c:v>28648</c:v>
                </c:pt>
                <c:pt idx="12626">
                  <c:v>28649</c:v>
                </c:pt>
                <c:pt idx="12627">
                  <c:v>28650</c:v>
                </c:pt>
                <c:pt idx="12628">
                  <c:v>28653</c:v>
                </c:pt>
                <c:pt idx="12629">
                  <c:v>28654</c:v>
                </c:pt>
                <c:pt idx="12630">
                  <c:v>28655</c:v>
                </c:pt>
                <c:pt idx="12631">
                  <c:v>28656</c:v>
                </c:pt>
                <c:pt idx="12632">
                  <c:v>28657</c:v>
                </c:pt>
                <c:pt idx="12633">
                  <c:v>28660</c:v>
                </c:pt>
                <c:pt idx="12634">
                  <c:v>28661</c:v>
                </c:pt>
                <c:pt idx="12635">
                  <c:v>28662</c:v>
                </c:pt>
                <c:pt idx="12636">
                  <c:v>28663</c:v>
                </c:pt>
                <c:pt idx="12637">
                  <c:v>28664</c:v>
                </c:pt>
                <c:pt idx="12638">
                  <c:v>28667</c:v>
                </c:pt>
                <c:pt idx="12639">
                  <c:v>28668</c:v>
                </c:pt>
                <c:pt idx="12640">
                  <c:v>28669</c:v>
                </c:pt>
                <c:pt idx="12641">
                  <c:v>28670</c:v>
                </c:pt>
                <c:pt idx="12642">
                  <c:v>28671</c:v>
                </c:pt>
                <c:pt idx="12643">
                  <c:v>28674</c:v>
                </c:pt>
                <c:pt idx="12644">
                  <c:v>28676</c:v>
                </c:pt>
                <c:pt idx="12645">
                  <c:v>28677</c:v>
                </c:pt>
                <c:pt idx="12646">
                  <c:v>28678</c:v>
                </c:pt>
                <c:pt idx="12647">
                  <c:v>28681</c:v>
                </c:pt>
                <c:pt idx="12648">
                  <c:v>28682</c:v>
                </c:pt>
                <c:pt idx="12649">
                  <c:v>28683</c:v>
                </c:pt>
                <c:pt idx="12650">
                  <c:v>28684</c:v>
                </c:pt>
                <c:pt idx="12651">
                  <c:v>28685</c:v>
                </c:pt>
                <c:pt idx="12652">
                  <c:v>28688</c:v>
                </c:pt>
                <c:pt idx="12653">
                  <c:v>28689</c:v>
                </c:pt>
                <c:pt idx="12654">
                  <c:v>28690</c:v>
                </c:pt>
                <c:pt idx="12655">
                  <c:v>28691</c:v>
                </c:pt>
                <c:pt idx="12656">
                  <c:v>28692</c:v>
                </c:pt>
                <c:pt idx="12657">
                  <c:v>28695</c:v>
                </c:pt>
                <c:pt idx="12658">
                  <c:v>28696</c:v>
                </c:pt>
                <c:pt idx="12659">
                  <c:v>28697</c:v>
                </c:pt>
                <c:pt idx="12660">
                  <c:v>28698</c:v>
                </c:pt>
                <c:pt idx="12661">
                  <c:v>28699</c:v>
                </c:pt>
                <c:pt idx="12662">
                  <c:v>28702</c:v>
                </c:pt>
                <c:pt idx="12663">
                  <c:v>28703</c:v>
                </c:pt>
                <c:pt idx="12664">
                  <c:v>28704</c:v>
                </c:pt>
                <c:pt idx="12665">
                  <c:v>28705</c:v>
                </c:pt>
                <c:pt idx="12666">
                  <c:v>28706</c:v>
                </c:pt>
                <c:pt idx="12667">
                  <c:v>28709</c:v>
                </c:pt>
                <c:pt idx="12668">
                  <c:v>28710</c:v>
                </c:pt>
                <c:pt idx="12669">
                  <c:v>28711</c:v>
                </c:pt>
                <c:pt idx="12670">
                  <c:v>28712</c:v>
                </c:pt>
                <c:pt idx="12671">
                  <c:v>28713</c:v>
                </c:pt>
                <c:pt idx="12672">
                  <c:v>28716</c:v>
                </c:pt>
                <c:pt idx="12673">
                  <c:v>28717</c:v>
                </c:pt>
                <c:pt idx="12674">
                  <c:v>28718</c:v>
                </c:pt>
                <c:pt idx="12675">
                  <c:v>28719</c:v>
                </c:pt>
                <c:pt idx="12676">
                  <c:v>28720</c:v>
                </c:pt>
                <c:pt idx="12677">
                  <c:v>28723</c:v>
                </c:pt>
                <c:pt idx="12678">
                  <c:v>28724</c:v>
                </c:pt>
                <c:pt idx="12679">
                  <c:v>28725</c:v>
                </c:pt>
                <c:pt idx="12680">
                  <c:v>28726</c:v>
                </c:pt>
                <c:pt idx="12681">
                  <c:v>28727</c:v>
                </c:pt>
                <c:pt idx="12682">
                  <c:v>28730</c:v>
                </c:pt>
                <c:pt idx="12683">
                  <c:v>28731</c:v>
                </c:pt>
                <c:pt idx="12684">
                  <c:v>28732</c:v>
                </c:pt>
                <c:pt idx="12685">
                  <c:v>28733</c:v>
                </c:pt>
                <c:pt idx="12686">
                  <c:v>28734</c:v>
                </c:pt>
                <c:pt idx="12687">
                  <c:v>28738</c:v>
                </c:pt>
                <c:pt idx="12688">
                  <c:v>28739</c:v>
                </c:pt>
                <c:pt idx="12689">
                  <c:v>28740</c:v>
                </c:pt>
                <c:pt idx="12690">
                  <c:v>28741</c:v>
                </c:pt>
                <c:pt idx="12691">
                  <c:v>28744</c:v>
                </c:pt>
                <c:pt idx="12692">
                  <c:v>28745</c:v>
                </c:pt>
                <c:pt idx="12693">
                  <c:v>28746</c:v>
                </c:pt>
                <c:pt idx="12694">
                  <c:v>28747</c:v>
                </c:pt>
                <c:pt idx="12695">
                  <c:v>28748</c:v>
                </c:pt>
                <c:pt idx="12696">
                  <c:v>28751</c:v>
                </c:pt>
                <c:pt idx="12697">
                  <c:v>28752</c:v>
                </c:pt>
                <c:pt idx="12698">
                  <c:v>28753</c:v>
                </c:pt>
                <c:pt idx="12699">
                  <c:v>28754</c:v>
                </c:pt>
                <c:pt idx="12700">
                  <c:v>28755</c:v>
                </c:pt>
                <c:pt idx="12701">
                  <c:v>28758</c:v>
                </c:pt>
                <c:pt idx="12702">
                  <c:v>28759</c:v>
                </c:pt>
                <c:pt idx="12703">
                  <c:v>28760</c:v>
                </c:pt>
                <c:pt idx="12704">
                  <c:v>28761</c:v>
                </c:pt>
                <c:pt idx="12705">
                  <c:v>28762</c:v>
                </c:pt>
                <c:pt idx="12706">
                  <c:v>28765</c:v>
                </c:pt>
                <c:pt idx="12707">
                  <c:v>28766</c:v>
                </c:pt>
                <c:pt idx="12708">
                  <c:v>28767</c:v>
                </c:pt>
                <c:pt idx="12709">
                  <c:v>28768</c:v>
                </c:pt>
                <c:pt idx="12710">
                  <c:v>28769</c:v>
                </c:pt>
                <c:pt idx="12711">
                  <c:v>28772</c:v>
                </c:pt>
                <c:pt idx="12712">
                  <c:v>28773</c:v>
                </c:pt>
                <c:pt idx="12713">
                  <c:v>28774</c:v>
                </c:pt>
                <c:pt idx="12714">
                  <c:v>28775</c:v>
                </c:pt>
                <c:pt idx="12715">
                  <c:v>28776</c:v>
                </c:pt>
                <c:pt idx="12716">
                  <c:v>28779</c:v>
                </c:pt>
                <c:pt idx="12717">
                  <c:v>28780</c:v>
                </c:pt>
                <c:pt idx="12718">
                  <c:v>28781</c:v>
                </c:pt>
                <c:pt idx="12719">
                  <c:v>28782</c:v>
                </c:pt>
                <c:pt idx="12720">
                  <c:v>28783</c:v>
                </c:pt>
                <c:pt idx="12721">
                  <c:v>28786</c:v>
                </c:pt>
                <c:pt idx="12722">
                  <c:v>28787</c:v>
                </c:pt>
                <c:pt idx="12723">
                  <c:v>28788</c:v>
                </c:pt>
                <c:pt idx="12724">
                  <c:v>28789</c:v>
                </c:pt>
                <c:pt idx="12725">
                  <c:v>28790</c:v>
                </c:pt>
                <c:pt idx="12726">
                  <c:v>28793</c:v>
                </c:pt>
                <c:pt idx="12727">
                  <c:v>28794</c:v>
                </c:pt>
                <c:pt idx="12728">
                  <c:v>28795</c:v>
                </c:pt>
                <c:pt idx="12729">
                  <c:v>28796</c:v>
                </c:pt>
                <c:pt idx="12730">
                  <c:v>28797</c:v>
                </c:pt>
                <c:pt idx="12731">
                  <c:v>28800</c:v>
                </c:pt>
                <c:pt idx="12732">
                  <c:v>28801</c:v>
                </c:pt>
                <c:pt idx="12733">
                  <c:v>28802</c:v>
                </c:pt>
                <c:pt idx="12734">
                  <c:v>28803</c:v>
                </c:pt>
                <c:pt idx="12735">
                  <c:v>28804</c:v>
                </c:pt>
                <c:pt idx="12736">
                  <c:v>28807</c:v>
                </c:pt>
                <c:pt idx="12737">
                  <c:v>28808</c:v>
                </c:pt>
                <c:pt idx="12738">
                  <c:v>28809</c:v>
                </c:pt>
                <c:pt idx="12739">
                  <c:v>28810</c:v>
                </c:pt>
                <c:pt idx="12740">
                  <c:v>28811</c:v>
                </c:pt>
                <c:pt idx="12741">
                  <c:v>28814</c:v>
                </c:pt>
                <c:pt idx="12742">
                  <c:v>28815</c:v>
                </c:pt>
                <c:pt idx="12743">
                  <c:v>28816</c:v>
                </c:pt>
                <c:pt idx="12744">
                  <c:v>28818</c:v>
                </c:pt>
                <c:pt idx="12745">
                  <c:v>28821</c:v>
                </c:pt>
                <c:pt idx="12746">
                  <c:v>28822</c:v>
                </c:pt>
                <c:pt idx="12747">
                  <c:v>28823</c:v>
                </c:pt>
                <c:pt idx="12748">
                  <c:v>28824</c:v>
                </c:pt>
                <c:pt idx="12749">
                  <c:v>28825</c:v>
                </c:pt>
                <c:pt idx="12750">
                  <c:v>28828</c:v>
                </c:pt>
                <c:pt idx="12751">
                  <c:v>28829</c:v>
                </c:pt>
                <c:pt idx="12752">
                  <c:v>28830</c:v>
                </c:pt>
                <c:pt idx="12753">
                  <c:v>28831</c:v>
                </c:pt>
                <c:pt idx="12754">
                  <c:v>28832</c:v>
                </c:pt>
                <c:pt idx="12755">
                  <c:v>28835</c:v>
                </c:pt>
                <c:pt idx="12756">
                  <c:v>28836</c:v>
                </c:pt>
                <c:pt idx="12757">
                  <c:v>28837</c:v>
                </c:pt>
                <c:pt idx="12758">
                  <c:v>28838</c:v>
                </c:pt>
                <c:pt idx="12759">
                  <c:v>28839</c:v>
                </c:pt>
                <c:pt idx="12760">
                  <c:v>28842</c:v>
                </c:pt>
                <c:pt idx="12761">
                  <c:v>28843</c:v>
                </c:pt>
                <c:pt idx="12762">
                  <c:v>28844</c:v>
                </c:pt>
                <c:pt idx="12763">
                  <c:v>28845</c:v>
                </c:pt>
                <c:pt idx="12764">
                  <c:v>28846</c:v>
                </c:pt>
                <c:pt idx="12765">
                  <c:v>28850</c:v>
                </c:pt>
                <c:pt idx="12766">
                  <c:v>28851</c:v>
                </c:pt>
                <c:pt idx="12767">
                  <c:v>28852</c:v>
                </c:pt>
                <c:pt idx="12768">
                  <c:v>28853</c:v>
                </c:pt>
                <c:pt idx="12769">
                  <c:v>28857</c:v>
                </c:pt>
                <c:pt idx="12770">
                  <c:v>28858</c:v>
                </c:pt>
                <c:pt idx="12771">
                  <c:v>28859</c:v>
                </c:pt>
                <c:pt idx="12772">
                  <c:v>28860</c:v>
                </c:pt>
                <c:pt idx="12773">
                  <c:v>28863</c:v>
                </c:pt>
                <c:pt idx="12774">
                  <c:v>28864</c:v>
                </c:pt>
                <c:pt idx="12775">
                  <c:v>28865</c:v>
                </c:pt>
                <c:pt idx="12776">
                  <c:v>28866</c:v>
                </c:pt>
                <c:pt idx="12777">
                  <c:v>28867</c:v>
                </c:pt>
                <c:pt idx="12778">
                  <c:v>28870</c:v>
                </c:pt>
                <c:pt idx="12779">
                  <c:v>28871</c:v>
                </c:pt>
                <c:pt idx="12780">
                  <c:v>28872</c:v>
                </c:pt>
                <c:pt idx="12781">
                  <c:v>28873</c:v>
                </c:pt>
                <c:pt idx="12782">
                  <c:v>28874</c:v>
                </c:pt>
                <c:pt idx="12783">
                  <c:v>28877</c:v>
                </c:pt>
                <c:pt idx="12784">
                  <c:v>28878</c:v>
                </c:pt>
                <c:pt idx="12785">
                  <c:v>28879</c:v>
                </c:pt>
                <c:pt idx="12786">
                  <c:v>28880</c:v>
                </c:pt>
                <c:pt idx="12787">
                  <c:v>28881</c:v>
                </c:pt>
                <c:pt idx="12788">
                  <c:v>28884</c:v>
                </c:pt>
                <c:pt idx="12789">
                  <c:v>28885</c:v>
                </c:pt>
                <c:pt idx="12790">
                  <c:v>28886</c:v>
                </c:pt>
                <c:pt idx="12791">
                  <c:v>28887</c:v>
                </c:pt>
                <c:pt idx="12792">
                  <c:v>28888</c:v>
                </c:pt>
                <c:pt idx="12793">
                  <c:v>28891</c:v>
                </c:pt>
                <c:pt idx="12794">
                  <c:v>28892</c:v>
                </c:pt>
                <c:pt idx="12795">
                  <c:v>28893</c:v>
                </c:pt>
                <c:pt idx="12796">
                  <c:v>28894</c:v>
                </c:pt>
                <c:pt idx="12797">
                  <c:v>28895</c:v>
                </c:pt>
                <c:pt idx="12798">
                  <c:v>28898</c:v>
                </c:pt>
                <c:pt idx="12799">
                  <c:v>28899</c:v>
                </c:pt>
                <c:pt idx="12800">
                  <c:v>28900</c:v>
                </c:pt>
                <c:pt idx="12801">
                  <c:v>28901</c:v>
                </c:pt>
                <c:pt idx="12802">
                  <c:v>28902</c:v>
                </c:pt>
                <c:pt idx="12803">
                  <c:v>28906</c:v>
                </c:pt>
                <c:pt idx="12804">
                  <c:v>28907</c:v>
                </c:pt>
                <c:pt idx="12805">
                  <c:v>28908</c:v>
                </c:pt>
                <c:pt idx="12806">
                  <c:v>28909</c:v>
                </c:pt>
                <c:pt idx="12807">
                  <c:v>28912</c:v>
                </c:pt>
                <c:pt idx="12808">
                  <c:v>28913</c:v>
                </c:pt>
                <c:pt idx="12809">
                  <c:v>28914</c:v>
                </c:pt>
                <c:pt idx="12810">
                  <c:v>28915</c:v>
                </c:pt>
                <c:pt idx="12811">
                  <c:v>28916</c:v>
                </c:pt>
                <c:pt idx="12812">
                  <c:v>28919</c:v>
                </c:pt>
                <c:pt idx="12813">
                  <c:v>28920</c:v>
                </c:pt>
                <c:pt idx="12814">
                  <c:v>28921</c:v>
                </c:pt>
                <c:pt idx="12815">
                  <c:v>28922</c:v>
                </c:pt>
                <c:pt idx="12816">
                  <c:v>28923</c:v>
                </c:pt>
                <c:pt idx="12817">
                  <c:v>28926</c:v>
                </c:pt>
                <c:pt idx="12818">
                  <c:v>28927</c:v>
                </c:pt>
                <c:pt idx="12819">
                  <c:v>28928</c:v>
                </c:pt>
                <c:pt idx="12820">
                  <c:v>28929</c:v>
                </c:pt>
                <c:pt idx="12821">
                  <c:v>28930</c:v>
                </c:pt>
                <c:pt idx="12822">
                  <c:v>28933</c:v>
                </c:pt>
                <c:pt idx="12823">
                  <c:v>28934</c:v>
                </c:pt>
                <c:pt idx="12824">
                  <c:v>28935</c:v>
                </c:pt>
                <c:pt idx="12825">
                  <c:v>28936</c:v>
                </c:pt>
                <c:pt idx="12826">
                  <c:v>28937</c:v>
                </c:pt>
                <c:pt idx="12827">
                  <c:v>28940</c:v>
                </c:pt>
                <c:pt idx="12828">
                  <c:v>28941</c:v>
                </c:pt>
                <c:pt idx="12829">
                  <c:v>28942</c:v>
                </c:pt>
                <c:pt idx="12830">
                  <c:v>28943</c:v>
                </c:pt>
                <c:pt idx="12831">
                  <c:v>28944</c:v>
                </c:pt>
                <c:pt idx="12832">
                  <c:v>28947</c:v>
                </c:pt>
                <c:pt idx="12833">
                  <c:v>28948</c:v>
                </c:pt>
                <c:pt idx="12834">
                  <c:v>28949</c:v>
                </c:pt>
                <c:pt idx="12835">
                  <c:v>28950</c:v>
                </c:pt>
                <c:pt idx="12836">
                  <c:v>28951</c:v>
                </c:pt>
                <c:pt idx="12837">
                  <c:v>28954</c:v>
                </c:pt>
                <c:pt idx="12838">
                  <c:v>28955</c:v>
                </c:pt>
                <c:pt idx="12839">
                  <c:v>28956</c:v>
                </c:pt>
                <c:pt idx="12840">
                  <c:v>28957</c:v>
                </c:pt>
                <c:pt idx="12841">
                  <c:v>28961</c:v>
                </c:pt>
                <c:pt idx="12842">
                  <c:v>28962</c:v>
                </c:pt>
                <c:pt idx="12843">
                  <c:v>28963</c:v>
                </c:pt>
                <c:pt idx="12844">
                  <c:v>28964</c:v>
                </c:pt>
                <c:pt idx="12845">
                  <c:v>28965</c:v>
                </c:pt>
                <c:pt idx="12846">
                  <c:v>28968</c:v>
                </c:pt>
                <c:pt idx="12847">
                  <c:v>28969</c:v>
                </c:pt>
                <c:pt idx="12848">
                  <c:v>28970</c:v>
                </c:pt>
                <c:pt idx="12849">
                  <c:v>28971</c:v>
                </c:pt>
                <c:pt idx="12850">
                  <c:v>28972</c:v>
                </c:pt>
                <c:pt idx="12851">
                  <c:v>28975</c:v>
                </c:pt>
                <c:pt idx="12852">
                  <c:v>28976</c:v>
                </c:pt>
                <c:pt idx="12853">
                  <c:v>28977</c:v>
                </c:pt>
                <c:pt idx="12854">
                  <c:v>28978</c:v>
                </c:pt>
                <c:pt idx="12855">
                  <c:v>28979</c:v>
                </c:pt>
                <c:pt idx="12856">
                  <c:v>28982</c:v>
                </c:pt>
                <c:pt idx="12857">
                  <c:v>28983</c:v>
                </c:pt>
                <c:pt idx="12858">
                  <c:v>28984</c:v>
                </c:pt>
                <c:pt idx="12859">
                  <c:v>28985</c:v>
                </c:pt>
                <c:pt idx="12860">
                  <c:v>28986</c:v>
                </c:pt>
                <c:pt idx="12861">
                  <c:v>28989</c:v>
                </c:pt>
                <c:pt idx="12862">
                  <c:v>28990</c:v>
                </c:pt>
                <c:pt idx="12863">
                  <c:v>28991</c:v>
                </c:pt>
                <c:pt idx="12864">
                  <c:v>28992</c:v>
                </c:pt>
                <c:pt idx="12865">
                  <c:v>28993</c:v>
                </c:pt>
                <c:pt idx="12866">
                  <c:v>28996</c:v>
                </c:pt>
                <c:pt idx="12867">
                  <c:v>28997</c:v>
                </c:pt>
                <c:pt idx="12868">
                  <c:v>28998</c:v>
                </c:pt>
                <c:pt idx="12869">
                  <c:v>28999</c:v>
                </c:pt>
                <c:pt idx="12870">
                  <c:v>29000</c:v>
                </c:pt>
                <c:pt idx="12871">
                  <c:v>29004</c:v>
                </c:pt>
                <c:pt idx="12872">
                  <c:v>29005</c:v>
                </c:pt>
                <c:pt idx="12873">
                  <c:v>29006</c:v>
                </c:pt>
                <c:pt idx="12874">
                  <c:v>29007</c:v>
                </c:pt>
                <c:pt idx="12875">
                  <c:v>29010</c:v>
                </c:pt>
                <c:pt idx="12876">
                  <c:v>29011</c:v>
                </c:pt>
                <c:pt idx="12877">
                  <c:v>29012</c:v>
                </c:pt>
                <c:pt idx="12878">
                  <c:v>29013</c:v>
                </c:pt>
                <c:pt idx="12879">
                  <c:v>29014</c:v>
                </c:pt>
                <c:pt idx="12880">
                  <c:v>29017</c:v>
                </c:pt>
                <c:pt idx="12881">
                  <c:v>29018</c:v>
                </c:pt>
                <c:pt idx="12882">
                  <c:v>29019</c:v>
                </c:pt>
                <c:pt idx="12883">
                  <c:v>29020</c:v>
                </c:pt>
                <c:pt idx="12884">
                  <c:v>29021</c:v>
                </c:pt>
                <c:pt idx="12885">
                  <c:v>29024</c:v>
                </c:pt>
                <c:pt idx="12886">
                  <c:v>29025</c:v>
                </c:pt>
                <c:pt idx="12887">
                  <c:v>29026</c:v>
                </c:pt>
                <c:pt idx="12888">
                  <c:v>29027</c:v>
                </c:pt>
                <c:pt idx="12889">
                  <c:v>29028</c:v>
                </c:pt>
                <c:pt idx="12890">
                  <c:v>29031</c:v>
                </c:pt>
                <c:pt idx="12891">
                  <c:v>29032</c:v>
                </c:pt>
                <c:pt idx="12892">
                  <c:v>29033</c:v>
                </c:pt>
                <c:pt idx="12893">
                  <c:v>29034</c:v>
                </c:pt>
                <c:pt idx="12894">
                  <c:v>29035</c:v>
                </c:pt>
                <c:pt idx="12895">
                  <c:v>29038</c:v>
                </c:pt>
                <c:pt idx="12896">
                  <c:v>29039</c:v>
                </c:pt>
                <c:pt idx="12897">
                  <c:v>29041</c:v>
                </c:pt>
                <c:pt idx="12898">
                  <c:v>29042</c:v>
                </c:pt>
                <c:pt idx="12899">
                  <c:v>29045</c:v>
                </c:pt>
                <c:pt idx="12900">
                  <c:v>29046</c:v>
                </c:pt>
                <c:pt idx="12901">
                  <c:v>29047</c:v>
                </c:pt>
                <c:pt idx="12902">
                  <c:v>29048</c:v>
                </c:pt>
                <c:pt idx="12903">
                  <c:v>29049</c:v>
                </c:pt>
                <c:pt idx="12904">
                  <c:v>29052</c:v>
                </c:pt>
                <c:pt idx="12905">
                  <c:v>29053</c:v>
                </c:pt>
                <c:pt idx="12906">
                  <c:v>29054</c:v>
                </c:pt>
                <c:pt idx="12907">
                  <c:v>29055</c:v>
                </c:pt>
                <c:pt idx="12908">
                  <c:v>29056</c:v>
                </c:pt>
                <c:pt idx="12909">
                  <c:v>29059</c:v>
                </c:pt>
                <c:pt idx="12910">
                  <c:v>29060</c:v>
                </c:pt>
                <c:pt idx="12911">
                  <c:v>29061</c:v>
                </c:pt>
                <c:pt idx="12912">
                  <c:v>29062</c:v>
                </c:pt>
                <c:pt idx="12913">
                  <c:v>29063</c:v>
                </c:pt>
                <c:pt idx="12914">
                  <c:v>29066</c:v>
                </c:pt>
                <c:pt idx="12915">
                  <c:v>29067</c:v>
                </c:pt>
                <c:pt idx="12916">
                  <c:v>29068</c:v>
                </c:pt>
                <c:pt idx="12917">
                  <c:v>29069</c:v>
                </c:pt>
                <c:pt idx="12918">
                  <c:v>29070</c:v>
                </c:pt>
                <c:pt idx="12919">
                  <c:v>29073</c:v>
                </c:pt>
                <c:pt idx="12920">
                  <c:v>29074</c:v>
                </c:pt>
                <c:pt idx="12921">
                  <c:v>29075</c:v>
                </c:pt>
                <c:pt idx="12922">
                  <c:v>29076</c:v>
                </c:pt>
                <c:pt idx="12923">
                  <c:v>29077</c:v>
                </c:pt>
                <c:pt idx="12924">
                  <c:v>29080</c:v>
                </c:pt>
                <c:pt idx="12925">
                  <c:v>29081</c:v>
                </c:pt>
                <c:pt idx="12926">
                  <c:v>29082</c:v>
                </c:pt>
                <c:pt idx="12927">
                  <c:v>29083</c:v>
                </c:pt>
                <c:pt idx="12928">
                  <c:v>29084</c:v>
                </c:pt>
                <c:pt idx="12929">
                  <c:v>29087</c:v>
                </c:pt>
                <c:pt idx="12930">
                  <c:v>29088</c:v>
                </c:pt>
                <c:pt idx="12931">
                  <c:v>29089</c:v>
                </c:pt>
                <c:pt idx="12932">
                  <c:v>29090</c:v>
                </c:pt>
                <c:pt idx="12933">
                  <c:v>29091</c:v>
                </c:pt>
                <c:pt idx="12934">
                  <c:v>29094</c:v>
                </c:pt>
                <c:pt idx="12935">
                  <c:v>29095</c:v>
                </c:pt>
                <c:pt idx="12936">
                  <c:v>29096</c:v>
                </c:pt>
                <c:pt idx="12937">
                  <c:v>29097</c:v>
                </c:pt>
                <c:pt idx="12938">
                  <c:v>29098</c:v>
                </c:pt>
                <c:pt idx="12939">
                  <c:v>29102</c:v>
                </c:pt>
                <c:pt idx="12940">
                  <c:v>29103</c:v>
                </c:pt>
                <c:pt idx="12941">
                  <c:v>29104</c:v>
                </c:pt>
                <c:pt idx="12942">
                  <c:v>29105</c:v>
                </c:pt>
                <c:pt idx="12943">
                  <c:v>29108</c:v>
                </c:pt>
                <c:pt idx="12944">
                  <c:v>29109</c:v>
                </c:pt>
                <c:pt idx="12945">
                  <c:v>29110</c:v>
                </c:pt>
                <c:pt idx="12946">
                  <c:v>29111</c:v>
                </c:pt>
                <c:pt idx="12947">
                  <c:v>29112</c:v>
                </c:pt>
                <c:pt idx="12948">
                  <c:v>29115</c:v>
                </c:pt>
                <c:pt idx="12949">
                  <c:v>29116</c:v>
                </c:pt>
                <c:pt idx="12950">
                  <c:v>29117</c:v>
                </c:pt>
                <c:pt idx="12951">
                  <c:v>29118</c:v>
                </c:pt>
                <c:pt idx="12952">
                  <c:v>29119</c:v>
                </c:pt>
                <c:pt idx="12953">
                  <c:v>29122</c:v>
                </c:pt>
                <c:pt idx="12954">
                  <c:v>29123</c:v>
                </c:pt>
                <c:pt idx="12955">
                  <c:v>29124</c:v>
                </c:pt>
                <c:pt idx="12956">
                  <c:v>29125</c:v>
                </c:pt>
                <c:pt idx="12957">
                  <c:v>29126</c:v>
                </c:pt>
                <c:pt idx="12958">
                  <c:v>29129</c:v>
                </c:pt>
                <c:pt idx="12959">
                  <c:v>29130</c:v>
                </c:pt>
                <c:pt idx="12960">
                  <c:v>29131</c:v>
                </c:pt>
                <c:pt idx="12961">
                  <c:v>29132</c:v>
                </c:pt>
                <c:pt idx="12962">
                  <c:v>29133</c:v>
                </c:pt>
                <c:pt idx="12963">
                  <c:v>29136</c:v>
                </c:pt>
                <c:pt idx="12964">
                  <c:v>29137</c:v>
                </c:pt>
                <c:pt idx="12965">
                  <c:v>29138</c:v>
                </c:pt>
                <c:pt idx="12966">
                  <c:v>29139</c:v>
                </c:pt>
                <c:pt idx="12967">
                  <c:v>29140</c:v>
                </c:pt>
                <c:pt idx="12968">
                  <c:v>29143</c:v>
                </c:pt>
                <c:pt idx="12969">
                  <c:v>29144</c:v>
                </c:pt>
                <c:pt idx="12970">
                  <c:v>29145</c:v>
                </c:pt>
                <c:pt idx="12971">
                  <c:v>29146</c:v>
                </c:pt>
                <c:pt idx="12972">
                  <c:v>29147</c:v>
                </c:pt>
                <c:pt idx="12973">
                  <c:v>29150</c:v>
                </c:pt>
                <c:pt idx="12974">
                  <c:v>29151</c:v>
                </c:pt>
                <c:pt idx="12975">
                  <c:v>29152</c:v>
                </c:pt>
                <c:pt idx="12976">
                  <c:v>29153</c:v>
                </c:pt>
                <c:pt idx="12977">
                  <c:v>29154</c:v>
                </c:pt>
                <c:pt idx="12978">
                  <c:v>29157</c:v>
                </c:pt>
                <c:pt idx="12979">
                  <c:v>29158</c:v>
                </c:pt>
                <c:pt idx="12980">
                  <c:v>29159</c:v>
                </c:pt>
                <c:pt idx="12981">
                  <c:v>29160</c:v>
                </c:pt>
                <c:pt idx="12982">
                  <c:v>29161</c:v>
                </c:pt>
                <c:pt idx="12983">
                  <c:v>29164</c:v>
                </c:pt>
                <c:pt idx="12984">
                  <c:v>29165</c:v>
                </c:pt>
                <c:pt idx="12985">
                  <c:v>29166</c:v>
                </c:pt>
                <c:pt idx="12986">
                  <c:v>29167</c:v>
                </c:pt>
                <c:pt idx="12987">
                  <c:v>29168</c:v>
                </c:pt>
                <c:pt idx="12988">
                  <c:v>29171</c:v>
                </c:pt>
                <c:pt idx="12989">
                  <c:v>29172</c:v>
                </c:pt>
                <c:pt idx="12990">
                  <c:v>29173</c:v>
                </c:pt>
                <c:pt idx="12991">
                  <c:v>29174</c:v>
                </c:pt>
                <c:pt idx="12992">
                  <c:v>29175</c:v>
                </c:pt>
                <c:pt idx="12993">
                  <c:v>29178</c:v>
                </c:pt>
                <c:pt idx="12994">
                  <c:v>29179</c:v>
                </c:pt>
                <c:pt idx="12995">
                  <c:v>29180</c:v>
                </c:pt>
                <c:pt idx="12996">
                  <c:v>29182</c:v>
                </c:pt>
                <c:pt idx="12997">
                  <c:v>29185</c:v>
                </c:pt>
                <c:pt idx="12998">
                  <c:v>29186</c:v>
                </c:pt>
                <c:pt idx="12999">
                  <c:v>29187</c:v>
                </c:pt>
                <c:pt idx="13000">
                  <c:v>29188</c:v>
                </c:pt>
                <c:pt idx="13001">
                  <c:v>29189</c:v>
                </c:pt>
                <c:pt idx="13002">
                  <c:v>29192</c:v>
                </c:pt>
                <c:pt idx="13003">
                  <c:v>29193</c:v>
                </c:pt>
                <c:pt idx="13004">
                  <c:v>29194</c:v>
                </c:pt>
                <c:pt idx="13005">
                  <c:v>29195</c:v>
                </c:pt>
                <c:pt idx="13006">
                  <c:v>29196</c:v>
                </c:pt>
                <c:pt idx="13007">
                  <c:v>29199</c:v>
                </c:pt>
                <c:pt idx="13008">
                  <c:v>29200</c:v>
                </c:pt>
                <c:pt idx="13009">
                  <c:v>29201</c:v>
                </c:pt>
                <c:pt idx="13010">
                  <c:v>29202</c:v>
                </c:pt>
                <c:pt idx="13011">
                  <c:v>29203</c:v>
                </c:pt>
                <c:pt idx="13012">
                  <c:v>29206</c:v>
                </c:pt>
                <c:pt idx="13013">
                  <c:v>29207</c:v>
                </c:pt>
                <c:pt idx="13014">
                  <c:v>29208</c:v>
                </c:pt>
                <c:pt idx="13015">
                  <c:v>29209</c:v>
                </c:pt>
                <c:pt idx="13016">
                  <c:v>29210</c:v>
                </c:pt>
                <c:pt idx="13017">
                  <c:v>29213</c:v>
                </c:pt>
                <c:pt idx="13018">
                  <c:v>29215</c:v>
                </c:pt>
                <c:pt idx="13019">
                  <c:v>29216</c:v>
                </c:pt>
                <c:pt idx="13020">
                  <c:v>29217</c:v>
                </c:pt>
                <c:pt idx="13021">
                  <c:v>29220</c:v>
                </c:pt>
                <c:pt idx="13022">
                  <c:v>29222</c:v>
                </c:pt>
                <c:pt idx="13023">
                  <c:v>29223</c:v>
                </c:pt>
                <c:pt idx="13024">
                  <c:v>29224</c:v>
                </c:pt>
                <c:pt idx="13025">
                  <c:v>29227</c:v>
                </c:pt>
                <c:pt idx="13026">
                  <c:v>29228</c:v>
                </c:pt>
                <c:pt idx="13027">
                  <c:v>29229</c:v>
                </c:pt>
                <c:pt idx="13028">
                  <c:v>29230</c:v>
                </c:pt>
                <c:pt idx="13029">
                  <c:v>29231</c:v>
                </c:pt>
                <c:pt idx="13030">
                  <c:v>29234</c:v>
                </c:pt>
                <c:pt idx="13031">
                  <c:v>29235</c:v>
                </c:pt>
                <c:pt idx="13032">
                  <c:v>29236</c:v>
                </c:pt>
                <c:pt idx="13033">
                  <c:v>29237</c:v>
                </c:pt>
                <c:pt idx="13034">
                  <c:v>29238</c:v>
                </c:pt>
                <c:pt idx="13035">
                  <c:v>29241</c:v>
                </c:pt>
                <c:pt idx="13036">
                  <c:v>29242</c:v>
                </c:pt>
                <c:pt idx="13037">
                  <c:v>29243</c:v>
                </c:pt>
                <c:pt idx="13038">
                  <c:v>29244</c:v>
                </c:pt>
                <c:pt idx="13039">
                  <c:v>29245</c:v>
                </c:pt>
                <c:pt idx="13040">
                  <c:v>29248</c:v>
                </c:pt>
                <c:pt idx="13041">
                  <c:v>29249</c:v>
                </c:pt>
                <c:pt idx="13042">
                  <c:v>29250</c:v>
                </c:pt>
                <c:pt idx="13043">
                  <c:v>29251</c:v>
                </c:pt>
                <c:pt idx="13044">
                  <c:v>29252</c:v>
                </c:pt>
                <c:pt idx="13045">
                  <c:v>29255</c:v>
                </c:pt>
                <c:pt idx="13046">
                  <c:v>29256</c:v>
                </c:pt>
                <c:pt idx="13047">
                  <c:v>29257</c:v>
                </c:pt>
                <c:pt idx="13048">
                  <c:v>29258</c:v>
                </c:pt>
                <c:pt idx="13049">
                  <c:v>29259</c:v>
                </c:pt>
                <c:pt idx="13050">
                  <c:v>29262</c:v>
                </c:pt>
                <c:pt idx="13051">
                  <c:v>29263</c:v>
                </c:pt>
                <c:pt idx="13052">
                  <c:v>29264</c:v>
                </c:pt>
                <c:pt idx="13053">
                  <c:v>29265</c:v>
                </c:pt>
                <c:pt idx="13054">
                  <c:v>29266</c:v>
                </c:pt>
                <c:pt idx="13055">
                  <c:v>29270</c:v>
                </c:pt>
                <c:pt idx="13056">
                  <c:v>29271</c:v>
                </c:pt>
                <c:pt idx="13057">
                  <c:v>29272</c:v>
                </c:pt>
                <c:pt idx="13058">
                  <c:v>29273</c:v>
                </c:pt>
                <c:pt idx="13059">
                  <c:v>29276</c:v>
                </c:pt>
                <c:pt idx="13060">
                  <c:v>29277</c:v>
                </c:pt>
                <c:pt idx="13061">
                  <c:v>29278</c:v>
                </c:pt>
                <c:pt idx="13062">
                  <c:v>29279</c:v>
                </c:pt>
                <c:pt idx="13063">
                  <c:v>29280</c:v>
                </c:pt>
                <c:pt idx="13064">
                  <c:v>29283</c:v>
                </c:pt>
                <c:pt idx="13065">
                  <c:v>29284</c:v>
                </c:pt>
                <c:pt idx="13066">
                  <c:v>29285</c:v>
                </c:pt>
                <c:pt idx="13067">
                  <c:v>29286</c:v>
                </c:pt>
                <c:pt idx="13068">
                  <c:v>29287</c:v>
                </c:pt>
                <c:pt idx="13069">
                  <c:v>29290</c:v>
                </c:pt>
                <c:pt idx="13070">
                  <c:v>29291</c:v>
                </c:pt>
                <c:pt idx="13071">
                  <c:v>29292</c:v>
                </c:pt>
                <c:pt idx="13072">
                  <c:v>29293</c:v>
                </c:pt>
                <c:pt idx="13073">
                  <c:v>29294</c:v>
                </c:pt>
                <c:pt idx="13074">
                  <c:v>29297</c:v>
                </c:pt>
                <c:pt idx="13075">
                  <c:v>29298</c:v>
                </c:pt>
                <c:pt idx="13076">
                  <c:v>29299</c:v>
                </c:pt>
                <c:pt idx="13077">
                  <c:v>29300</c:v>
                </c:pt>
                <c:pt idx="13078">
                  <c:v>29301</c:v>
                </c:pt>
                <c:pt idx="13079">
                  <c:v>29304</c:v>
                </c:pt>
                <c:pt idx="13080">
                  <c:v>29305</c:v>
                </c:pt>
                <c:pt idx="13081">
                  <c:v>29306</c:v>
                </c:pt>
                <c:pt idx="13082">
                  <c:v>29307</c:v>
                </c:pt>
                <c:pt idx="13083">
                  <c:v>29308</c:v>
                </c:pt>
                <c:pt idx="13084">
                  <c:v>29311</c:v>
                </c:pt>
                <c:pt idx="13085">
                  <c:v>29312</c:v>
                </c:pt>
                <c:pt idx="13086">
                  <c:v>29313</c:v>
                </c:pt>
                <c:pt idx="13087">
                  <c:v>29314</c:v>
                </c:pt>
                <c:pt idx="13088">
                  <c:v>29318</c:v>
                </c:pt>
                <c:pt idx="13089">
                  <c:v>29319</c:v>
                </c:pt>
                <c:pt idx="13090">
                  <c:v>29320</c:v>
                </c:pt>
                <c:pt idx="13091">
                  <c:v>29321</c:v>
                </c:pt>
                <c:pt idx="13092">
                  <c:v>29322</c:v>
                </c:pt>
                <c:pt idx="13093">
                  <c:v>29325</c:v>
                </c:pt>
                <c:pt idx="13094">
                  <c:v>29326</c:v>
                </c:pt>
                <c:pt idx="13095">
                  <c:v>29327</c:v>
                </c:pt>
                <c:pt idx="13096">
                  <c:v>29328</c:v>
                </c:pt>
                <c:pt idx="13097">
                  <c:v>29329</c:v>
                </c:pt>
                <c:pt idx="13098">
                  <c:v>29332</c:v>
                </c:pt>
                <c:pt idx="13099">
                  <c:v>29333</c:v>
                </c:pt>
                <c:pt idx="13100">
                  <c:v>29334</c:v>
                </c:pt>
                <c:pt idx="13101">
                  <c:v>29335</c:v>
                </c:pt>
                <c:pt idx="13102">
                  <c:v>29336</c:v>
                </c:pt>
                <c:pt idx="13103">
                  <c:v>29339</c:v>
                </c:pt>
                <c:pt idx="13104">
                  <c:v>29340</c:v>
                </c:pt>
                <c:pt idx="13105">
                  <c:v>29341</c:v>
                </c:pt>
                <c:pt idx="13106">
                  <c:v>29342</c:v>
                </c:pt>
                <c:pt idx="13107">
                  <c:v>29343</c:v>
                </c:pt>
                <c:pt idx="13108">
                  <c:v>29346</c:v>
                </c:pt>
                <c:pt idx="13109">
                  <c:v>29347</c:v>
                </c:pt>
                <c:pt idx="13110">
                  <c:v>29348</c:v>
                </c:pt>
                <c:pt idx="13111">
                  <c:v>29349</c:v>
                </c:pt>
                <c:pt idx="13112">
                  <c:v>29350</c:v>
                </c:pt>
                <c:pt idx="13113">
                  <c:v>29353</c:v>
                </c:pt>
                <c:pt idx="13114">
                  <c:v>29354</c:v>
                </c:pt>
                <c:pt idx="13115">
                  <c:v>29355</c:v>
                </c:pt>
                <c:pt idx="13116">
                  <c:v>29356</c:v>
                </c:pt>
                <c:pt idx="13117">
                  <c:v>29357</c:v>
                </c:pt>
                <c:pt idx="13118">
                  <c:v>29360</c:v>
                </c:pt>
                <c:pt idx="13119">
                  <c:v>29361</c:v>
                </c:pt>
                <c:pt idx="13120">
                  <c:v>29362</c:v>
                </c:pt>
                <c:pt idx="13121">
                  <c:v>29363</c:v>
                </c:pt>
                <c:pt idx="13122">
                  <c:v>29364</c:v>
                </c:pt>
                <c:pt idx="13123">
                  <c:v>29368</c:v>
                </c:pt>
                <c:pt idx="13124">
                  <c:v>29369</c:v>
                </c:pt>
                <c:pt idx="13125">
                  <c:v>29370</c:v>
                </c:pt>
                <c:pt idx="13126">
                  <c:v>29371</c:v>
                </c:pt>
                <c:pt idx="13127">
                  <c:v>29374</c:v>
                </c:pt>
                <c:pt idx="13128">
                  <c:v>29375</c:v>
                </c:pt>
                <c:pt idx="13129">
                  <c:v>29376</c:v>
                </c:pt>
                <c:pt idx="13130">
                  <c:v>29377</c:v>
                </c:pt>
                <c:pt idx="13131">
                  <c:v>29378</c:v>
                </c:pt>
                <c:pt idx="13132">
                  <c:v>29381</c:v>
                </c:pt>
                <c:pt idx="13133">
                  <c:v>29382</c:v>
                </c:pt>
                <c:pt idx="13134">
                  <c:v>29383</c:v>
                </c:pt>
                <c:pt idx="13135">
                  <c:v>29384</c:v>
                </c:pt>
                <c:pt idx="13136">
                  <c:v>29385</c:v>
                </c:pt>
                <c:pt idx="13137">
                  <c:v>29388</c:v>
                </c:pt>
                <c:pt idx="13138">
                  <c:v>29389</c:v>
                </c:pt>
                <c:pt idx="13139">
                  <c:v>29390</c:v>
                </c:pt>
                <c:pt idx="13140">
                  <c:v>29391</c:v>
                </c:pt>
                <c:pt idx="13141">
                  <c:v>29392</c:v>
                </c:pt>
                <c:pt idx="13142">
                  <c:v>29395</c:v>
                </c:pt>
                <c:pt idx="13143">
                  <c:v>29396</c:v>
                </c:pt>
                <c:pt idx="13144">
                  <c:v>29397</c:v>
                </c:pt>
                <c:pt idx="13145">
                  <c:v>29398</c:v>
                </c:pt>
                <c:pt idx="13146">
                  <c:v>29399</c:v>
                </c:pt>
                <c:pt idx="13147">
                  <c:v>29402</c:v>
                </c:pt>
                <c:pt idx="13148">
                  <c:v>29403</c:v>
                </c:pt>
                <c:pt idx="13149">
                  <c:v>29404</c:v>
                </c:pt>
                <c:pt idx="13150">
                  <c:v>29405</c:v>
                </c:pt>
                <c:pt idx="13151">
                  <c:v>29409</c:v>
                </c:pt>
                <c:pt idx="13152">
                  <c:v>29410</c:v>
                </c:pt>
                <c:pt idx="13153">
                  <c:v>29411</c:v>
                </c:pt>
                <c:pt idx="13154">
                  <c:v>29412</c:v>
                </c:pt>
                <c:pt idx="13155">
                  <c:v>29413</c:v>
                </c:pt>
                <c:pt idx="13156">
                  <c:v>29416</c:v>
                </c:pt>
                <c:pt idx="13157">
                  <c:v>29417</c:v>
                </c:pt>
                <c:pt idx="13158">
                  <c:v>29418</c:v>
                </c:pt>
                <c:pt idx="13159">
                  <c:v>29419</c:v>
                </c:pt>
                <c:pt idx="13160">
                  <c:v>29420</c:v>
                </c:pt>
                <c:pt idx="13161">
                  <c:v>29423</c:v>
                </c:pt>
                <c:pt idx="13162">
                  <c:v>29424</c:v>
                </c:pt>
                <c:pt idx="13163">
                  <c:v>29425</c:v>
                </c:pt>
                <c:pt idx="13164">
                  <c:v>29426</c:v>
                </c:pt>
                <c:pt idx="13165">
                  <c:v>29427</c:v>
                </c:pt>
                <c:pt idx="13166">
                  <c:v>29430</c:v>
                </c:pt>
                <c:pt idx="13167">
                  <c:v>29431</c:v>
                </c:pt>
                <c:pt idx="13168">
                  <c:v>29432</c:v>
                </c:pt>
                <c:pt idx="13169">
                  <c:v>29433</c:v>
                </c:pt>
                <c:pt idx="13170">
                  <c:v>29434</c:v>
                </c:pt>
                <c:pt idx="13171">
                  <c:v>29437</c:v>
                </c:pt>
                <c:pt idx="13172">
                  <c:v>29438</c:v>
                </c:pt>
                <c:pt idx="13173">
                  <c:v>29439</c:v>
                </c:pt>
                <c:pt idx="13174">
                  <c:v>29440</c:v>
                </c:pt>
                <c:pt idx="13175">
                  <c:v>29441</c:v>
                </c:pt>
                <c:pt idx="13176">
                  <c:v>29444</c:v>
                </c:pt>
                <c:pt idx="13177">
                  <c:v>29445</c:v>
                </c:pt>
                <c:pt idx="13178">
                  <c:v>29446</c:v>
                </c:pt>
                <c:pt idx="13179">
                  <c:v>29447</c:v>
                </c:pt>
                <c:pt idx="13180">
                  <c:v>29448</c:v>
                </c:pt>
                <c:pt idx="13181">
                  <c:v>29451</c:v>
                </c:pt>
                <c:pt idx="13182">
                  <c:v>29452</c:v>
                </c:pt>
                <c:pt idx="13183">
                  <c:v>29453</c:v>
                </c:pt>
                <c:pt idx="13184">
                  <c:v>29454</c:v>
                </c:pt>
                <c:pt idx="13185">
                  <c:v>29455</c:v>
                </c:pt>
                <c:pt idx="13186">
                  <c:v>29458</c:v>
                </c:pt>
                <c:pt idx="13187">
                  <c:v>29459</c:v>
                </c:pt>
                <c:pt idx="13188">
                  <c:v>29460</c:v>
                </c:pt>
                <c:pt idx="13189">
                  <c:v>29461</c:v>
                </c:pt>
                <c:pt idx="13190">
                  <c:v>29462</c:v>
                </c:pt>
                <c:pt idx="13191">
                  <c:v>29466</c:v>
                </c:pt>
                <c:pt idx="13192">
                  <c:v>29467</c:v>
                </c:pt>
                <c:pt idx="13193">
                  <c:v>29468</c:v>
                </c:pt>
                <c:pt idx="13194">
                  <c:v>29469</c:v>
                </c:pt>
                <c:pt idx="13195">
                  <c:v>29472</c:v>
                </c:pt>
                <c:pt idx="13196">
                  <c:v>29473</c:v>
                </c:pt>
                <c:pt idx="13197">
                  <c:v>29474</c:v>
                </c:pt>
                <c:pt idx="13198">
                  <c:v>29475</c:v>
                </c:pt>
                <c:pt idx="13199">
                  <c:v>29476</c:v>
                </c:pt>
                <c:pt idx="13200">
                  <c:v>29479</c:v>
                </c:pt>
                <c:pt idx="13201">
                  <c:v>29480</c:v>
                </c:pt>
                <c:pt idx="13202">
                  <c:v>29481</c:v>
                </c:pt>
                <c:pt idx="13203">
                  <c:v>29482</c:v>
                </c:pt>
                <c:pt idx="13204">
                  <c:v>29483</c:v>
                </c:pt>
                <c:pt idx="13205">
                  <c:v>29486</c:v>
                </c:pt>
                <c:pt idx="13206">
                  <c:v>29487</c:v>
                </c:pt>
                <c:pt idx="13207">
                  <c:v>29488</c:v>
                </c:pt>
                <c:pt idx="13208">
                  <c:v>29489</c:v>
                </c:pt>
                <c:pt idx="13209">
                  <c:v>29490</c:v>
                </c:pt>
                <c:pt idx="13210">
                  <c:v>29493</c:v>
                </c:pt>
                <c:pt idx="13211">
                  <c:v>29494</c:v>
                </c:pt>
                <c:pt idx="13212">
                  <c:v>29495</c:v>
                </c:pt>
                <c:pt idx="13213">
                  <c:v>29496</c:v>
                </c:pt>
                <c:pt idx="13214">
                  <c:v>29497</c:v>
                </c:pt>
                <c:pt idx="13215">
                  <c:v>29500</c:v>
                </c:pt>
                <c:pt idx="13216">
                  <c:v>29501</c:v>
                </c:pt>
                <c:pt idx="13217">
                  <c:v>29502</c:v>
                </c:pt>
                <c:pt idx="13218">
                  <c:v>29503</c:v>
                </c:pt>
                <c:pt idx="13219">
                  <c:v>29504</c:v>
                </c:pt>
                <c:pt idx="13220">
                  <c:v>29507</c:v>
                </c:pt>
                <c:pt idx="13221">
                  <c:v>29508</c:v>
                </c:pt>
                <c:pt idx="13222">
                  <c:v>29509</c:v>
                </c:pt>
                <c:pt idx="13223">
                  <c:v>29510</c:v>
                </c:pt>
                <c:pt idx="13224">
                  <c:v>29511</c:v>
                </c:pt>
                <c:pt idx="13225">
                  <c:v>29514</c:v>
                </c:pt>
                <c:pt idx="13226">
                  <c:v>29515</c:v>
                </c:pt>
                <c:pt idx="13227">
                  <c:v>29516</c:v>
                </c:pt>
                <c:pt idx="13228">
                  <c:v>29517</c:v>
                </c:pt>
                <c:pt idx="13229">
                  <c:v>29518</c:v>
                </c:pt>
                <c:pt idx="13230">
                  <c:v>29521</c:v>
                </c:pt>
                <c:pt idx="13231">
                  <c:v>29522</c:v>
                </c:pt>
                <c:pt idx="13232">
                  <c:v>29523</c:v>
                </c:pt>
                <c:pt idx="13233">
                  <c:v>29524</c:v>
                </c:pt>
                <c:pt idx="13234">
                  <c:v>29525</c:v>
                </c:pt>
                <c:pt idx="13235">
                  <c:v>29528</c:v>
                </c:pt>
                <c:pt idx="13236">
                  <c:v>29530</c:v>
                </c:pt>
                <c:pt idx="13237">
                  <c:v>29531</c:v>
                </c:pt>
                <c:pt idx="13238">
                  <c:v>29532</c:v>
                </c:pt>
                <c:pt idx="13239">
                  <c:v>29535</c:v>
                </c:pt>
                <c:pt idx="13240">
                  <c:v>29536</c:v>
                </c:pt>
                <c:pt idx="13241">
                  <c:v>29537</c:v>
                </c:pt>
                <c:pt idx="13242">
                  <c:v>29538</c:v>
                </c:pt>
                <c:pt idx="13243">
                  <c:v>29539</c:v>
                </c:pt>
                <c:pt idx="13244">
                  <c:v>29542</c:v>
                </c:pt>
                <c:pt idx="13245">
                  <c:v>29543</c:v>
                </c:pt>
                <c:pt idx="13246">
                  <c:v>29544</c:v>
                </c:pt>
                <c:pt idx="13247">
                  <c:v>29545</c:v>
                </c:pt>
                <c:pt idx="13248">
                  <c:v>29546</c:v>
                </c:pt>
                <c:pt idx="13249">
                  <c:v>29549</c:v>
                </c:pt>
                <c:pt idx="13250">
                  <c:v>29550</c:v>
                </c:pt>
                <c:pt idx="13251">
                  <c:v>29551</c:v>
                </c:pt>
                <c:pt idx="13252">
                  <c:v>29553</c:v>
                </c:pt>
                <c:pt idx="13253">
                  <c:v>29556</c:v>
                </c:pt>
                <c:pt idx="13254">
                  <c:v>29557</c:v>
                </c:pt>
                <c:pt idx="13255">
                  <c:v>29558</c:v>
                </c:pt>
                <c:pt idx="13256">
                  <c:v>29559</c:v>
                </c:pt>
                <c:pt idx="13257">
                  <c:v>29560</c:v>
                </c:pt>
                <c:pt idx="13258">
                  <c:v>29563</c:v>
                </c:pt>
                <c:pt idx="13259">
                  <c:v>29564</c:v>
                </c:pt>
                <c:pt idx="13260">
                  <c:v>29565</c:v>
                </c:pt>
                <c:pt idx="13261">
                  <c:v>29566</c:v>
                </c:pt>
                <c:pt idx="13262">
                  <c:v>29567</c:v>
                </c:pt>
                <c:pt idx="13263">
                  <c:v>29570</c:v>
                </c:pt>
                <c:pt idx="13264">
                  <c:v>29571</c:v>
                </c:pt>
                <c:pt idx="13265">
                  <c:v>29572</c:v>
                </c:pt>
                <c:pt idx="13266">
                  <c:v>29573</c:v>
                </c:pt>
                <c:pt idx="13267">
                  <c:v>29574</c:v>
                </c:pt>
                <c:pt idx="13268">
                  <c:v>29577</c:v>
                </c:pt>
                <c:pt idx="13269">
                  <c:v>29578</c:v>
                </c:pt>
                <c:pt idx="13270">
                  <c:v>29579</c:v>
                </c:pt>
                <c:pt idx="13271">
                  <c:v>29581</c:v>
                </c:pt>
                <c:pt idx="13272">
                  <c:v>29584</c:v>
                </c:pt>
                <c:pt idx="13273">
                  <c:v>29585</c:v>
                </c:pt>
                <c:pt idx="13274">
                  <c:v>29586</c:v>
                </c:pt>
                <c:pt idx="13275">
                  <c:v>29588</c:v>
                </c:pt>
                <c:pt idx="13276">
                  <c:v>29591</c:v>
                </c:pt>
                <c:pt idx="13277">
                  <c:v>29592</c:v>
                </c:pt>
                <c:pt idx="13278">
                  <c:v>29593</c:v>
                </c:pt>
                <c:pt idx="13279">
                  <c:v>29594</c:v>
                </c:pt>
                <c:pt idx="13280">
                  <c:v>29595</c:v>
                </c:pt>
                <c:pt idx="13281">
                  <c:v>29598</c:v>
                </c:pt>
                <c:pt idx="13282">
                  <c:v>29599</c:v>
                </c:pt>
                <c:pt idx="13283">
                  <c:v>29600</c:v>
                </c:pt>
                <c:pt idx="13284">
                  <c:v>29601</c:v>
                </c:pt>
                <c:pt idx="13285">
                  <c:v>29602</c:v>
                </c:pt>
                <c:pt idx="13286">
                  <c:v>29605</c:v>
                </c:pt>
                <c:pt idx="13287">
                  <c:v>29606</c:v>
                </c:pt>
                <c:pt idx="13288">
                  <c:v>29607</c:v>
                </c:pt>
                <c:pt idx="13289">
                  <c:v>29608</c:v>
                </c:pt>
                <c:pt idx="13290">
                  <c:v>29609</c:v>
                </c:pt>
                <c:pt idx="13291">
                  <c:v>29612</c:v>
                </c:pt>
                <c:pt idx="13292">
                  <c:v>29613</c:v>
                </c:pt>
                <c:pt idx="13293">
                  <c:v>29614</c:v>
                </c:pt>
                <c:pt idx="13294">
                  <c:v>29615</c:v>
                </c:pt>
                <c:pt idx="13295">
                  <c:v>29616</c:v>
                </c:pt>
                <c:pt idx="13296">
                  <c:v>29619</c:v>
                </c:pt>
                <c:pt idx="13297">
                  <c:v>29620</c:v>
                </c:pt>
                <c:pt idx="13298">
                  <c:v>29621</c:v>
                </c:pt>
                <c:pt idx="13299">
                  <c:v>29622</c:v>
                </c:pt>
                <c:pt idx="13300">
                  <c:v>29623</c:v>
                </c:pt>
                <c:pt idx="13301">
                  <c:v>29626</c:v>
                </c:pt>
                <c:pt idx="13302">
                  <c:v>29627</c:v>
                </c:pt>
                <c:pt idx="13303">
                  <c:v>29628</c:v>
                </c:pt>
                <c:pt idx="13304">
                  <c:v>29629</c:v>
                </c:pt>
                <c:pt idx="13305">
                  <c:v>29630</c:v>
                </c:pt>
                <c:pt idx="13306">
                  <c:v>29634</c:v>
                </c:pt>
                <c:pt idx="13307">
                  <c:v>29635</c:v>
                </c:pt>
                <c:pt idx="13308">
                  <c:v>29636</c:v>
                </c:pt>
                <c:pt idx="13309">
                  <c:v>29637</c:v>
                </c:pt>
                <c:pt idx="13310">
                  <c:v>29640</c:v>
                </c:pt>
                <c:pt idx="13311">
                  <c:v>29641</c:v>
                </c:pt>
                <c:pt idx="13312">
                  <c:v>29642</c:v>
                </c:pt>
                <c:pt idx="13313">
                  <c:v>29643</c:v>
                </c:pt>
                <c:pt idx="13314">
                  <c:v>29644</c:v>
                </c:pt>
                <c:pt idx="13315">
                  <c:v>29647</c:v>
                </c:pt>
                <c:pt idx="13316">
                  <c:v>29648</c:v>
                </c:pt>
                <c:pt idx="13317">
                  <c:v>29649</c:v>
                </c:pt>
                <c:pt idx="13318">
                  <c:v>29650</c:v>
                </c:pt>
                <c:pt idx="13319">
                  <c:v>29651</c:v>
                </c:pt>
                <c:pt idx="13320">
                  <c:v>29654</c:v>
                </c:pt>
                <c:pt idx="13321">
                  <c:v>29655</c:v>
                </c:pt>
                <c:pt idx="13322">
                  <c:v>29656</c:v>
                </c:pt>
                <c:pt idx="13323">
                  <c:v>29657</c:v>
                </c:pt>
                <c:pt idx="13324">
                  <c:v>29658</c:v>
                </c:pt>
                <c:pt idx="13325">
                  <c:v>29661</c:v>
                </c:pt>
                <c:pt idx="13326">
                  <c:v>29662</c:v>
                </c:pt>
                <c:pt idx="13327">
                  <c:v>29663</c:v>
                </c:pt>
                <c:pt idx="13328">
                  <c:v>29664</c:v>
                </c:pt>
                <c:pt idx="13329">
                  <c:v>29665</c:v>
                </c:pt>
                <c:pt idx="13330">
                  <c:v>29668</c:v>
                </c:pt>
                <c:pt idx="13331">
                  <c:v>29669</c:v>
                </c:pt>
                <c:pt idx="13332">
                  <c:v>29670</c:v>
                </c:pt>
                <c:pt idx="13333">
                  <c:v>29671</c:v>
                </c:pt>
                <c:pt idx="13334">
                  <c:v>29672</c:v>
                </c:pt>
                <c:pt idx="13335">
                  <c:v>29675</c:v>
                </c:pt>
                <c:pt idx="13336">
                  <c:v>29676</c:v>
                </c:pt>
                <c:pt idx="13337">
                  <c:v>29677</c:v>
                </c:pt>
                <c:pt idx="13338">
                  <c:v>29678</c:v>
                </c:pt>
                <c:pt idx="13339">
                  <c:v>29679</c:v>
                </c:pt>
                <c:pt idx="13340">
                  <c:v>29682</c:v>
                </c:pt>
                <c:pt idx="13341">
                  <c:v>29683</c:v>
                </c:pt>
                <c:pt idx="13342">
                  <c:v>29684</c:v>
                </c:pt>
                <c:pt idx="13343">
                  <c:v>29685</c:v>
                </c:pt>
                <c:pt idx="13344">
                  <c:v>29686</c:v>
                </c:pt>
                <c:pt idx="13345">
                  <c:v>29689</c:v>
                </c:pt>
                <c:pt idx="13346">
                  <c:v>29690</c:v>
                </c:pt>
                <c:pt idx="13347">
                  <c:v>29691</c:v>
                </c:pt>
                <c:pt idx="13348">
                  <c:v>29692</c:v>
                </c:pt>
                <c:pt idx="13349">
                  <c:v>29696</c:v>
                </c:pt>
                <c:pt idx="13350">
                  <c:v>29697</c:v>
                </c:pt>
                <c:pt idx="13351">
                  <c:v>29698</c:v>
                </c:pt>
                <c:pt idx="13352">
                  <c:v>29699</c:v>
                </c:pt>
                <c:pt idx="13353">
                  <c:v>29700</c:v>
                </c:pt>
                <c:pt idx="13354">
                  <c:v>29703</c:v>
                </c:pt>
                <c:pt idx="13355">
                  <c:v>29704</c:v>
                </c:pt>
                <c:pt idx="13356">
                  <c:v>29705</c:v>
                </c:pt>
                <c:pt idx="13357">
                  <c:v>29706</c:v>
                </c:pt>
                <c:pt idx="13358">
                  <c:v>29707</c:v>
                </c:pt>
                <c:pt idx="13359">
                  <c:v>29710</c:v>
                </c:pt>
                <c:pt idx="13360">
                  <c:v>29711</c:v>
                </c:pt>
                <c:pt idx="13361">
                  <c:v>29712</c:v>
                </c:pt>
                <c:pt idx="13362">
                  <c:v>29713</c:v>
                </c:pt>
                <c:pt idx="13363">
                  <c:v>29714</c:v>
                </c:pt>
                <c:pt idx="13364">
                  <c:v>29717</c:v>
                </c:pt>
                <c:pt idx="13365">
                  <c:v>29718</c:v>
                </c:pt>
                <c:pt idx="13366">
                  <c:v>29719</c:v>
                </c:pt>
                <c:pt idx="13367">
                  <c:v>29720</c:v>
                </c:pt>
                <c:pt idx="13368">
                  <c:v>29721</c:v>
                </c:pt>
                <c:pt idx="13369">
                  <c:v>29724</c:v>
                </c:pt>
                <c:pt idx="13370">
                  <c:v>29725</c:v>
                </c:pt>
                <c:pt idx="13371">
                  <c:v>29726</c:v>
                </c:pt>
                <c:pt idx="13372">
                  <c:v>29727</c:v>
                </c:pt>
                <c:pt idx="13373">
                  <c:v>29728</c:v>
                </c:pt>
                <c:pt idx="13374">
                  <c:v>29732</c:v>
                </c:pt>
                <c:pt idx="13375">
                  <c:v>29733</c:v>
                </c:pt>
                <c:pt idx="13376">
                  <c:v>29734</c:v>
                </c:pt>
                <c:pt idx="13377">
                  <c:v>29735</c:v>
                </c:pt>
                <c:pt idx="13378">
                  <c:v>29738</c:v>
                </c:pt>
                <c:pt idx="13379">
                  <c:v>29739</c:v>
                </c:pt>
                <c:pt idx="13380">
                  <c:v>29740</c:v>
                </c:pt>
                <c:pt idx="13381">
                  <c:v>29741</c:v>
                </c:pt>
                <c:pt idx="13382">
                  <c:v>29742</c:v>
                </c:pt>
                <c:pt idx="13383">
                  <c:v>29745</c:v>
                </c:pt>
                <c:pt idx="13384">
                  <c:v>29746</c:v>
                </c:pt>
                <c:pt idx="13385">
                  <c:v>29747</c:v>
                </c:pt>
                <c:pt idx="13386">
                  <c:v>29748</c:v>
                </c:pt>
                <c:pt idx="13387">
                  <c:v>29749</c:v>
                </c:pt>
                <c:pt idx="13388">
                  <c:v>29752</c:v>
                </c:pt>
                <c:pt idx="13389">
                  <c:v>29753</c:v>
                </c:pt>
                <c:pt idx="13390">
                  <c:v>29754</c:v>
                </c:pt>
                <c:pt idx="13391">
                  <c:v>29755</c:v>
                </c:pt>
                <c:pt idx="13392">
                  <c:v>29756</c:v>
                </c:pt>
                <c:pt idx="13393">
                  <c:v>29759</c:v>
                </c:pt>
                <c:pt idx="13394">
                  <c:v>29760</c:v>
                </c:pt>
                <c:pt idx="13395">
                  <c:v>29761</c:v>
                </c:pt>
                <c:pt idx="13396">
                  <c:v>29762</c:v>
                </c:pt>
                <c:pt idx="13397">
                  <c:v>29763</c:v>
                </c:pt>
                <c:pt idx="13398">
                  <c:v>29766</c:v>
                </c:pt>
                <c:pt idx="13399">
                  <c:v>29767</c:v>
                </c:pt>
                <c:pt idx="13400">
                  <c:v>29768</c:v>
                </c:pt>
                <c:pt idx="13401">
                  <c:v>29769</c:v>
                </c:pt>
                <c:pt idx="13402">
                  <c:v>29773</c:v>
                </c:pt>
                <c:pt idx="13403">
                  <c:v>29774</c:v>
                </c:pt>
                <c:pt idx="13404">
                  <c:v>29775</c:v>
                </c:pt>
                <c:pt idx="13405">
                  <c:v>29776</c:v>
                </c:pt>
                <c:pt idx="13406">
                  <c:v>29777</c:v>
                </c:pt>
                <c:pt idx="13407">
                  <c:v>29780</c:v>
                </c:pt>
                <c:pt idx="13408">
                  <c:v>29781</c:v>
                </c:pt>
                <c:pt idx="13409">
                  <c:v>29782</c:v>
                </c:pt>
                <c:pt idx="13410">
                  <c:v>29783</c:v>
                </c:pt>
                <c:pt idx="13411">
                  <c:v>29784</c:v>
                </c:pt>
                <c:pt idx="13412">
                  <c:v>29787</c:v>
                </c:pt>
                <c:pt idx="13413">
                  <c:v>29788</c:v>
                </c:pt>
                <c:pt idx="13414">
                  <c:v>29789</c:v>
                </c:pt>
                <c:pt idx="13415">
                  <c:v>29790</c:v>
                </c:pt>
                <c:pt idx="13416">
                  <c:v>29791</c:v>
                </c:pt>
                <c:pt idx="13417">
                  <c:v>29794</c:v>
                </c:pt>
                <c:pt idx="13418">
                  <c:v>29795</c:v>
                </c:pt>
                <c:pt idx="13419">
                  <c:v>29796</c:v>
                </c:pt>
                <c:pt idx="13420">
                  <c:v>29797</c:v>
                </c:pt>
                <c:pt idx="13421">
                  <c:v>29798</c:v>
                </c:pt>
                <c:pt idx="13422">
                  <c:v>29801</c:v>
                </c:pt>
                <c:pt idx="13423">
                  <c:v>29802</c:v>
                </c:pt>
                <c:pt idx="13424">
                  <c:v>29803</c:v>
                </c:pt>
                <c:pt idx="13425">
                  <c:v>29804</c:v>
                </c:pt>
                <c:pt idx="13426">
                  <c:v>29805</c:v>
                </c:pt>
                <c:pt idx="13427">
                  <c:v>29808</c:v>
                </c:pt>
                <c:pt idx="13428">
                  <c:v>29809</c:v>
                </c:pt>
                <c:pt idx="13429">
                  <c:v>29810</c:v>
                </c:pt>
                <c:pt idx="13430">
                  <c:v>29811</c:v>
                </c:pt>
                <c:pt idx="13431">
                  <c:v>29812</c:v>
                </c:pt>
                <c:pt idx="13432">
                  <c:v>29815</c:v>
                </c:pt>
                <c:pt idx="13433">
                  <c:v>29816</c:v>
                </c:pt>
                <c:pt idx="13434">
                  <c:v>29817</c:v>
                </c:pt>
                <c:pt idx="13435">
                  <c:v>29818</c:v>
                </c:pt>
                <c:pt idx="13436">
                  <c:v>29819</c:v>
                </c:pt>
                <c:pt idx="13437">
                  <c:v>29822</c:v>
                </c:pt>
                <c:pt idx="13438">
                  <c:v>29823</c:v>
                </c:pt>
                <c:pt idx="13439">
                  <c:v>29824</c:v>
                </c:pt>
                <c:pt idx="13440">
                  <c:v>29825</c:v>
                </c:pt>
                <c:pt idx="13441">
                  <c:v>29826</c:v>
                </c:pt>
                <c:pt idx="13442">
                  <c:v>29829</c:v>
                </c:pt>
                <c:pt idx="13443">
                  <c:v>29830</c:v>
                </c:pt>
                <c:pt idx="13444">
                  <c:v>29831</c:v>
                </c:pt>
                <c:pt idx="13445">
                  <c:v>29832</c:v>
                </c:pt>
                <c:pt idx="13446">
                  <c:v>29833</c:v>
                </c:pt>
                <c:pt idx="13447">
                  <c:v>29837</c:v>
                </c:pt>
                <c:pt idx="13448">
                  <c:v>29838</c:v>
                </c:pt>
                <c:pt idx="13449">
                  <c:v>29839</c:v>
                </c:pt>
                <c:pt idx="13450">
                  <c:v>29840</c:v>
                </c:pt>
                <c:pt idx="13451">
                  <c:v>29843</c:v>
                </c:pt>
                <c:pt idx="13452">
                  <c:v>29844</c:v>
                </c:pt>
                <c:pt idx="13453">
                  <c:v>29845</c:v>
                </c:pt>
                <c:pt idx="13454">
                  <c:v>29846</c:v>
                </c:pt>
                <c:pt idx="13455">
                  <c:v>29847</c:v>
                </c:pt>
                <c:pt idx="13456">
                  <c:v>29850</c:v>
                </c:pt>
                <c:pt idx="13457">
                  <c:v>29851</c:v>
                </c:pt>
                <c:pt idx="13458">
                  <c:v>29852</c:v>
                </c:pt>
                <c:pt idx="13459">
                  <c:v>29853</c:v>
                </c:pt>
                <c:pt idx="13460">
                  <c:v>29854</c:v>
                </c:pt>
                <c:pt idx="13461">
                  <c:v>29857</c:v>
                </c:pt>
                <c:pt idx="13462">
                  <c:v>29858</c:v>
                </c:pt>
                <c:pt idx="13463">
                  <c:v>29859</c:v>
                </c:pt>
                <c:pt idx="13464">
                  <c:v>29860</c:v>
                </c:pt>
                <c:pt idx="13465">
                  <c:v>29861</c:v>
                </c:pt>
                <c:pt idx="13466">
                  <c:v>29864</c:v>
                </c:pt>
                <c:pt idx="13467">
                  <c:v>29865</c:v>
                </c:pt>
                <c:pt idx="13468">
                  <c:v>29866</c:v>
                </c:pt>
                <c:pt idx="13469">
                  <c:v>29867</c:v>
                </c:pt>
                <c:pt idx="13470">
                  <c:v>29868</c:v>
                </c:pt>
                <c:pt idx="13471">
                  <c:v>29871</c:v>
                </c:pt>
                <c:pt idx="13472">
                  <c:v>29872</c:v>
                </c:pt>
                <c:pt idx="13473">
                  <c:v>29873</c:v>
                </c:pt>
                <c:pt idx="13474">
                  <c:v>29874</c:v>
                </c:pt>
                <c:pt idx="13475">
                  <c:v>29875</c:v>
                </c:pt>
                <c:pt idx="13476">
                  <c:v>29878</c:v>
                </c:pt>
                <c:pt idx="13477">
                  <c:v>29879</c:v>
                </c:pt>
                <c:pt idx="13478">
                  <c:v>29880</c:v>
                </c:pt>
                <c:pt idx="13479">
                  <c:v>29881</c:v>
                </c:pt>
                <c:pt idx="13480">
                  <c:v>29882</c:v>
                </c:pt>
                <c:pt idx="13481">
                  <c:v>29885</c:v>
                </c:pt>
                <c:pt idx="13482">
                  <c:v>29886</c:v>
                </c:pt>
                <c:pt idx="13483">
                  <c:v>29887</c:v>
                </c:pt>
                <c:pt idx="13484">
                  <c:v>29888</c:v>
                </c:pt>
                <c:pt idx="13485">
                  <c:v>29889</c:v>
                </c:pt>
                <c:pt idx="13486">
                  <c:v>29892</c:v>
                </c:pt>
                <c:pt idx="13487">
                  <c:v>29893</c:v>
                </c:pt>
                <c:pt idx="13488">
                  <c:v>29894</c:v>
                </c:pt>
                <c:pt idx="13489">
                  <c:v>29895</c:v>
                </c:pt>
                <c:pt idx="13490">
                  <c:v>29896</c:v>
                </c:pt>
                <c:pt idx="13491">
                  <c:v>29899</c:v>
                </c:pt>
                <c:pt idx="13492">
                  <c:v>29900</c:v>
                </c:pt>
                <c:pt idx="13493">
                  <c:v>29901</c:v>
                </c:pt>
                <c:pt idx="13494">
                  <c:v>29902</c:v>
                </c:pt>
                <c:pt idx="13495">
                  <c:v>29903</c:v>
                </c:pt>
                <c:pt idx="13496">
                  <c:v>29906</c:v>
                </c:pt>
                <c:pt idx="13497">
                  <c:v>29907</c:v>
                </c:pt>
                <c:pt idx="13498">
                  <c:v>29908</c:v>
                </c:pt>
                <c:pt idx="13499">
                  <c:v>29909</c:v>
                </c:pt>
                <c:pt idx="13500">
                  <c:v>29910</c:v>
                </c:pt>
                <c:pt idx="13501">
                  <c:v>29913</c:v>
                </c:pt>
                <c:pt idx="13502">
                  <c:v>29914</c:v>
                </c:pt>
                <c:pt idx="13503">
                  <c:v>29915</c:v>
                </c:pt>
                <c:pt idx="13504">
                  <c:v>29917</c:v>
                </c:pt>
                <c:pt idx="13505">
                  <c:v>29920</c:v>
                </c:pt>
                <c:pt idx="13506">
                  <c:v>29921</c:v>
                </c:pt>
                <c:pt idx="13507">
                  <c:v>29922</c:v>
                </c:pt>
                <c:pt idx="13508">
                  <c:v>29923</c:v>
                </c:pt>
                <c:pt idx="13509">
                  <c:v>29924</c:v>
                </c:pt>
                <c:pt idx="13510">
                  <c:v>29927</c:v>
                </c:pt>
                <c:pt idx="13511">
                  <c:v>29928</c:v>
                </c:pt>
                <c:pt idx="13512">
                  <c:v>29929</c:v>
                </c:pt>
                <c:pt idx="13513">
                  <c:v>29930</c:v>
                </c:pt>
                <c:pt idx="13514">
                  <c:v>29931</c:v>
                </c:pt>
                <c:pt idx="13515">
                  <c:v>29934</c:v>
                </c:pt>
                <c:pt idx="13516">
                  <c:v>29935</c:v>
                </c:pt>
                <c:pt idx="13517">
                  <c:v>29936</c:v>
                </c:pt>
                <c:pt idx="13518">
                  <c:v>29937</c:v>
                </c:pt>
                <c:pt idx="13519">
                  <c:v>29938</c:v>
                </c:pt>
                <c:pt idx="13520">
                  <c:v>29941</c:v>
                </c:pt>
                <c:pt idx="13521">
                  <c:v>29942</c:v>
                </c:pt>
                <c:pt idx="13522">
                  <c:v>29943</c:v>
                </c:pt>
                <c:pt idx="13523">
                  <c:v>29944</c:v>
                </c:pt>
                <c:pt idx="13524">
                  <c:v>29948</c:v>
                </c:pt>
                <c:pt idx="13525">
                  <c:v>29949</c:v>
                </c:pt>
                <c:pt idx="13526">
                  <c:v>29950</c:v>
                </c:pt>
                <c:pt idx="13527">
                  <c:v>29951</c:v>
                </c:pt>
                <c:pt idx="13528">
                  <c:v>29955</c:v>
                </c:pt>
                <c:pt idx="13529">
                  <c:v>29956</c:v>
                </c:pt>
                <c:pt idx="13530">
                  <c:v>29957</c:v>
                </c:pt>
                <c:pt idx="13531">
                  <c:v>29958</c:v>
                </c:pt>
                <c:pt idx="13532">
                  <c:v>29959</c:v>
                </c:pt>
                <c:pt idx="13533">
                  <c:v>29962</c:v>
                </c:pt>
                <c:pt idx="13534">
                  <c:v>29963</c:v>
                </c:pt>
                <c:pt idx="13535">
                  <c:v>29964</c:v>
                </c:pt>
                <c:pt idx="13536">
                  <c:v>29965</c:v>
                </c:pt>
                <c:pt idx="13537">
                  <c:v>29966</c:v>
                </c:pt>
                <c:pt idx="13538">
                  <c:v>29969</c:v>
                </c:pt>
                <c:pt idx="13539">
                  <c:v>29970</c:v>
                </c:pt>
                <c:pt idx="13540">
                  <c:v>29971</c:v>
                </c:pt>
                <c:pt idx="13541">
                  <c:v>29972</c:v>
                </c:pt>
                <c:pt idx="13542">
                  <c:v>29973</c:v>
                </c:pt>
                <c:pt idx="13543">
                  <c:v>29976</c:v>
                </c:pt>
                <c:pt idx="13544">
                  <c:v>29977</c:v>
                </c:pt>
                <c:pt idx="13545">
                  <c:v>29978</c:v>
                </c:pt>
                <c:pt idx="13546">
                  <c:v>29979</c:v>
                </c:pt>
                <c:pt idx="13547">
                  <c:v>29980</c:v>
                </c:pt>
                <c:pt idx="13548">
                  <c:v>29983</c:v>
                </c:pt>
                <c:pt idx="13549">
                  <c:v>29984</c:v>
                </c:pt>
                <c:pt idx="13550">
                  <c:v>29985</c:v>
                </c:pt>
                <c:pt idx="13551">
                  <c:v>29986</c:v>
                </c:pt>
                <c:pt idx="13552">
                  <c:v>29987</c:v>
                </c:pt>
                <c:pt idx="13553">
                  <c:v>29990</c:v>
                </c:pt>
                <c:pt idx="13554">
                  <c:v>29991</c:v>
                </c:pt>
                <c:pt idx="13555">
                  <c:v>29992</c:v>
                </c:pt>
                <c:pt idx="13556">
                  <c:v>29993</c:v>
                </c:pt>
                <c:pt idx="13557">
                  <c:v>29994</c:v>
                </c:pt>
                <c:pt idx="13558">
                  <c:v>29998</c:v>
                </c:pt>
                <c:pt idx="13559">
                  <c:v>29999</c:v>
                </c:pt>
                <c:pt idx="13560">
                  <c:v>30000</c:v>
                </c:pt>
                <c:pt idx="13561">
                  <c:v>30001</c:v>
                </c:pt>
                <c:pt idx="13562">
                  <c:v>30004</c:v>
                </c:pt>
                <c:pt idx="13563">
                  <c:v>30005</c:v>
                </c:pt>
                <c:pt idx="13564">
                  <c:v>30006</c:v>
                </c:pt>
                <c:pt idx="13565">
                  <c:v>30007</c:v>
                </c:pt>
                <c:pt idx="13566">
                  <c:v>30008</c:v>
                </c:pt>
                <c:pt idx="13567">
                  <c:v>30011</c:v>
                </c:pt>
                <c:pt idx="13568">
                  <c:v>30012</c:v>
                </c:pt>
                <c:pt idx="13569">
                  <c:v>30013</c:v>
                </c:pt>
                <c:pt idx="13570">
                  <c:v>30014</c:v>
                </c:pt>
                <c:pt idx="13571">
                  <c:v>30015</c:v>
                </c:pt>
                <c:pt idx="13572">
                  <c:v>30018</c:v>
                </c:pt>
                <c:pt idx="13573">
                  <c:v>30019</c:v>
                </c:pt>
                <c:pt idx="13574">
                  <c:v>30020</c:v>
                </c:pt>
                <c:pt idx="13575">
                  <c:v>30021</c:v>
                </c:pt>
                <c:pt idx="13576">
                  <c:v>30022</c:v>
                </c:pt>
                <c:pt idx="13577">
                  <c:v>30025</c:v>
                </c:pt>
                <c:pt idx="13578">
                  <c:v>30026</c:v>
                </c:pt>
                <c:pt idx="13579">
                  <c:v>30027</c:v>
                </c:pt>
                <c:pt idx="13580">
                  <c:v>30028</c:v>
                </c:pt>
                <c:pt idx="13581">
                  <c:v>30029</c:v>
                </c:pt>
                <c:pt idx="13582">
                  <c:v>30032</c:v>
                </c:pt>
                <c:pt idx="13583">
                  <c:v>30033</c:v>
                </c:pt>
                <c:pt idx="13584">
                  <c:v>30034</c:v>
                </c:pt>
                <c:pt idx="13585">
                  <c:v>30035</c:v>
                </c:pt>
                <c:pt idx="13586">
                  <c:v>30036</c:v>
                </c:pt>
                <c:pt idx="13587">
                  <c:v>30039</c:v>
                </c:pt>
                <c:pt idx="13588">
                  <c:v>30040</c:v>
                </c:pt>
                <c:pt idx="13589">
                  <c:v>30041</c:v>
                </c:pt>
                <c:pt idx="13590">
                  <c:v>30042</c:v>
                </c:pt>
                <c:pt idx="13591">
                  <c:v>30043</c:v>
                </c:pt>
                <c:pt idx="13592">
                  <c:v>30046</c:v>
                </c:pt>
                <c:pt idx="13593">
                  <c:v>30047</c:v>
                </c:pt>
                <c:pt idx="13594">
                  <c:v>30048</c:v>
                </c:pt>
                <c:pt idx="13595">
                  <c:v>30049</c:v>
                </c:pt>
                <c:pt idx="13596">
                  <c:v>30053</c:v>
                </c:pt>
                <c:pt idx="13597">
                  <c:v>30054</c:v>
                </c:pt>
                <c:pt idx="13598">
                  <c:v>30055</c:v>
                </c:pt>
                <c:pt idx="13599">
                  <c:v>30056</c:v>
                </c:pt>
                <c:pt idx="13600">
                  <c:v>30057</c:v>
                </c:pt>
                <c:pt idx="13601">
                  <c:v>30060</c:v>
                </c:pt>
                <c:pt idx="13602">
                  <c:v>30061</c:v>
                </c:pt>
                <c:pt idx="13603">
                  <c:v>30062</c:v>
                </c:pt>
                <c:pt idx="13604">
                  <c:v>30063</c:v>
                </c:pt>
                <c:pt idx="13605">
                  <c:v>30064</c:v>
                </c:pt>
                <c:pt idx="13606">
                  <c:v>30067</c:v>
                </c:pt>
                <c:pt idx="13607">
                  <c:v>30068</c:v>
                </c:pt>
                <c:pt idx="13608">
                  <c:v>30069</c:v>
                </c:pt>
                <c:pt idx="13609">
                  <c:v>30070</c:v>
                </c:pt>
                <c:pt idx="13610">
                  <c:v>30071</c:v>
                </c:pt>
                <c:pt idx="13611">
                  <c:v>30074</c:v>
                </c:pt>
                <c:pt idx="13612">
                  <c:v>30075</c:v>
                </c:pt>
                <c:pt idx="13613">
                  <c:v>30076</c:v>
                </c:pt>
                <c:pt idx="13614">
                  <c:v>30077</c:v>
                </c:pt>
                <c:pt idx="13615">
                  <c:v>30078</c:v>
                </c:pt>
                <c:pt idx="13616">
                  <c:v>30081</c:v>
                </c:pt>
                <c:pt idx="13617">
                  <c:v>30082</c:v>
                </c:pt>
                <c:pt idx="13618">
                  <c:v>30083</c:v>
                </c:pt>
                <c:pt idx="13619">
                  <c:v>30084</c:v>
                </c:pt>
                <c:pt idx="13620">
                  <c:v>30085</c:v>
                </c:pt>
                <c:pt idx="13621">
                  <c:v>30088</c:v>
                </c:pt>
                <c:pt idx="13622">
                  <c:v>30089</c:v>
                </c:pt>
                <c:pt idx="13623">
                  <c:v>30090</c:v>
                </c:pt>
                <c:pt idx="13624">
                  <c:v>30091</c:v>
                </c:pt>
                <c:pt idx="13625">
                  <c:v>30092</c:v>
                </c:pt>
                <c:pt idx="13626">
                  <c:v>30095</c:v>
                </c:pt>
                <c:pt idx="13627">
                  <c:v>30096</c:v>
                </c:pt>
                <c:pt idx="13628">
                  <c:v>30097</c:v>
                </c:pt>
                <c:pt idx="13629">
                  <c:v>30098</c:v>
                </c:pt>
                <c:pt idx="13630">
                  <c:v>30099</c:v>
                </c:pt>
                <c:pt idx="13631">
                  <c:v>30103</c:v>
                </c:pt>
                <c:pt idx="13632">
                  <c:v>30104</c:v>
                </c:pt>
                <c:pt idx="13633">
                  <c:v>30105</c:v>
                </c:pt>
                <c:pt idx="13634">
                  <c:v>30106</c:v>
                </c:pt>
                <c:pt idx="13635">
                  <c:v>30109</c:v>
                </c:pt>
                <c:pt idx="13636">
                  <c:v>30110</c:v>
                </c:pt>
                <c:pt idx="13637">
                  <c:v>30111</c:v>
                </c:pt>
                <c:pt idx="13638">
                  <c:v>30112</c:v>
                </c:pt>
                <c:pt idx="13639">
                  <c:v>30113</c:v>
                </c:pt>
                <c:pt idx="13640">
                  <c:v>30116</c:v>
                </c:pt>
                <c:pt idx="13641">
                  <c:v>30117</c:v>
                </c:pt>
                <c:pt idx="13642">
                  <c:v>30118</c:v>
                </c:pt>
                <c:pt idx="13643">
                  <c:v>30119</c:v>
                </c:pt>
                <c:pt idx="13644">
                  <c:v>30120</c:v>
                </c:pt>
                <c:pt idx="13645">
                  <c:v>30123</c:v>
                </c:pt>
                <c:pt idx="13646">
                  <c:v>30124</c:v>
                </c:pt>
                <c:pt idx="13647">
                  <c:v>30125</c:v>
                </c:pt>
                <c:pt idx="13648">
                  <c:v>30126</c:v>
                </c:pt>
                <c:pt idx="13649">
                  <c:v>30127</c:v>
                </c:pt>
                <c:pt idx="13650">
                  <c:v>30130</c:v>
                </c:pt>
                <c:pt idx="13651">
                  <c:v>30131</c:v>
                </c:pt>
                <c:pt idx="13652">
                  <c:v>30132</c:v>
                </c:pt>
                <c:pt idx="13653">
                  <c:v>30133</c:v>
                </c:pt>
                <c:pt idx="13654">
                  <c:v>30134</c:v>
                </c:pt>
                <c:pt idx="13655">
                  <c:v>30138</c:v>
                </c:pt>
                <c:pt idx="13656">
                  <c:v>30139</c:v>
                </c:pt>
                <c:pt idx="13657">
                  <c:v>30140</c:v>
                </c:pt>
                <c:pt idx="13658">
                  <c:v>30141</c:v>
                </c:pt>
                <c:pt idx="13659">
                  <c:v>30144</c:v>
                </c:pt>
                <c:pt idx="13660">
                  <c:v>30145</c:v>
                </c:pt>
                <c:pt idx="13661">
                  <c:v>30146</c:v>
                </c:pt>
                <c:pt idx="13662">
                  <c:v>30147</c:v>
                </c:pt>
                <c:pt idx="13663">
                  <c:v>30148</c:v>
                </c:pt>
                <c:pt idx="13664">
                  <c:v>30151</c:v>
                </c:pt>
                <c:pt idx="13665">
                  <c:v>30152</c:v>
                </c:pt>
                <c:pt idx="13666">
                  <c:v>30153</c:v>
                </c:pt>
                <c:pt idx="13667">
                  <c:v>30154</c:v>
                </c:pt>
                <c:pt idx="13668">
                  <c:v>30155</c:v>
                </c:pt>
                <c:pt idx="13669">
                  <c:v>30158</c:v>
                </c:pt>
                <c:pt idx="13670">
                  <c:v>30159</c:v>
                </c:pt>
                <c:pt idx="13671">
                  <c:v>30160</c:v>
                </c:pt>
                <c:pt idx="13672">
                  <c:v>30161</c:v>
                </c:pt>
                <c:pt idx="13673">
                  <c:v>30162</c:v>
                </c:pt>
                <c:pt idx="13674">
                  <c:v>30165</c:v>
                </c:pt>
                <c:pt idx="13675">
                  <c:v>30166</c:v>
                </c:pt>
                <c:pt idx="13676">
                  <c:v>30167</c:v>
                </c:pt>
                <c:pt idx="13677">
                  <c:v>30168</c:v>
                </c:pt>
                <c:pt idx="13678">
                  <c:v>30169</c:v>
                </c:pt>
                <c:pt idx="13679">
                  <c:v>30172</c:v>
                </c:pt>
                <c:pt idx="13680">
                  <c:v>30173</c:v>
                </c:pt>
                <c:pt idx="13681">
                  <c:v>30174</c:v>
                </c:pt>
                <c:pt idx="13682">
                  <c:v>30175</c:v>
                </c:pt>
                <c:pt idx="13683">
                  <c:v>30176</c:v>
                </c:pt>
                <c:pt idx="13684">
                  <c:v>30179</c:v>
                </c:pt>
                <c:pt idx="13685">
                  <c:v>30180</c:v>
                </c:pt>
                <c:pt idx="13686">
                  <c:v>30181</c:v>
                </c:pt>
                <c:pt idx="13687">
                  <c:v>30182</c:v>
                </c:pt>
                <c:pt idx="13688">
                  <c:v>30183</c:v>
                </c:pt>
                <c:pt idx="13689">
                  <c:v>30186</c:v>
                </c:pt>
                <c:pt idx="13690">
                  <c:v>30187</c:v>
                </c:pt>
                <c:pt idx="13691">
                  <c:v>30188</c:v>
                </c:pt>
                <c:pt idx="13692">
                  <c:v>30189</c:v>
                </c:pt>
                <c:pt idx="13693">
                  <c:v>30190</c:v>
                </c:pt>
                <c:pt idx="13694">
                  <c:v>30193</c:v>
                </c:pt>
                <c:pt idx="13695">
                  <c:v>30194</c:v>
                </c:pt>
                <c:pt idx="13696">
                  <c:v>30195</c:v>
                </c:pt>
                <c:pt idx="13697">
                  <c:v>30196</c:v>
                </c:pt>
                <c:pt idx="13698">
                  <c:v>30197</c:v>
                </c:pt>
                <c:pt idx="13699">
                  <c:v>30201</c:v>
                </c:pt>
                <c:pt idx="13700">
                  <c:v>30202</c:v>
                </c:pt>
                <c:pt idx="13701">
                  <c:v>30203</c:v>
                </c:pt>
                <c:pt idx="13702">
                  <c:v>30204</c:v>
                </c:pt>
                <c:pt idx="13703">
                  <c:v>30207</c:v>
                </c:pt>
                <c:pt idx="13704">
                  <c:v>30208</c:v>
                </c:pt>
                <c:pt idx="13705">
                  <c:v>30209</c:v>
                </c:pt>
                <c:pt idx="13706">
                  <c:v>30210</c:v>
                </c:pt>
                <c:pt idx="13707">
                  <c:v>30211</c:v>
                </c:pt>
                <c:pt idx="13708">
                  <c:v>30214</c:v>
                </c:pt>
                <c:pt idx="13709">
                  <c:v>30215</c:v>
                </c:pt>
                <c:pt idx="13710">
                  <c:v>30216</c:v>
                </c:pt>
                <c:pt idx="13711">
                  <c:v>30217</c:v>
                </c:pt>
                <c:pt idx="13712">
                  <c:v>30218</c:v>
                </c:pt>
                <c:pt idx="13713">
                  <c:v>30221</c:v>
                </c:pt>
                <c:pt idx="13714">
                  <c:v>30222</c:v>
                </c:pt>
                <c:pt idx="13715">
                  <c:v>30223</c:v>
                </c:pt>
                <c:pt idx="13716">
                  <c:v>30224</c:v>
                </c:pt>
                <c:pt idx="13717">
                  <c:v>30225</c:v>
                </c:pt>
                <c:pt idx="13718">
                  <c:v>30228</c:v>
                </c:pt>
                <c:pt idx="13719">
                  <c:v>30229</c:v>
                </c:pt>
                <c:pt idx="13720">
                  <c:v>30230</c:v>
                </c:pt>
                <c:pt idx="13721">
                  <c:v>30231</c:v>
                </c:pt>
                <c:pt idx="13722">
                  <c:v>30232</c:v>
                </c:pt>
                <c:pt idx="13723">
                  <c:v>30235</c:v>
                </c:pt>
                <c:pt idx="13724">
                  <c:v>30236</c:v>
                </c:pt>
                <c:pt idx="13725">
                  <c:v>30237</c:v>
                </c:pt>
                <c:pt idx="13726">
                  <c:v>30238</c:v>
                </c:pt>
                <c:pt idx="13727">
                  <c:v>30239</c:v>
                </c:pt>
                <c:pt idx="13728">
                  <c:v>30242</c:v>
                </c:pt>
                <c:pt idx="13729">
                  <c:v>30243</c:v>
                </c:pt>
                <c:pt idx="13730">
                  <c:v>30244</c:v>
                </c:pt>
                <c:pt idx="13731">
                  <c:v>30245</c:v>
                </c:pt>
                <c:pt idx="13732">
                  <c:v>30246</c:v>
                </c:pt>
                <c:pt idx="13733">
                  <c:v>30249</c:v>
                </c:pt>
                <c:pt idx="13734">
                  <c:v>30250</c:v>
                </c:pt>
                <c:pt idx="13735">
                  <c:v>30251</c:v>
                </c:pt>
                <c:pt idx="13736">
                  <c:v>30252</c:v>
                </c:pt>
                <c:pt idx="13737">
                  <c:v>30253</c:v>
                </c:pt>
                <c:pt idx="13738">
                  <c:v>30256</c:v>
                </c:pt>
                <c:pt idx="13739">
                  <c:v>30257</c:v>
                </c:pt>
                <c:pt idx="13740">
                  <c:v>30258</c:v>
                </c:pt>
                <c:pt idx="13741">
                  <c:v>30259</c:v>
                </c:pt>
                <c:pt idx="13742">
                  <c:v>30260</c:v>
                </c:pt>
                <c:pt idx="13743">
                  <c:v>30263</c:v>
                </c:pt>
                <c:pt idx="13744">
                  <c:v>30264</c:v>
                </c:pt>
                <c:pt idx="13745">
                  <c:v>30265</c:v>
                </c:pt>
                <c:pt idx="13746">
                  <c:v>30266</c:v>
                </c:pt>
                <c:pt idx="13747">
                  <c:v>30267</c:v>
                </c:pt>
                <c:pt idx="13748">
                  <c:v>30270</c:v>
                </c:pt>
                <c:pt idx="13749">
                  <c:v>30271</c:v>
                </c:pt>
                <c:pt idx="13750">
                  <c:v>30272</c:v>
                </c:pt>
                <c:pt idx="13751">
                  <c:v>30273</c:v>
                </c:pt>
                <c:pt idx="13752">
                  <c:v>30274</c:v>
                </c:pt>
                <c:pt idx="13753">
                  <c:v>30277</c:v>
                </c:pt>
                <c:pt idx="13754">
                  <c:v>30278</c:v>
                </c:pt>
                <c:pt idx="13755">
                  <c:v>30279</c:v>
                </c:pt>
                <c:pt idx="13756">
                  <c:v>30281</c:v>
                </c:pt>
                <c:pt idx="13757">
                  <c:v>30284</c:v>
                </c:pt>
                <c:pt idx="13758">
                  <c:v>30285</c:v>
                </c:pt>
                <c:pt idx="13759">
                  <c:v>30286</c:v>
                </c:pt>
                <c:pt idx="13760">
                  <c:v>30287</c:v>
                </c:pt>
                <c:pt idx="13761">
                  <c:v>30288</c:v>
                </c:pt>
                <c:pt idx="13762">
                  <c:v>30291</c:v>
                </c:pt>
                <c:pt idx="13763">
                  <c:v>30292</c:v>
                </c:pt>
                <c:pt idx="13764">
                  <c:v>30293</c:v>
                </c:pt>
                <c:pt idx="13765">
                  <c:v>30294</c:v>
                </c:pt>
                <c:pt idx="13766">
                  <c:v>30295</c:v>
                </c:pt>
                <c:pt idx="13767">
                  <c:v>30298</c:v>
                </c:pt>
                <c:pt idx="13768">
                  <c:v>30299</c:v>
                </c:pt>
                <c:pt idx="13769">
                  <c:v>30300</c:v>
                </c:pt>
                <c:pt idx="13770">
                  <c:v>30301</c:v>
                </c:pt>
                <c:pt idx="13771">
                  <c:v>30302</c:v>
                </c:pt>
                <c:pt idx="13772">
                  <c:v>30305</c:v>
                </c:pt>
                <c:pt idx="13773">
                  <c:v>30306</c:v>
                </c:pt>
                <c:pt idx="13774">
                  <c:v>30307</c:v>
                </c:pt>
                <c:pt idx="13775">
                  <c:v>30308</c:v>
                </c:pt>
                <c:pt idx="13776">
                  <c:v>30312</c:v>
                </c:pt>
                <c:pt idx="13777">
                  <c:v>30313</c:v>
                </c:pt>
                <c:pt idx="13778">
                  <c:v>30314</c:v>
                </c:pt>
                <c:pt idx="13779">
                  <c:v>30315</c:v>
                </c:pt>
                <c:pt idx="13780">
                  <c:v>30316</c:v>
                </c:pt>
                <c:pt idx="13781">
                  <c:v>30319</c:v>
                </c:pt>
                <c:pt idx="13782">
                  <c:v>30320</c:v>
                </c:pt>
                <c:pt idx="13783">
                  <c:v>30321</c:v>
                </c:pt>
                <c:pt idx="13784">
                  <c:v>30322</c:v>
                </c:pt>
                <c:pt idx="13785">
                  <c:v>30323</c:v>
                </c:pt>
                <c:pt idx="13786">
                  <c:v>30326</c:v>
                </c:pt>
                <c:pt idx="13787">
                  <c:v>30327</c:v>
                </c:pt>
                <c:pt idx="13788">
                  <c:v>30328</c:v>
                </c:pt>
                <c:pt idx="13789">
                  <c:v>30329</c:v>
                </c:pt>
                <c:pt idx="13790">
                  <c:v>30330</c:v>
                </c:pt>
                <c:pt idx="13791">
                  <c:v>30333</c:v>
                </c:pt>
                <c:pt idx="13792">
                  <c:v>30334</c:v>
                </c:pt>
                <c:pt idx="13793">
                  <c:v>30335</c:v>
                </c:pt>
                <c:pt idx="13794">
                  <c:v>30336</c:v>
                </c:pt>
                <c:pt idx="13795">
                  <c:v>30337</c:v>
                </c:pt>
                <c:pt idx="13796">
                  <c:v>30340</c:v>
                </c:pt>
                <c:pt idx="13797">
                  <c:v>30341</c:v>
                </c:pt>
                <c:pt idx="13798">
                  <c:v>30342</c:v>
                </c:pt>
                <c:pt idx="13799">
                  <c:v>30343</c:v>
                </c:pt>
                <c:pt idx="13800">
                  <c:v>30344</c:v>
                </c:pt>
                <c:pt idx="13801">
                  <c:v>30347</c:v>
                </c:pt>
                <c:pt idx="13802">
                  <c:v>30348</c:v>
                </c:pt>
                <c:pt idx="13803">
                  <c:v>30349</c:v>
                </c:pt>
                <c:pt idx="13804">
                  <c:v>30350</c:v>
                </c:pt>
                <c:pt idx="13805">
                  <c:v>30351</c:v>
                </c:pt>
                <c:pt idx="13806">
                  <c:v>30354</c:v>
                </c:pt>
                <c:pt idx="13807">
                  <c:v>30355</c:v>
                </c:pt>
                <c:pt idx="13808">
                  <c:v>30356</c:v>
                </c:pt>
                <c:pt idx="13809">
                  <c:v>30357</c:v>
                </c:pt>
                <c:pt idx="13810">
                  <c:v>30358</c:v>
                </c:pt>
                <c:pt idx="13811">
                  <c:v>30361</c:v>
                </c:pt>
                <c:pt idx="13812">
                  <c:v>30362</c:v>
                </c:pt>
                <c:pt idx="13813">
                  <c:v>30363</c:v>
                </c:pt>
                <c:pt idx="13814">
                  <c:v>30364</c:v>
                </c:pt>
                <c:pt idx="13815">
                  <c:v>30365</c:v>
                </c:pt>
                <c:pt idx="13816">
                  <c:v>30369</c:v>
                </c:pt>
                <c:pt idx="13817">
                  <c:v>30370</c:v>
                </c:pt>
                <c:pt idx="13818">
                  <c:v>30371</c:v>
                </c:pt>
                <c:pt idx="13819">
                  <c:v>30372</c:v>
                </c:pt>
                <c:pt idx="13820">
                  <c:v>30375</c:v>
                </c:pt>
                <c:pt idx="13821">
                  <c:v>30376</c:v>
                </c:pt>
                <c:pt idx="13822">
                  <c:v>30377</c:v>
                </c:pt>
                <c:pt idx="13823">
                  <c:v>30378</c:v>
                </c:pt>
                <c:pt idx="13824">
                  <c:v>30379</c:v>
                </c:pt>
                <c:pt idx="13825">
                  <c:v>30382</c:v>
                </c:pt>
                <c:pt idx="13826">
                  <c:v>30383</c:v>
                </c:pt>
                <c:pt idx="13827">
                  <c:v>30384</c:v>
                </c:pt>
                <c:pt idx="13828">
                  <c:v>30385</c:v>
                </c:pt>
                <c:pt idx="13829">
                  <c:v>30386</c:v>
                </c:pt>
                <c:pt idx="13830">
                  <c:v>30389</c:v>
                </c:pt>
                <c:pt idx="13831">
                  <c:v>30390</c:v>
                </c:pt>
                <c:pt idx="13832">
                  <c:v>30391</c:v>
                </c:pt>
                <c:pt idx="13833">
                  <c:v>30392</c:v>
                </c:pt>
                <c:pt idx="13834">
                  <c:v>30393</c:v>
                </c:pt>
                <c:pt idx="13835">
                  <c:v>30396</c:v>
                </c:pt>
                <c:pt idx="13836">
                  <c:v>30397</c:v>
                </c:pt>
                <c:pt idx="13837">
                  <c:v>30398</c:v>
                </c:pt>
                <c:pt idx="13838">
                  <c:v>30399</c:v>
                </c:pt>
                <c:pt idx="13839">
                  <c:v>30400</c:v>
                </c:pt>
                <c:pt idx="13840">
                  <c:v>30403</c:v>
                </c:pt>
                <c:pt idx="13841">
                  <c:v>30404</c:v>
                </c:pt>
                <c:pt idx="13842">
                  <c:v>30405</c:v>
                </c:pt>
                <c:pt idx="13843">
                  <c:v>30406</c:v>
                </c:pt>
                <c:pt idx="13844">
                  <c:v>30410</c:v>
                </c:pt>
                <c:pt idx="13845">
                  <c:v>30411</c:v>
                </c:pt>
                <c:pt idx="13846">
                  <c:v>30412</c:v>
                </c:pt>
                <c:pt idx="13847">
                  <c:v>30413</c:v>
                </c:pt>
                <c:pt idx="13848">
                  <c:v>30414</c:v>
                </c:pt>
                <c:pt idx="13849">
                  <c:v>30417</c:v>
                </c:pt>
                <c:pt idx="13850">
                  <c:v>30418</c:v>
                </c:pt>
                <c:pt idx="13851">
                  <c:v>30419</c:v>
                </c:pt>
                <c:pt idx="13852">
                  <c:v>30420</c:v>
                </c:pt>
                <c:pt idx="13853">
                  <c:v>30421</c:v>
                </c:pt>
                <c:pt idx="13854">
                  <c:v>30424</c:v>
                </c:pt>
                <c:pt idx="13855">
                  <c:v>30425</c:v>
                </c:pt>
                <c:pt idx="13856">
                  <c:v>30426</c:v>
                </c:pt>
                <c:pt idx="13857">
                  <c:v>30427</c:v>
                </c:pt>
                <c:pt idx="13858">
                  <c:v>30428</c:v>
                </c:pt>
                <c:pt idx="13859">
                  <c:v>30431</c:v>
                </c:pt>
                <c:pt idx="13860">
                  <c:v>30432</c:v>
                </c:pt>
                <c:pt idx="13861">
                  <c:v>30433</c:v>
                </c:pt>
                <c:pt idx="13862">
                  <c:v>30434</c:v>
                </c:pt>
                <c:pt idx="13863">
                  <c:v>30435</c:v>
                </c:pt>
                <c:pt idx="13864">
                  <c:v>30438</c:v>
                </c:pt>
                <c:pt idx="13865">
                  <c:v>30439</c:v>
                </c:pt>
                <c:pt idx="13866">
                  <c:v>30440</c:v>
                </c:pt>
                <c:pt idx="13867">
                  <c:v>30441</c:v>
                </c:pt>
                <c:pt idx="13868">
                  <c:v>30442</c:v>
                </c:pt>
                <c:pt idx="13869">
                  <c:v>30445</c:v>
                </c:pt>
                <c:pt idx="13870">
                  <c:v>30446</c:v>
                </c:pt>
                <c:pt idx="13871">
                  <c:v>30447</c:v>
                </c:pt>
                <c:pt idx="13872">
                  <c:v>30448</c:v>
                </c:pt>
                <c:pt idx="13873">
                  <c:v>30449</c:v>
                </c:pt>
                <c:pt idx="13874">
                  <c:v>30452</c:v>
                </c:pt>
                <c:pt idx="13875">
                  <c:v>30453</c:v>
                </c:pt>
                <c:pt idx="13876">
                  <c:v>30454</c:v>
                </c:pt>
                <c:pt idx="13877">
                  <c:v>30455</c:v>
                </c:pt>
                <c:pt idx="13878">
                  <c:v>30456</c:v>
                </c:pt>
                <c:pt idx="13879">
                  <c:v>30459</c:v>
                </c:pt>
                <c:pt idx="13880">
                  <c:v>30460</c:v>
                </c:pt>
                <c:pt idx="13881">
                  <c:v>30461</c:v>
                </c:pt>
                <c:pt idx="13882">
                  <c:v>30462</c:v>
                </c:pt>
                <c:pt idx="13883">
                  <c:v>30463</c:v>
                </c:pt>
                <c:pt idx="13884">
                  <c:v>30467</c:v>
                </c:pt>
                <c:pt idx="13885">
                  <c:v>30468</c:v>
                </c:pt>
                <c:pt idx="13886">
                  <c:v>30469</c:v>
                </c:pt>
                <c:pt idx="13887">
                  <c:v>30470</c:v>
                </c:pt>
                <c:pt idx="13888">
                  <c:v>30473</c:v>
                </c:pt>
                <c:pt idx="13889">
                  <c:v>30474</c:v>
                </c:pt>
                <c:pt idx="13890">
                  <c:v>30475</c:v>
                </c:pt>
                <c:pt idx="13891">
                  <c:v>30476</c:v>
                </c:pt>
                <c:pt idx="13892">
                  <c:v>30477</c:v>
                </c:pt>
                <c:pt idx="13893">
                  <c:v>30480</c:v>
                </c:pt>
                <c:pt idx="13894">
                  <c:v>30481</c:v>
                </c:pt>
                <c:pt idx="13895">
                  <c:v>30482</c:v>
                </c:pt>
                <c:pt idx="13896">
                  <c:v>30483</c:v>
                </c:pt>
                <c:pt idx="13897">
                  <c:v>30484</c:v>
                </c:pt>
                <c:pt idx="13898">
                  <c:v>30487</c:v>
                </c:pt>
                <c:pt idx="13899">
                  <c:v>30488</c:v>
                </c:pt>
                <c:pt idx="13900">
                  <c:v>30489</c:v>
                </c:pt>
                <c:pt idx="13901">
                  <c:v>30490</c:v>
                </c:pt>
                <c:pt idx="13902">
                  <c:v>30491</c:v>
                </c:pt>
                <c:pt idx="13903">
                  <c:v>30494</c:v>
                </c:pt>
                <c:pt idx="13904">
                  <c:v>30495</c:v>
                </c:pt>
                <c:pt idx="13905">
                  <c:v>30496</c:v>
                </c:pt>
                <c:pt idx="13906">
                  <c:v>30497</c:v>
                </c:pt>
                <c:pt idx="13907">
                  <c:v>30498</c:v>
                </c:pt>
                <c:pt idx="13908">
                  <c:v>30502</c:v>
                </c:pt>
                <c:pt idx="13909">
                  <c:v>30503</c:v>
                </c:pt>
                <c:pt idx="13910">
                  <c:v>30504</c:v>
                </c:pt>
                <c:pt idx="13911">
                  <c:v>30505</c:v>
                </c:pt>
                <c:pt idx="13912">
                  <c:v>30508</c:v>
                </c:pt>
                <c:pt idx="13913">
                  <c:v>30509</c:v>
                </c:pt>
                <c:pt idx="13914">
                  <c:v>30510</c:v>
                </c:pt>
                <c:pt idx="13915">
                  <c:v>30511</c:v>
                </c:pt>
                <c:pt idx="13916">
                  <c:v>30512</c:v>
                </c:pt>
                <c:pt idx="13917">
                  <c:v>30515</c:v>
                </c:pt>
                <c:pt idx="13918">
                  <c:v>30516</c:v>
                </c:pt>
                <c:pt idx="13919">
                  <c:v>30517</c:v>
                </c:pt>
                <c:pt idx="13920">
                  <c:v>30518</c:v>
                </c:pt>
                <c:pt idx="13921">
                  <c:v>30519</c:v>
                </c:pt>
                <c:pt idx="13922">
                  <c:v>30522</c:v>
                </c:pt>
                <c:pt idx="13923">
                  <c:v>30523</c:v>
                </c:pt>
                <c:pt idx="13924">
                  <c:v>30524</c:v>
                </c:pt>
                <c:pt idx="13925">
                  <c:v>30525</c:v>
                </c:pt>
                <c:pt idx="13926">
                  <c:v>30526</c:v>
                </c:pt>
                <c:pt idx="13927">
                  <c:v>30529</c:v>
                </c:pt>
                <c:pt idx="13928">
                  <c:v>30530</c:v>
                </c:pt>
                <c:pt idx="13929">
                  <c:v>30531</c:v>
                </c:pt>
                <c:pt idx="13930">
                  <c:v>30532</c:v>
                </c:pt>
                <c:pt idx="13931">
                  <c:v>30533</c:v>
                </c:pt>
                <c:pt idx="13932">
                  <c:v>30536</c:v>
                </c:pt>
                <c:pt idx="13933">
                  <c:v>30537</c:v>
                </c:pt>
                <c:pt idx="13934">
                  <c:v>30538</c:v>
                </c:pt>
                <c:pt idx="13935">
                  <c:v>30539</c:v>
                </c:pt>
                <c:pt idx="13936">
                  <c:v>30540</c:v>
                </c:pt>
                <c:pt idx="13937">
                  <c:v>30543</c:v>
                </c:pt>
                <c:pt idx="13938">
                  <c:v>30544</c:v>
                </c:pt>
                <c:pt idx="13939">
                  <c:v>30545</c:v>
                </c:pt>
                <c:pt idx="13940">
                  <c:v>30546</c:v>
                </c:pt>
                <c:pt idx="13941">
                  <c:v>30547</c:v>
                </c:pt>
                <c:pt idx="13942">
                  <c:v>30550</c:v>
                </c:pt>
                <c:pt idx="13943">
                  <c:v>30551</c:v>
                </c:pt>
                <c:pt idx="13944">
                  <c:v>30552</c:v>
                </c:pt>
                <c:pt idx="13945">
                  <c:v>30553</c:v>
                </c:pt>
                <c:pt idx="13946">
                  <c:v>30554</c:v>
                </c:pt>
                <c:pt idx="13947">
                  <c:v>30557</c:v>
                </c:pt>
                <c:pt idx="13948">
                  <c:v>30558</c:v>
                </c:pt>
                <c:pt idx="13949">
                  <c:v>30559</c:v>
                </c:pt>
                <c:pt idx="13950">
                  <c:v>30560</c:v>
                </c:pt>
                <c:pt idx="13951">
                  <c:v>30561</c:v>
                </c:pt>
                <c:pt idx="13952">
                  <c:v>30565</c:v>
                </c:pt>
                <c:pt idx="13953">
                  <c:v>30566</c:v>
                </c:pt>
                <c:pt idx="13954">
                  <c:v>30567</c:v>
                </c:pt>
                <c:pt idx="13955">
                  <c:v>30568</c:v>
                </c:pt>
                <c:pt idx="13956">
                  <c:v>30571</c:v>
                </c:pt>
                <c:pt idx="13957">
                  <c:v>30572</c:v>
                </c:pt>
                <c:pt idx="13958">
                  <c:v>30573</c:v>
                </c:pt>
                <c:pt idx="13959">
                  <c:v>30574</c:v>
                </c:pt>
                <c:pt idx="13960">
                  <c:v>30575</c:v>
                </c:pt>
                <c:pt idx="13961">
                  <c:v>30578</c:v>
                </c:pt>
                <c:pt idx="13962">
                  <c:v>30579</c:v>
                </c:pt>
                <c:pt idx="13963">
                  <c:v>30580</c:v>
                </c:pt>
                <c:pt idx="13964">
                  <c:v>30581</c:v>
                </c:pt>
                <c:pt idx="13965">
                  <c:v>30582</c:v>
                </c:pt>
                <c:pt idx="13966">
                  <c:v>30585</c:v>
                </c:pt>
                <c:pt idx="13967">
                  <c:v>30586</c:v>
                </c:pt>
                <c:pt idx="13968">
                  <c:v>30587</c:v>
                </c:pt>
                <c:pt idx="13969">
                  <c:v>30588</c:v>
                </c:pt>
                <c:pt idx="13970">
                  <c:v>30589</c:v>
                </c:pt>
                <c:pt idx="13971">
                  <c:v>30592</c:v>
                </c:pt>
                <c:pt idx="13972">
                  <c:v>30593</c:v>
                </c:pt>
                <c:pt idx="13973">
                  <c:v>30594</c:v>
                </c:pt>
                <c:pt idx="13974">
                  <c:v>30595</c:v>
                </c:pt>
                <c:pt idx="13975">
                  <c:v>30596</c:v>
                </c:pt>
                <c:pt idx="13976">
                  <c:v>30599</c:v>
                </c:pt>
                <c:pt idx="13977">
                  <c:v>30600</c:v>
                </c:pt>
                <c:pt idx="13978">
                  <c:v>30601</c:v>
                </c:pt>
                <c:pt idx="13979">
                  <c:v>30602</c:v>
                </c:pt>
                <c:pt idx="13980">
                  <c:v>30603</c:v>
                </c:pt>
                <c:pt idx="13981">
                  <c:v>30606</c:v>
                </c:pt>
                <c:pt idx="13982">
                  <c:v>30607</c:v>
                </c:pt>
                <c:pt idx="13983">
                  <c:v>30608</c:v>
                </c:pt>
                <c:pt idx="13984">
                  <c:v>30609</c:v>
                </c:pt>
                <c:pt idx="13985">
                  <c:v>30610</c:v>
                </c:pt>
                <c:pt idx="13986">
                  <c:v>30613</c:v>
                </c:pt>
                <c:pt idx="13987">
                  <c:v>30614</c:v>
                </c:pt>
                <c:pt idx="13988">
                  <c:v>30615</c:v>
                </c:pt>
                <c:pt idx="13989">
                  <c:v>30616</c:v>
                </c:pt>
                <c:pt idx="13990">
                  <c:v>30617</c:v>
                </c:pt>
                <c:pt idx="13991">
                  <c:v>30620</c:v>
                </c:pt>
                <c:pt idx="13992">
                  <c:v>30621</c:v>
                </c:pt>
                <c:pt idx="13993">
                  <c:v>30622</c:v>
                </c:pt>
                <c:pt idx="13994">
                  <c:v>30623</c:v>
                </c:pt>
                <c:pt idx="13995">
                  <c:v>30624</c:v>
                </c:pt>
                <c:pt idx="13996">
                  <c:v>30627</c:v>
                </c:pt>
                <c:pt idx="13997">
                  <c:v>30628</c:v>
                </c:pt>
                <c:pt idx="13998">
                  <c:v>30629</c:v>
                </c:pt>
                <c:pt idx="13999">
                  <c:v>30630</c:v>
                </c:pt>
                <c:pt idx="14000">
                  <c:v>30631</c:v>
                </c:pt>
                <c:pt idx="14001">
                  <c:v>30634</c:v>
                </c:pt>
                <c:pt idx="14002">
                  <c:v>30635</c:v>
                </c:pt>
                <c:pt idx="14003">
                  <c:v>30636</c:v>
                </c:pt>
                <c:pt idx="14004">
                  <c:v>30637</c:v>
                </c:pt>
                <c:pt idx="14005">
                  <c:v>30638</c:v>
                </c:pt>
                <c:pt idx="14006">
                  <c:v>30641</c:v>
                </c:pt>
                <c:pt idx="14007">
                  <c:v>30642</c:v>
                </c:pt>
                <c:pt idx="14008">
                  <c:v>30643</c:v>
                </c:pt>
                <c:pt idx="14009">
                  <c:v>30645</c:v>
                </c:pt>
                <c:pt idx="14010">
                  <c:v>30648</c:v>
                </c:pt>
                <c:pt idx="14011">
                  <c:v>30649</c:v>
                </c:pt>
                <c:pt idx="14012">
                  <c:v>30650</c:v>
                </c:pt>
                <c:pt idx="14013">
                  <c:v>30651</c:v>
                </c:pt>
                <c:pt idx="14014">
                  <c:v>30652</c:v>
                </c:pt>
                <c:pt idx="14015">
                  <c:v>30655</c:v>
                </c:pt>
                <c:pt idx="14016">
                  <c:v>30656</c:v>
                </c:pt>
                <c:pt idx="14017">
                  <c:v>30657</c:v>
                </c:pt>
                <c:pt idx="14018">
                  <c:v>30658</c:v>
                </c:pt>
                <c:pt idx="14019">
                  <c:v>30659</c:v>
                </c:pt>
                <c:pt idx="14020">
                  <c:v>30662</c:v>
                </c:pt>
                <c:pt idx="14021">
                  <c:v>30663</c:v>
                </c:pt>
                <c:pt idx="14022">
                  <c:v>30664</c:v>
                </c:pt>
                <c:pt idx="14023">
                  <c:v>30665</c:v>
                </c:pt>
                <c:pt idx="14024">
                  <c:v>30666</c:v>
                </c:pt>
                <c:pt idx="14025">
                  <c:v>30669</c:v>
                </c:pt>
                <c:pt idx="14026">
                  <c:v>30670</c:v>
                </c:pt>
                <c:pt idx="14027">
                  <c:v>30671</c:v>
                </c:pt>
                <c:pt idx="14028">
                  <c:v>30672</c:v>
                </c:pt>
                <c:pt idx="14029">
                  <c:v>30673</c:v>
                </c:pt>
                <c:pt idx="14030">
                  <c:v>30677</c:v>
                </c:pt>
                <c:pt idx="14031">
                  <c:v>30678</c:v>
                </c:pt>
                <c:pt idx="14032">
                  <c:v>30679</c:v>
                </c:pt>
                <c:pt idx="14033">
                  <c:v>30680</c:v>
                </c:pt>
                <c:pt idx="14034">
                  <c:v>30684</c:v>
                </c:pt>
                <c:pt idx="14035">
                  <c:v>30685</c:v>
                </c:pt>
                <c:pt idx="14036">
                  <c:v>30686</c:v>
                </c:pt>
                <c:pt idx="14037">
                  <c:v>30687</c:v>
                </c:pt>
                <c:pt idx="14038">
                  <c:v>30690</c:v>
                </c:pt>
                <c:pt idx="14039">
                  <c:v>30691</c:v>
                </c:pt>
                <c:pt idx="14040">
                  <c:v>30692</c:v>
                </c:pt>
                <c:pt idx="14041">
                  <c:v>30693</c:v>
                </c:pt>
                <c:pt idx="14042">
                  <c:v>30694</c:v>
                </c:pt>
                <c:pt idx="14043">
                  <c:v>30697</c:v>
                </c:pt>
                <c:pt idx="14044">
                  <c:v>30698</c:v>
                </c:pt>
                <c:pt idx="14045">
                  <c:v>30699</c:v>
                </c:pt>
                <c:pt idx="14046">
                  <c:v>30700</c:v>
                </c:pt>
                <c:pt idx="14047">
                  <c:v>30701</c:v>
                </c:pt>
                <c:pt idx="14048">
                  <c:v>30704</c:v>
                </c:pt>
                <c:pt idx="14049">
                  <c:v>30705</c:v>
                </c:pt>
                <c:pt idx="14050">
                  <c:v>30706</c:v>
                </c:pt>
                <c:pt idx="14051">
                  <c:v>30707</c:v>
                </c:pt>
                <c:pt idx="14052">
                  <c:v>30708</c:v>
                </c:pt>
                <c:pt idx="14053">
                  <c:v>30711</c:v>
                </c:pt>
                <c:pt idx="14054">
                  <c:v>30712</c:v>
                </c:pt>
                <c:pt idx="14055">
                  <c:v>30713</c:v>
                </c:pt>
                <c:pt idx="14056">
                  <c:v>30714</c:v>
                </c:pt>
                <c:pt idx="14057">
                  <c:v>30715</c:v>
                </c:pt>
                <c:pt idx="14058">
                  <c:v>30718</c:v>
                </c:pt>
                <c:pt idx="14059">
                  <c:v>30719</c:v>
                </c:pt>
                <c:pt idx="14060">
                  <c:v>30720</c:v>
                </c:pt>
                <c:pt idx="14061">
                  <c:v>30721</c:v>
                </c:pt>
                <c:pt idx="14062">
                  <c:v>30722</c:v>
                </c:pt>
                <c:pt idx="14063">
                  <c:v>30725</c:v>
                </c:pt>
                <c:pt idx="14064">
                  <c:v>30726</c:v>
                </c:pt>
                <c:pt idx="14065">
                  <c:v>30727</c:v>
                </c:pt>
                <c:pt idx="14066">
                  <c:v>30728</c:v>
                </c:pt>
                <c:pt idx="14067">
                  <c:v>30729</c:v>
                </c:pt>
                <c:pt idx="14068">
                  <c:v>30733</c:v>
                </c:pt>
                <c:pt idx="14069">
                  <c:v>30734</c:v>
                </c:pt>
                <c:pt idx="14070">
                  <c:v>30735</c:v>
                </c:pt>
                <c:pt idx="14071">
                  <c:v>30736</c:v>
                </c:pt>
                <c:pt idx="14072">
                  <c:v>30739</c:v>
                </c:pt>
                <c:pt idx="14073">
                  <c:v>30740</c:v>
                </c:pt>
                <c:pt idx="14074">
                  <c:v>30741</c:v>
                </c:pt>
                <c:pt idx="14075">
                  <c:v>30742</c:v>
                </c:pt>
                <c:pt idx="14076">
                  <c:v>30743</c:v>
                </c:pt>
                <c:pt idx="14077">
                  <c:v>30746</c:v>
                </c:pt>
                <c:pt idx="14078">
                  <c:v>30747</c:v>
                </c:pt>
                <c:pt idx="14079">
                  <c:v>30748</c:v>
                </c:pt>
                <c:pt idx="14080">
                  <c:v>30749</c:v>
                </c:pt>
                <c:pt idx="14081">
                  <c:v>30750</c:v>
                </c:pt>
                <c:pt idx="14082">
                  <c:v>30753</c:v>
                </c:pt>
                <c:pt idx="14083">
                  <c:v>30754</c:v>
                </c:pt>
                <c:pt idx="14084">
                  <c:v>30755</c:v>
                </c:pt>
                <c:pt idx="14085">
                  <c:v>30756</c:v>
                </c:pt>
                <c:pt idx="14086">
                  <c:v>30757</c:v>
                </c:pt>
                <c:pt idx="14087">
                  <c:v>30760</c:v>
                </c:pt>
                <c:pt idx="14088">
                  <c:v>30761</c:v>
                </c:pt>
                <c:pt idx="14089">
                  <c:v>30762</c:v>
                </c:pt>
                <c:pt idx="14090">
                  <c:v>30763</c:v>
                </c:pt>
                <c:pt idx="14091">
                  <c:v>30764</c:v>
                </c:pt>
                <c:pt idx="14092">
                  <c:v>30767</c:v>
                </c:pt>
                <c:pt idx="14093">
                  <c:v>30768</c:v>
                </c:pt>
                <c:pt idx="14094">
                  <c:v>30769</c:v>
                </c:pt>
                <c:pt idx="14095">
                  <c:v>30770</c:v>
                </c:pt>
                <c:pt idx="14096">
                  <c:v>30771</c:v>
                </c:pt>
                <c:pt idx="14097">
                  <c:v>30774</c:v>
                </c:pt>
                <c:pt idx="14098">
                  <c:v>30775</c:v>
                </c:pt>
                <c:pt idx="14099">
                  <c:v>30776</c:v>
                </c:pt>
                <c:pt idx="14100">
                  <c:v>30777</c:v>
                </c:pt>
                <c:pt idx="14101">
                  <c:v>30778</c:v>
                </c:pt>
                <c:pt idx="14102">
                  <c:v>30781</c:v>
                </c:pt>
                <c:pt idx="14103">
                  <c:v>30782</c:v>
                </c:pt>
                <c:pt idx="14104">
                  <c:v>30783</c:v>
                </c:pt>
                <c:pt idx="14105">
                  <c:v>30784</c:v>
                </c:pt>
                <c:pt idx="14106">
                  <c:v>30785</c:v>
                </c:pt>
                <c:pt idx="14107">
                  <c:v>30788</c:v>
                </c:pt>
                <c:pt idx="14108">
                  <c:v>30789</c:v>
                </c:pt>
                <c:pt idx="14109">
                  <c:v>30790</c:v>
                </c:pt>
                <c:pt idx="14110">
                  <c:v>30791</c:v>
                </c:pt>
                <c:pt idx="14111">
                  <c:v>30795</c:v>
                </c:pt>
                <c:pt idx="14112">
                  <c:v>30796</c:v>
                </c:pt>
                <c:pt idx="14113">
                  <c:v>30797</c:v>
                </c:pt>
                <c:pt idx="14114">
                  <c:v>30798</c:v>
                </c:pt>
                <c:pt idx="14115">
                  <c:v>30799</c:v>
                </c:pt>
                <c:pt idx="14116">
                  <c:v>30802</c:v>
                </c:pt>
                <c:pt idx="14117">
                  <c:v>30803</c:v>
                </c:pt>
                <c:pt idx="14118">
                  <c:v>30804</c:v>
                </c:pt>
                <c:pt idx="14119">
                  <c:v>30805</c:v>
                </c:pt>
                <c:pt idx="14120">
                  <c:v>30806</c:v>
                </c:pt>
                <c:pt idx="14121">
                  <c:v>30809</c:v>
                </c:pt>
                <c:pt idx="14122">
                  <c:v>30810</c:v>
                </c:pt>
                <c:pt idx="14123">
                  <c:v>30811</c:v>
                </c:pt>
                <c:pt idx="14124">
                  <c:v>30812</c:v>
                </c:pt>
                <c:pt idx="14125">
                  <c:v>30813</c:v>
                </c:pt>
                <c:pt idx="14126">
                  <c:v>30816</c:v>
                </c:pt>
                <c:pt idx="14127">
                  <c:v>30817</c:v>
                </c:pt>
                <c:pt idx="14128">
                  <c:v>30818</c:v>
                </c:pt>
                <c:pt idx="14129">
                  <c:v>30819</c:v>
                </c:pt>
                <c:pt idx="14130">
                  <c:v>30820</c:v>
                </c:pt>
                <c:pt idx="14131">
                  <c:v>30823</c:v>
                </c:pt>
                <c:pt idx="14132">
                  <c:v>30824</c:v>
                </c:pt>
                <c:pt idx="14133">
                  <c:v>30825</c:v>
                </c:pt>
                <c:pt idx="14134">
                  <c:v>30826</c:v>
                </c:pt>
                <c:pt idx="14135">
                  <c:v>30827</c:v>
                </c:pt>
                <c:pt idx="14136">
                  <c:v>30831</c:v>
                </c:pt>
                <c:pt idx="14137">
                  <c:v>30832</c:v>
                </c:pt>
                <c:pt idx="14138">
                  <c:v>30833</c:v>
                </c:pt>
                <c:pt idx="14139">
                  <c:v>30834</c:v>
                </c:pt>
                <c:pt idx="14140">
                  <c:v>30837</c:v>
                </c:pt>
                <c:pt idx="14141">
                  <c:v>30838</c:v>
                </c:pt>
                <c:pt idx="14142">
                  <c:v>30839</c:v>
                </c:pt>
                <c:pt idx="14143">
                  <c:v>30840</c:v>
                </c:pt>
                <c:pt idx="14144">
                  <c:v>30841</c:v>
                </c:pt>
                <c:pt idx="14145">
                  <c:v>30844</c:v>
                </c:pt>
                <c:pt idx="14146">
                  <c:v>30845</c:v>
                </c:pt>
                <c:pt idx="14147">
                  <c:v>30846</c:v>
                </c:pt>
                <c:pt idx="14148">
                  <c:v>30847</c:v>
                </c:pt>
                <c:pt idx="14149">
                  <c:v>30848</c:v>
                </c:pt>
                <c:pt idx="14150">
                  <c:v>30851</c:v>
                </c:pt>
                <c:pt idx="14151">
                  <c:v>30852</c:v>
                </c:pt>
                <c:pt idx="14152">
                  <c:v>30853</c:v>
                </c:pt>
                <c:pt idx="14153">
                  <c:v>30854</c:v>
                </c:pt>
                <c:pt idx="14154">
                  <c:v>30855</c:v>
                </c:pt>
                <c:pt idx="14155">
                  <c:v>30858</c:v>
                </c:pt>
                <c:pt idx="14156">
                  <c:v>30859</c:v>
                </c:pt>
                <c:pt idx="14157">
                  <c:v>30860</c:v>
                </c:pt>
                <c:pt idx="14158">
                  <c:v>30861</c:v>
                </c:pt>
                <c:pt idx="14159">
                  <c:v>30862</c:v>
                </c:pt>
                <c:pt idx="14160">
                  <c:v>30865</c:v>
                </c:pt>
                <c:pt idx="14161">
                  <c:v>30866</c:v>
                </c:pt>
                <c:pt idx="14162">
                  <c:v>30868</c:v>
                </c:pt>
                <c:pt idx="14163">
                  <c:v>30869</c:v>
                </c:pt>
                <c:pt idx="14164">
                  <c:v>30872</c:v>
                </c:pt>
                <c:pt idx="14165">
                  <c:v>30873</c:v>
                </c:pt>
                <c:pt idx="14166">
                  <c:v>30874</c:v>
                </c:pt>
                <c:pt idx="14167">
                  <c:v>30875</c:v>
                </c:pt>
                <c:pt idx="14168">
                  <c:v>30876</c:v>
                </c:pt>
                <c:pt idx="14169">
                  <c:v>30879</c:v>
                </c:pt>
                <c:pt idx="14170">
                  <c:v>30880</c:v>
                </c:pt>
                <c:pt idx="14171">
                  <c:v>30881</c:v>
                </c:pt>
                <c:pt idx="14172">
                  <c:v>30882</c:v>
                </c:pt>
                <c:pt idx="14173">
                  <c:v>30883</c:v>
                </c:pt>
                <c:pt idx="14174">
                  <c:v>30886</c:v>
                </c:pt>
                <c:pt idx="14175">
                  <c:v>30887</c:v>
                </c:pt>
                <c:pt idx="14176">
                  <c:v>30888</c:v>
                </c:pt>
                <c:pt idx="14177">
                  <c:v>30889</c:v>
                </c:pt>
                <c:pt idx="14178">
                  <c:v>30890</c:v>
                </c:pt>
                <c:pt idx="14179">
                  <c:v>30893</c:v>
                </c:pt>
                <c:pt idx="14180">
                  <c:v>30894</c:v>
                </c:pt>
                <c:pt idx="14181">
                  <c:v>30895</c:v>
                </c:pt>
                <c:pt idx="14182">
                  <c:v>30896</c:v>
                </c:pt>
                <c:pt idx="14183">
                  <c:v>30897</c:v>
                </c:pt>
                <c:pt idx="14184">
                  <c:v>30900</c:v>
                </c:pt>
                <c:pt idx="14185">
                  <c:v>30901</c:v>
                </c:pt>
                <c:pt idx="14186">
                  <c:v>30902</c:v>
                </c:pt>
                <c:pt idx="14187">
                  <c:v>30903</c:v>
                </c:pt>
                <c:pt idx="14188">
                  <c:v>30904</c:v>
                </c:pt>
                <c:pt idx="14189">
                  <c:v>30907</c:v>
                </c:pt>
                <c:pt idx="14190">
                  <c:v>30908</c:v>
                </c:pt>
                <c:pt idx="14191">
                  <c:v>30909</c:v>
                </c:pt>
                <c:pt idx="14192">
                  <c:v>30910</c:v>
                </c:pt>
                <c:pt idx="14193">
                  <c:v>30911</c:v>
                </c:pt>
                <c:pt idx="14194">
                  <c:v>30914</c:v>
                </c:pt>
                <c:pt idx="14195">
                  <c:v>30915</c:v>
                </c:pt>
                <c:pt idx="14196">
                  <c:v>30916</c:v>
                </c:pt>
                <c:pt idx="14197">
                  <c:v>30917</c:v>
                </c:pt>
                <c:pt idx="14198">
                  <c:v>30918</c:v>
                </c:pt>
                <c:pt idx="14199">
                  <c:v>30921</c:v>
                </c:pt>
                <c:pt idx="14200">
                  <c:v>30922</c:v>
                </c:pt>
                <c:pt idx="14201">
                  <c:v>30923</c:v>
                </c:pt>
                <c:pt idx="14202">
                  <c:v>30924</c:v>
                </c:pt>
                <c:pt idx="14203">
                  <c:v>30925</c:v>
                </c:pt>
                <c:pt idx="14204">
                  <c:v>30929</c:v>
                </c:pt>
                <c:pt idx="14205">
                  <c:v>30930</c:v>
                </c:pt>
                <c:pt idx="14206">
                  <c:v>30931</c:v>
                </c:pt>
                <c:pt idx="14207">
                  <c:v>30932</c:v>
                </c:pt>
                <c:pt idx="14208">
                  <c:v>30935</c:v>
                </c:pt>
                <c:pt idx="14209">
                  <c:v>30936</c:v>
                </c:pt>
                <c:pt idx="14210">
                  <c:v>30937</c:v>
                </c:pt>
                <c:pt idx="14211">
                  <c:v>30938</c:v>
                </c:pt>
                <c:pt idx="14212">
                  <c:v>30939</c:v>
                </c:pt>
                <c:pt idx="14213">
                  <c:v>30942</c:v>
                </c:pt>
                <c:pt idx="14214">
                  <c:v>30943</c:v>
                </c:pt>
                <c:pt idx="14215">
                  <c:v>30944</c:v>
                </c:pt>
                <c:pt idx="14216">
                  <c:v>30945</c:v>
                </c:pt>
                <c:pt idx="14217">
                  <c:v>30946</c:v>
                </c:pt>
                <c:pt idx="14218">
                  <c:v>30949</c:v>
                </c:pt>
                <c:pt idx="14219">
                  <c:v>30950</c:v>
                </c:pt>
                <c:pt idx="14220">
                  <c:v>30951</c:v>
                </c:pt>
                <c:pt idx="14221">
                  <c:v>30952</c:v>
                </c:pt>
                <c:pt idx="14222">
                  <c:v>30953</c:v>
                </c:pt>
                <c:pt idx="14223">
                  <c:v>30956</c:v>
                </c:pt>
                <c:pt idx="14224">
                  <c:v>30957</c:v>
                </c:pt>
                <c:pt idx="14225">
                  <c:v>30958</c:v>
                </c:pt>
                <c:pt idx="14226">
                  <c:v>30959</c:v>
                </c:pt>
                <c:pt idx="14227">
                  <c:v>30960</c:v>
                </c:pt>
                <c:pt idx="14228">
                  <c:v>30963</c:v>
                </c:pt>
                <c:pt idx="14229">
                  <c:v>30964</c:v>
                </c:pt>
                <c:pt idx="14230">
                  <c:v>30965</c:v>
                </c:pt>
                <c:pt idx="14231">
                  <c:v>30966</c:v>
                </c:pt>
                <c:pt idx="14232">
                  <c:v>30967</c:v>
                </c:pt>
                <c:pt idx="14233">
                  <c:v>30970</c:v>
                </c:pt>
                <c:pt idx="14234">
                  <c:v>30971</c:v>
                </c:pt>
                <c:pt idx="14235">
                  <c:v>30972</c:v>
                </c:pt>
                <c:pt idx="14236">
                  <c:v>30973</c:v>
                </c:pt>
                <c:pt idx="14237">
                  <c:v>30974</c:v>
                </c:pt>
                <c:pt idx="14238">
                  <c:v>30977</c:v>
                </c:pt>
                <c:pt idx="14239">
                  <c:v>30978</c:v>
                </c:pt>
                <c:pt idx="14240">
                  <c:v>30979</c:v>
                </c:pt>
                <c:pt idx="14241">
                  <c:v>30980</c:v>
                </c:pt>
                <c:pt idx="14242">
                  <c:v>30981</c:v>
                </c:pt>
                <c:pt idx="14243">
                  <c:v>30984</c:v>
                </c:pt>
                <c:pt idx="14244">
                  <c:v>30985</c:v>
                </c:pt>
                <c:pt idx="14245">
                  <c:v>30986</c:v>
                </c:pt>
                <c:pt idx="14246">
                  <c:v>30987</c:v>
                </c:pt>
                <c:pt idx="14247">
                  <c:v>30988</c:v>
                </c:pt>
                <c:pt idx="14248">
                  <c:v>30991</c:v>
                </c:pt>
                <c:pt idx="14249">
                  <c:v>30992</c:v>
                </c:pt>
                <c:pt idx="14250">
                  <c:v>30993</c:v>
                </c:pt>
                <c:pt idx="14251">
                  <c:v>30994</c:v>
                </c:pt>
                <c:pt idx="14252">
                  <c:v>30995</c:v>
                </c:pt>
                <c:pt idx="14253">
                  <c:v>30998</c:v>
                </c:pt>
                <c:pt idx="14254">
                  <c:v>30999</c:v>
                </c:pt>
                <c:pt idx="14255">
                  <c:v>31000</c:v>
                </c:pt>
                <c:pt idx="14256">
                  <c:v>31001</c:v>
                </c:pt>
                <c:pt idx="14257">
                  <c:v>31002</c:v>
                </c:pt>
                <c:pt idx="14258">
                  <c:v>31005</c:v>
                </c:pt>
                <c:pt idx="14259">
                  <c:v>31006</c:v>
                </c:pt>
                <c:pt idx="14260">
                  <c:v>31007</c:v>
                </c:pt>
                <c:pt idx="14261">
                  <c:v>31009</c:v>
                </c:pt>
                <c:pt idx="14262">
                  <c:v>31012</c:v>
                </c:pt>
                <c:pt idx="14263">
                  <c:v>31013</c:v>
                </c:pt>
                <c:pt idx="14264">
                  <c:v>31014</c:v>
                </c:pt>
                <c:pt idx="14265">
                  <c:v>31015</c:v>
                </c:pt>
                <c:pt idx="14266">
                  <c:v>31016</c:v>
                </c:pt>
                <c:pt idx="14267">
                  <c:v>31019</c:v>
                </c:pt>
                <c:pt idx="14268">
                  <c:v>31020</c:v>
                </c:pt>
                <c:pt idx="14269">
                  <c:v>31021</c:v>
                </c:pt>
                <c:pt idx="14270">
                  <c:v>31022</c:v>
                </c:pt>
                <c:pt idx="14271">
                  <c:v>31023</c:v>
                </c:pt>
                <c:pt idx="14272">
                  <c:v>31026</c:v>
                </c:pt>
                <c:pt idx="14273">
                  <c:v>31027</c:v>
                </c:pt>
                <c:pt idx="14274">
                  <c:v>31028</c:v>
                </c:pt>
                <c:pt idx="14275">
                  <c:v>31029</c:v>
                </c:pt>
                <c:pt idx="14276">
                  <c:v>31030</c:v>
                </c:pt>
                <c:pt idx="14277">
                  <c:v>31033</c:v>
                </c:pt>
                <c:pt idx="14278">
                  <c:v>31034</c:v>
                </c:pt>
                <c:pt idx="14279">
                  <c:v>31035</c:v>
                </c:pt>
                <c:pt idx="14280">
                  <c:v>31036</c:v>
                </c:pt>
                <c:pt idx="14281">
                  <c:v>31037</c:v>
                </c:pt>
                <c:pt idx="14282">
                  <c:v>31040</c:v>
                </c:pt>
                <c:pt idx="14283">
                  <c:v>31042</c:v>
                </c:pt>
                <c:pt idx="14284">
                  <c:v>31043</c:v>
                </c:pt>
                <c:pt idx="14285">
                  <c:v>31044</c:v>
                </c:pt>
                <c:pt idx="14286">
                  <c:v>31047</c:v>
                </c:pt>
                <c:pt idx="14287">
                  <c:v>31049</c:v>
                </c:pt>
                <c:pt idx="14288">
                  <c:v>31050</c:v>
                </c:pt>
                <c:pt idx="14289">
                  <c:v>31051</c:v>
                </c:pt>
                <c:pt idx="14290">
                  <c:v>31054</c:v>
                </c:pt>
                <c:pt idx="14291">
                  <c:v>31055</c:v>
                </c:pt>
                <c:pt idx="14292">
                  <c:v>31056</c:v>
                </c:pt>
                <c:pt idx="14293">
                  <c:v>31057</c:v>
                </c:pt>
                <c:pt idx="14294">
                  <c:v>31058</c:v>
                </c:pt>
                <c:pt idx="14295">
                  <c:v>31061</c:v>
                </c:pt>
                <c:pt idx="14296">
                  <c:v>31062</c:v>
                </c:pt>
                <c:pt idx="14297">
                  <c:v>31063</c:v>
                </c:pt>
                <c:pt idx="14298">
                  <c:v>31064</c:v>
                </c:pt>
                <c:pt idx="14299">
                  <c:v>31065</c:v>
                </c:pt>
                <c:pt idx="14300">
                  <c:v>31068</c:v>
                </c:pt>
                <c:pt idx="14301">
                  <c:v>31069</c:v>
                </c:pt>
                <c:pt idx="14302">
                  <c:v>31070</c:v>
                </c:pt>
                <c:pt idx="14303">
                  <c:v>31071</c:v>
                </c:pt>
                <c:pt idx="14304">
                  <c:v>31072</c:v>
                </c:pt>
                <c:pt idx="14305">
                  <c:v>31075</c:v>
                </c:pt>
                <c:pt idx="14306">
                  <c:v>31076</c:v>
                </c:pt>
                <c:pt idx="14307">
                  <c:v>31077</c:v>
                </c:pt>
                <c:pt idx="14308">
                  <c:v>31078</c:v>
                </c:pt>
                <c:pt idx="14309">
                  <c:v>31079</c:v>
                </c:pt>
                <c:pt idx="14310">
                  <c:v>31082</c:v>
                </c:pt>
                <c:pt idx="14311">
                  <c:v>31083</c:v>
                </c:pt>
                <c:pt idx="14312">
                  <c:v>31084</c:v>
                </c:pt>
                <c:pt idx="14313">
                  <c:v>31085</c:v>
                </c:pt>
                <c:pt idx="14314">
                  <c:v>31086</c:v>
                </c:pt>
                <c:pt idx="14315">
                  <c:v>31089</c:v>
                </c:pt>
                <c:pt idx="14316">
                  <c:v>31090</c:v>
                </c:pt>
                <c:pt idx="14317">
                  <c:v>31091</c:v>
                </c:pt>
                <c:pt idx="14318">
                  <c:v>31092</c:v>
                </c:pt>
                <c:pt idx="14319">
                  <c:v>31093</c:v>
                </c:pt>
                <c:pt idx="14320">
                  <c:v>31097</c:v>
                </c:pt>
                <c:pt idx="14321">
                  <c:v>31098</c:v>
                </c:pt>
                <c:pt idx="14322">
                  <c:v>31099</c:v>
                </c:pt>
                <c:pt idx="14323">
                  <c:v>31100</c:v>
                </c:pt>
                <c:pt idx="14324">
                  <c:v>31103</c:v>
                </c:pt>
                <c:pt idx="14325">
                  <c:v>31104</c:v>
                </c:pt>
                <c:pt idx="14326">
                  <c:v>31105</c:v>
                </c:pt>
                <c:pt idx="14327">
                  <c:v>31106</c:v>
                </c:pt>
                <c:pt idx="14328">
                  <c:v>31107</c:v>
                </c:pt>
                <c:pt idx="14329">
                  <c:v>31110</c:v>
                </c:pt>
                <c:pt idx="14330">
                  <c:v>31111</c:v>
                </c:pt>
                <c:pt idx="14331">
                  <c:v>31112</c:v>
                </c:pt>
                <c:pt idx="14332">
                  <c:v>31113</c:v>
                </c:pt>
                <c:pt idx="14333">
                  <c:v>31114</c:v>
                </c:pt>
                <c:pt idx="14334">
                  <c:v>31117</c:v>
                </c:pt>
                <c:pt idx="14335">
                  <c:v>31118</c:v>
                </c:pt>
                <c:pt idx="14336">
                  <c:v>31119</c:v>
                </c:pt>
                <c:pt idx="14337">
                  <c:v>31120</c:v>
                </c:pt>
                <c:pt idx="14338">
                  <c:v>31121</c:v>
                </c:pt>
                <c:pt idx="14339">
                  <c:v>31124</c:v>
                </c:pt>
                <c:pt idx="14340">
                  <c:v>31125</c:v>
                </c:pt>
                <c:pt idx="14341">
                  <c:v>31126</c:v>
                </c:pt>
                <c:pt idx="14342">
                  <c:v>31127</c:v>
                </c:pt>
                <c:pt idx="14343">
                  <c:v>31128</c:v>
                </c:pt>
                <c:pt idx="14344">
                  <c:v>31131</c:v>
                </c:pt>
                <c:pt idx="14345">
                  <c:v>31132</c:v>
                </c:pt>
                <c:pt idx="14346">
                  <c:v>31133</c:v>
                </c:pt>
                <c:pt idx="14347">
                  <c:v>31134</c:v>
                </c:pt>
                <c:pt idx="14348">
                  <c:v>31135</c:v>
                </c:pt>
                <c:pt idx="14349">
                  <c:v>31138</c:v>
                </c:pt>
                <c:pt idx="14350">
                  <c:v>31139</c:v>
                </c:pt>
                <c:pt idx="14351">
                  <c:v>31140</c:v>
                </c:pt>
                <c:pt idx="14352">
                  <c:v>31141</c:v>
                </c:pt>
                <c:pt idx="14353">
                  <c:v>31145</c:v>
                </c:pt>
                <c:pt idx="14354">
                  <c:v>31146</c:v>
                </c:pt>
                <c:pt idx="14355">
                  <c:v>31147</c:v>
                </c:pt>
                <c:pt idx="14356">
                  <c:v>31148</c:v>
                </c:pt>
                <c:pt idx="14357">
                  <c:v>31149</c:v>
                </c:pt>
                <c:pt idx="14358">
                  <c:v>31152</c:v>
                </c:pt>
                <c:pt idx="14359">
                  <c:v>31153</c:v>
                </c:pt>
                <c:pt idx="14360">
                  <c:v>31154</c:v>
                </c:pt>
                <c:pt idx="14361">
                  <c:v>31155</c:v>
                </c:pt>
                <c:pt idx="14362">
                  <c:v>31156</c:v>
                </c:pt>
                <c:pt idx="14363">
                  <c:v>31159</c:v>
                </c:pt>
                <c:pt idx="14364">
                  <c:v>31160</c:v>
                </c:pt>
                <c:pt idx="14365">
                  <c:v>31161</c:v>
                </c:pt>
                <c:pt idx="14366">
                  <c:v>31162</c:v>
                </c:pt>
                <c:pt idx="14367">
                  <c:v>31163</c:v>
                </c:pt>
                <c:pt idx="14368">
                  <c:v>31166</c:v>
                </c:pt>
                <c:pt idx="14369">
                  <c:v>31167</c:v>
                </c:pt>
                <c:pt idx="14370">
                  <c:v>31168</c:v>
                </c:pt>
                <c:pt idx="14371">
                  <c:v>31169</c:v>
                </c:pt>
                <c:pt idx="14372">
                  <c:v>31170</c:v>
                </c:pt>
                <c:pt idx="14373">
                  <c:v>31173</c:v>
                </c:pt>
                <c:pt idx="14374">
                  <c:v>31174</c:v>
                </c:pt>
                <c:pt idx="14375">
                  <c:v>31175</c:v>
                </c:pt>
                <c:pt idx="14376">
                  <c:v>31176</c:v>
                </c:pt>
                <c:pt idx="14377">
                  <c:v>31177</c:v>
                </c:pt>
                <c:pt idx="14378">
                  <c:v>31180</c:v>
                </c:pt>
                <c:pt idx="14379">
                  <c:v>31181</c:v>
                </c:pt>
                <c:pt idx="14380">
                  <c:v>31182</c:v>
                </c:pt>
                <c:pt idx="14381">
                  <c:v>31183</c:v>
                </c:pt>
                <c:pt idx="14382">
                  <c:v>31184</c:v>
                </c:pt>
                <c:pt idx="14383">
                  <c:v>31187</c:v>
                </c:pt>
                <c:pt idx="14384">
                  <c:v>31188</c:v>
                </c:pt>
                <c:pt idx="14385">
                  <c:v>31189</c:v>
                </c:pt>
                <c:pt idx="14386">
                  <c:v>31190</c:v>
                </c:pt>
                <c:pt idx="14387">
                  <c:v>31191</c:v>
                </c:pt>
                <c:pt idx="14388">
                  <c:v>31195</c:v>
                </c:pt>
                <c:pt idx="14389">
                  <c:v>31196</c:v>
                </c:pt>
                <c:pt idx="14390">
                  <c:v>31197</c:v>
                </c:pt>
                <c:pt idx="14391">
                  <c:v>31198</c:v>
                </c:pt>
                <c:pt idx="14392">
                  <c:v>31201</c:v>
                </c:pt>
                <c:pt idx="14393">
                  <c:v>31202</c:v>
                </c:pt>
                <c:pt idx="14394">
                  <c:v>31203</c:v>
                </c:pt>
                <c:pt idx="14395">
                  <c:v>31204</c:v>
                </c:pt>
                <c:pt idx="14396">
                  <c:v>31205</c:v>
                </c:pt>
                <c:pt idx="14397">
                  <c:v>31208</c:v>
                </c:pt>
                <c:pt idx="14398">
                  <c:v>31209</c:v>
                </c:pt>
                <c:pt idx="14399">
                  <c:v>31210</c:v>
                </c:pt>
                <c:pt idx="14400">
                  <c:v>31211</c:v>
                </c:pt>
                <c:pt idx="14401">
                  <c:v>31212</c:v>
                </c:pt>
                <c:pt idx="14402">
                  <c:v>31215</c:v>
                </c:pt>
                <c:pt idx="14403">
                  <c:v>31216</c:v>
                </c:pt>
                <c:pt idx="14404">
                  <c:v>31217</c:v>
                </c:pt>
                <c:pt idx="14405">
                  <c:v>31218</c:v>
                </c:pt>
                <c:pt idx="14406">
                  <c:v>31219</c:v>
                </c:pt>
                <c:pt idx="14407">
                  <c:v>31222</c:v>
                </c:pt>
                <c:pt idx="14408">
                  <c:v>31223</c:v>
                </c:pt>
                <c:pt idx="14409">
                  <c:v>31224</c:v>
                </c:pt>
                <c:pt idx="14410">
                  <c:v>31225</c:v>
                </c:pt>
                <c:pt idx="14411">
                  <c:v>31226</c:v>
                </c:pt>
                <c:pt idx="14412">
                  <c:v>31229</c:v>
                </c:pt>
                <c:pt idx="14413">
                  <c:v>31230</c:v>
                </c:pt>
                <c:pt idx="14414">
                  <c:v>31231</c:v>
                </c:pt>
                <c:pt idx="14415">
                  <c:v>31233</c:v>
                </c:pt>
                <c:pt idx="14416">
                  <c:v>31236</c:v>
                </c:pt>
                <c:pt idx="14417">
                  <c:v>31237</c:v>
                </c:pt>
                <c:pt idx="14418">
                  <c:v>31238</c:v>
                </c:pt>
                <c:pt idx="14419">
                  <c:v>31239</c:v>
                </c:pt>
                <c:pt idx="14420">
                  <c:v>31240</c:v>
                </c:pt>
                <c:pt idx="14421">
                  <c:v>31243</c:v>
                </c:pt>
                <c:pt idx="14422">
                  <c:v>31244</c:v>
                </c:pt>
                <c:pt idx="14423">
                  <c:v>31245</c:v>
                </c:pt>
                <c:pt idx="14424">
                  <c:v>31246</c:v>
                </c:pt>
                <c:pt idx="14425">
                  <c:v>31247</c:v>
                </c:pt>
                <c:pt idx="14426">
                  <c:v>31250</c:v>
                </c:pt>
                <c:pt idx="14427">
                  <c:v>31251</c:v>
                </c:pt>
                <c:pt idx="14428">
                  <c:v>31252</c:v>
                </c:pt>
                <c:pt idx="14429">
                  <c:v>31253</c:v>
                </c:pt>
                <c:pt idx="14430">
                  <c:v>31254</c:v>
                </c:pt>
                <c:pt idx="14431">
                  <c:v>31257</c:v>
                </c:pt>
                <c:pt idx="14432">
                  <c:v>31258</c:v>
                </c:pt>
                <c:pt idx="14433">
                  <c:v>31259</c:v>
                </c:pt>
                <c:pt idx="14434">
                  <c:v>31260</c:v>
                </c:pt>
                <c:pt idx="14435">
                  <c:v>31261</c:v>
                </c:pt>
                <c:pt idx="14436">
                  <c:v>31264</c:v>
                </c:pt>
                <c:pt idx="14437">
                  <c:v>31265</c:v>
                </c:pt>
                <c:pt idx="14438">
                  <c:v>31266</c:v>
                </c:pt>
                <c:pt idx="14439">
                  <c:v>31267</c:v>
                </c:pt>
                <c:pt idx="14440">
                  <c:v>31268</c:v>
                </c:pt>
                <c:pt idx="14441">
                  <c:v>31271</c:v>
                </c:pt>
                <c:pt idx="14442">
                  <c:v>31272</c:v>
                </c:pt>
                <c:pt idx="14443">
                  <c:v>31273</c:v>
                </c:pt>
                <c:pt idx="14444">
                  <c:v>31274</c:v>
                </c:pt>
                <c:pt idx="14445">
                  <c:v>31275</c:v>
                </c:pt>
                <c:pt idx="14446">
                  <c:v>31278</c:v>
                </c:pt>
                <c:pt idx="14447">
                  <c:v>31279</c:v>
                </c:pt>
                <c:pt idx="14448">
                  <c:v>31280</c:v>
                </c:pt>
                <c:pt idx="14449">
                  <c:v>31281</c:v>
                </c:pt>
                <c:pt idx="14450">
                  <c:v>31282</c:v>
                </c:pt>
                <c:pt idx="14451">
                  <c:v>31285</c:v>
                </c:pt>
                <c:pt idx="14452">
                  <c:v>31286</c:v>
                </c:pt>
                <c:pt idx="14453">
                  <c:v>31287</c:v>
                </c:pt>
                <c:pt idx="14454">
                  <c:v>31288</c:v>
                </c:pt>
                <c:pt idx="14455">
                  <c:v>31289</c:v>
                </c:pt>
                <c:pt idx="14456">
                  <c:v>31293</c:v>
                </c:pt>
                <c:pt idx="14457">
                  <c:v>31294</c:v>
                </c:pt>
                <c:pt idx="14458">
                  <c:v>31295</c:v>
                </c:pt>
                <c:pt idx="14459">
                  <c:v>31296</c:v>
                </c:pt>
                <c:pt idx="14460">
                  <c:v>31299</c:v>
                </c:pt>
                <c:pt idx="14461">
                  <c:v>31300</c:v>
                </c:pt>
                <c:pt idx="14462">
                  <c:v>31301</c:v>
                </c:pt>
                <c:pt idx="14463">
                  <c:v>31302</c:v>
                </c:pt>
                <c:pt idx="14464">
                  <c:v>31303</c:v>
                </c:pt>
                <c:pt idx="14465">
                  <c:v>31306</c:v>
                </c:pt>
                <c:pt idx="14466">
                  <c:v>31307</c:v>
                </c:pt>
                <c:pt idx="14467">
                  <c:v>31308</c:v>
                </c:pt>
                <c:pt idx="14468">
                  <c:v>31309</c:v>
                </c:pt>
                <c:pt idx="14469">
                  <c:v>31310</c:v>
                </c:pt>
                <c:pt idx="14470">
                  <c:v>31313</c:v>
                </c:pt>
                <c:pt idx="14471">
                  <c:v>31314</c:v>
                </c:pt>
                <c:pt idx="14472">
                  <c:v>31315</c:v>
                </c:pt>
                <c:pt idx="14473">
                  <c:v>31316</c:v>
                </c:pt>
                <c:pt idx="14474">
                  <c:v>31317</c:v>
                </c:pt>
                <c:pt idx="14475">
                  <c:v>31320</c:v>
                </c:pt>
                <c:pt idx="14476">
                  <c:v>31321</c:v>
                </c:pt>
                <c:pt idx="14477">
                  <c:v>31322</c:v>
                </c:pt>
                <c:pt idx="14478">
                  <c:v>31323</c:v>
                </c:pt>
                <c:pt idx="14479">
                  <c:v>31324</c:v>
                </c:pt>
                <c:pt idx="14480">
                  <c:v>31327</c:v>
                </c:pt>
                <c:pt idx="14481">
                  <c:v>31328</c:v>
                </c:pt>
                <c:pt idx="14482">
                  <c:v>31329</c:v>
                </c:pt>
                <c:pt idx="14483">
                  <c:v>31330</c:v>
                </c:pt>
                <c:pt idx="14484">
                  <c:v>31331</c:v>
                </c:pt>
                <c:pt idx="14485">
                  <c:v>31334</c:v>
                </c:pt>
                <c:pt idx="14486">
                  <c:v>31335</c:v>
                </c:pt>
                <c:pt idx="14487">
                  <c:v>31336</c:v>
                </c:pt>
                <c:pt idx="14488">
                  <c:v>31337</c:v>
                </c:pt>
                <c:pt idx="14489">
                  <c:v>31338</c:v>
                </c:pt>
                <c:pt idx="14490">
                  <c:v>31341</c:v>
                </c:pt>
                <c:pt idx="14491">
                  <c:v>31342</c:v>
                </c:pt>
                <c:pt idx="14492">
                  <c:v>31343</c:v>
                </c:pt>
                <c:pt idx="14493">
                  <c:v>31344</c:v>
                </c:pt>
                <c:pt idx="14494">
                  <c:v>31345</c:v>
                </c:pt>
                <c:pt idx="14495">
                  <c:v>31348</c:v>
                </c:pt>
                <c:pt idx="14496">
                  <c:v>31349</c:v>
                </c:pt>
                <c:pt idx="14497">
                  <c:v>31350</c:v>
                </c:pt>
                <c:pt idx="14498">
                  <c:v>31351</c:v>
                </c:pt>
                <c:pt idx="14499">
                  <c:v>31352</c:v>
                </c:pt>
                <c:pt idx="14500">
                  <c:v>31355</c:v>
                </c:pt>
                <c:pt idx="14501">
                  <c:v>31356</c:v>
                </c:pt>
                <c:pt idx="14502">
                  <c:v>31357</c:v>
                </c:pt>
                <c:pt idx="14503">
                  <c:v>31358</c:v>
                </c:pt>
                <c:pt idx="14504">
                  <c:v>31359</c:v>
                </c:pt>
                <c:pt idx="14505">
                  <c:v>31362</c:v>
                </c:pt>
                <c:pt idx="14506">
                  <c:v>31363</c:v>
                </c:pt>
                <c:pt idx="14507">
                  <c:v>31364</c:v>
                </c:pt>
                <c:pt idx="14508">
                  <c:v>31365</c:v>
                </c:pt>
                <c:pt idx="14509">
                  <c:v>31366</c:v>
                </c:pt>
                <c:pt idx="14510">
                  <c:v>31369</c:v>
                </c:pt>
                <c:pt idx="14511">
                  <c:v>31370</c:v>
                </c:pt>
                <c:pt idx="14512">
                  <c:v>31371</c:v>
                </c:pt>
                <c:pt idx="14513">
                  <c:v>31372</c:v>
                </c:pt>
                <c:pt idx="14514">
                  <c:v>31373</c:v>
                </c:pt>
                <c:pt idx="14515">
                  <c:v>31376</c:v>
                </c:pt>
                <c:pt idx="14516">
                  <c:v>31377</c:v>
                </c:pt>
                <c:pt idx="14517">
                  <c:v>31378</c:v>
                </c:pt>
                <c:pt idx="14518">
                  <c:v>31380</c:v>
                </c:pt>
                <c:pt idx="14519">
                  <c:v>31383</c:v>
                </c:pt>
                <c:pt idx="14520">
                  <c:v>31384</c:v>
                </c:pt>
                <c:pt idx="14521">
                  <c:v>31385</c:v>
                </c:pt>
                <c:pt idx="14522">
                  <c:v>31386</c:v>
                </c:pt>
                <c:pt idx="14523">
                  <c:v>31387</c:v>
                </c:pt>
                <c:pt idx="14524">
                  <c:v>31390</c:v>
                </c:pt>
                <c:pt idx="14525">
                  <c:v>31391</c:v>
                </c:pt>
                <c:pt idx="14526">
                  <c:v>31392</c:v>
                </c:pt>
                <c:pt idx="14527">
                  <c:v>31393</c:v>
                </c:pt>
                <c:pt idx="14528">
                  <c:v>31394</c:v>
                </c:pt>
                <c:pt idx="14529">
                  <c:v>31397</c:v>
                </c:pt>
                <c:pt idx="14530">
                  <c:v>31398</c:v>
                </c:pt>
                <c:pt idx="14531">
                  <c:v>31399</c:v>
                </c:pt>
                <c:pt idx="14532">
                  <c:v>31400</c:v>
                </c:pt>
                <c:pt idx="14533">
                  <c:v>31401</c:v>
                </c:pt>
                <c:pt idx="14534">
                  <c:v>31404</c:v>
                </c:pt>
                <c:pt idx="14535">
                  <c:v>31405</c:v>
                </c:pt>
                <c:pt idx="14536">
                  <c:v>31407</c:v>
                </c:pt>
                <c:pt idx="14537">
                  <c:v>31408</c:v>
                </c:pt>
                <c:pt idx="14538">
                  <c:v>31411</c:v>
                </c:pt>
                <c:pt idx="14539">
                  <c:v>31412</c:v>
                </c:pt>
                <c:pt idx="14540">
                  <c:v>31414</c:v>
                </c:pt>
                <c:pt idx="14541">
                  <c:v>31415</c:v>
                </c:pt>
                <c:pt idx="14542">
                  <c:v>31418</c:v>
                </c:pt>
                <c:pt idx="14543">
                  <c:v>31419</c:v>
                </c:pt>
                <c:pt idx="14544">
                  <c:v>31420</c:v>
                </c:pt>
                <c:pt idx="14545">
                  <c:v>31421</c:v>
                </c:pt>
                <c:pt idx="14546">
                  <c:v>31422</c:v>
                </c:pt>
                <c:pt idx="14547">
                  <c:v>31425</c:v>
                </c:pt>
                <c:pt idx="14548">
                  <c:v>31426</c:v>
                </c:pt>
                <c:pt idx="14549">
                  <c:v>31427</c:v>
                </c:pt>
                <c:pt idx="14550">
                  <c:v>31428</c:v>
                </c:pt>
                <c:pt idx="14551">
                  <c:v>31429</c:v>
                </c:pt>
                <c:pt idx="14552">
                  <c:v>31432</c:v>
                </c:pt>
                <c:pt idx="14553">
                  <c:v>31433</c:v>
                </c:pt>
                <c:pt idx="14554">
                  <c:v>31434</c:v>
                </c:pt>
                <c:pt idx="14555">
                  <c:v>31435</c:v>
                </c:pt>
                <c:pt idx="14556">
                  <c:v>31436</c:v>
                </c:pt>
                <c:pt idx="14557">
                  <c:v>31439</c:v>
                </c:pt>
                <c:pt idx="14558">
                  <c:v>31440</c:v>
                </c:pt>
                <c:pt idx="14559">
                  <c:v>31441</c:v>
                </c:pt>
                <c:pt idx="14560">
                  <c:v>31442</c:v>
                </c:pt>
                <c:pt idx="14561">
                  <c:v>31443</c:v>
                </c:pt>
                <c:pt idx="14562">
                  <c:v>31446</c:v>
                </c:pt>
                <c:pt idx="14563">
                  <c:v>31447</c:v>
                </c:pt>
                <c:pt idx="14564">
                  <c:v>31448</c:v>
                </c:pt>
                <c:pt idx="14565">
                  <c:v>31449</c:v>
                </c:pt>
                <c:pt idx="14566">
                  <c:v>31450</c:v>
                </c:pt>
                <c:pt idx="14567">
                  <c:v>31453</c:v>
                </c:pt>
                <c:pt idx="14568">
                  <c:v>31454</c:v>
                </c:pt>
                <c:pt idx="14569">
                  <c:v>31455</c:v>
                </c:pt>
                <c:pt idx="14570">
                  <c:v>31456</c:v>
                </c:pt>
                <c:pt idx="14571">
                  <c:v>31457</c:v>
                </c:pt>
                <c:pt idx="14572">
                  <c:v>31461</c:v>
                </c:pt>
                <c:pt idx="14573">
                  <c:v>31462</c:v>
                </c:pt>
                <c:pt idx="14574">
                  <c:v>31463</c:v>
                </c:pt>
                <c:pt idx="14575">
                  <c:v>31464</c:v>
                </c:pt>
                <c:pt idx="14576">
                  <c:v>31467</c:v>
                </c:pt>
                <c:pt idx="14577">
                  <c:v>31468</c:v>
                </c:pt>
                <c:pt idx="14578">
                  <c:v>31469</c:v>
                </c:pt>
                <c:pt idx="14579">
                  <c:v>31470</c:v>
                </c:pt>
                <c:pt idx="14580">
                  <c:v>31471</c:v>
                </c:pt>
                <c:pt idx="14581">
                  <c:v>31474</c:v>
                </c:pt>
                <c:pt idx="14582">
                  <c:v>31475</c:v>
                </c:pt>
                <c:pt idx="14583">
                  <c:v>31476</c:v>
                </c:pt>
                <c:pt idx="14584">
                  <c:v>31477</c:v>
                </c:pt>
                <c:pt idx="14585">
                  <c:v>31478</c:v>
                </c:pt>
                <c:pt idx="14586">
                  <c:v>31481</c:v>
                </c:pt>
                <c:pt idx="14587">
                  <c:v>31482</c:v>
                </c:pt>
                <c:pt idx="14588">
                  <c:v>31483</c:v>
                </c:pt>
                <c:pt idx="14589">
                  <c:v>31484</c:v>
                </c:pt>
                <c:pt idx="14590">
                  <c:v>31485</c:v>
                </c:pt>
                <c:pt idx="14591">
                  <c:v>31488</c:v>
                </c:pt>
                <c:pt idx="14592">
                  <c:v>31489</c:v>
                </c:pt>
                <c:pt idx="14593">
                  <c:v>31490</c:v>
                </c:pt>
                <c:pt idx="14594">
                  <c:v>31491</c:v>
                </c:pt>
                <c:pt idx="14595">
                  <c:v>31492</c:v>
                </c:pt>
                <c:pt idx="14596">
                  <c:v>31495</c:v>
                </c:pt>
                <c:pt idx="14597">
                  <c:v>31496</c:v>
                </c:pt>
                <c:pt idx="14598">
                  <c:v>31497</c:v>
                </c:pt>
                <c:pt idx="14599">
                  <c:v>31498</c:v>
                </c:pt>
                <c:pt idx="14600">
                  <c:v>31502</c:v>
                </c:pt>
                <c:pt idx="14601">
                  <c:v>31503</c:v>
                </c:pt>
                <c:pt idx="14602">
                  <c:v>31504</c:v>
                </c:pt>
                <c:pt idx="14603">
                  <c:v>31505</c:v>
                </c:pt>
                <c:pt idx="14604">
                  <c:v>31506</c:v>
                </c:pt>
                <c:pt idx="14605">
                  <c:v>31509</c:v>
                </c:pt>
                <c:pt idx="14606">
                  <c:v>31510</c:v>
                </c:pt>
                <c:pt idx="14607">
                  <c:v>31511</c:v>
                </c:pt>
                <c:pt idx="14608">
                  <c:v>31512</c:v>
                </c:pt>
                <c:pt idx="14609">
                  <c:v>31513</c:v>
                </c:pt>
                <c:pt idx="14610">
                  <c:v>31516</c:v>
                </c:pt>
                <c:pt idx="14611">
                  <c:v>31517</c:v>
                </c:pt>
                <c:pt idx="14612">
                  <c:v>31518</c:v>
                </c:pt>
                <c:pt idx="14613">
                  <c:v>31519</c:v>
                </c:pt>
                <c:pt idx="14614">
                  <c:v>31520</c:v>
                </c:pt>
                <c:pt idx="14615">
                  <c:v>31523</c:v>
                </c:pt>
                <c:pt idx="14616">
                  <c:v>31524</c:v>
                </c:pt>
                <c:pt idx="14617">
                  <c:v>31525</c:v>
                </c:pt>
                <c:pt idx="14618">
                  <c:v>31526</c:v>
                </c:pt>
                <c:pt idx="14619">
                  <c:v>31527</c:v>
                </c:pt>
                <c:pt idx="14620">
                  <c:v>31530</c:v>
                </c:pt>
                <c:pt idx="14621">
                  <c:v>31531</c:v>
                </c:pt>
                <c:pt idx="14622">
                  <c:v>31532</c:v>
                </c:pt>
                <c:pt idx="14623">
                  <c:v>31533</c:v>
                </c:pt>
                <c:pt idx="14624">
                  <c:v>31534</c:v>
                </c:pt>
                <c:pt idx="14625">
                  <c:v>31537</c:v>
                </c:pt>
                <c:pt idx="14626">
                  <c:v>31538</c:v>
                </c:pt>
                <c:pt idx="14627">
                  <c:v>31539</c:v>
                </c:pt>
                <c:pt idx="14628">
                  <c:v>31540</c:v>
                </c:pt>
                <c:pt idx="14629">
                  <c:v>31541</c:v>
                </c:pt>
                <c:pt idx="14630">
                  <c:v>31544</c:v>
                </c:pt>
                <c:pt idx="14631">
                  <c:v>31545</c:v>
                </c:pt>
                <c:pt idx="14632">
                  <c:v>31546</c:v>
                </c:pt>
                <c:pt idx="14633">
                  <c:v>31547</c:v>
                </c:pt>
                <c:pt idx="14634">
                  <c:v>31548</c:v>
                </c:pt>
                <c:pt idx="14635">
                  <c:v>31551</c:v>
                </c:pt>
                <c:pt idx="14636">
                  <c:v>31552</c:v>
                </c:pt>
                <c:pt idx="14637">
                  <c:v>31553</c:v>
                </c:pt>
                <c:pt idx="14638">
                  <c:v>31554</c:v>
                </c:pt>
                <c:pt idx="14639">
                  <c:v>31555</c:v>
                </c:pt>
                <c:pt idx="14640">
                  <c:v>31559</c:v>
                </c:pt>
                <c:pt idx="14641">
                  <c:v>31560</c:v>
                </c:pt>
                <c:pt idx="14642">
                  <c:v>31561</c:v>
                </c:pt>
                <c:pt idx="14643">
                  <c:v>31562</c:v>
                </c:pt>
                <c:pt idx="14644">
                  <c:v>31565</c:v>
                </c:pt>
                <c:pt idx="14645">
                  <c:v>31566</c:v>
                </c:pt>
                <c:pt idx="14646">
                  <c:v>31567</c:v>
                </c:pt>
                <c:pt idx="14647">
                  <c:v>31568</c:v>
                </c:pt>
                <c:pt idx="14648">
                  <c:v>31569</c:v>
                </c:pt>
                <c:pt idx="14649">
                  <c:v>31572</c:v>
                </c:pt>
                <c:pt idx="14650">
                  <c:v>31573</c:v>
                </c:pt>
                <c:pt idx="14651">
                  <c:v>31574</c:v>
                </c:pt>
                <c:pt idx="14652">
                  <c:v>31575</c:v>
                </c:pt>
                <c:pt idx="14653">
                  <c:v>31576</c:v>
                </c:pt>
                <c:pt idx="14654">
                  <c:v>31579</c:v>
                </c:pt>
                <c:pt idx="14655">
                  <c:v>31580</c:v>
                </c:pt>
                <c:pt idx="14656">
                  <c:v>31581</c:v>
                </c:pt>
                <c:pt idx="14657">
                  <c:v>31582</c:v>
                </c:pt>
                <c:pt idx="14658">
                  <c:v>31583</c:v>
                </c:pt>
                <c:pt idx="14659">
                  <c:v>31586</c:v>
                </c:pt>
                <c:pt idx="14660">
                  <c:v>31587</c:v>
                </c:pt>
                <c:pt idx="14661">
                  <c:v>31588</c:v>
                </c:pt>
                <c:pt idx="14662">
                  <c:v>31589</c:v>
                </c:pt>
                <c:pt idx="14663">
                  <c:v>31590</c:v>
                </c:pt>
                <c:pt idx="14664">
                  <c:v>31593</c:v>
                </c:pt>
                <c:pt idx="14665">
                  <c:v>31594</c:v>
                </c:pt>
                <c:pt idx="14666">
                  <c:v>31595</c:v>
                </c:pt>
                <c:pt idx="14667">
                  <c:v>31596</c:v>
                </c:pt>
                <c:pt idx="14668">
                  <c:v>31600</c:v>
                </c:pt>
                <c:pt idx="14669">
                  <c:v>31601</c:v>
                </c:pt>
                <c:pt idx="14670">
                  <c:v>31602</c:v>
                </c:pt>
                <c:pt idx="14671">
                  <c:v>31603</c:v>
                </c:pt>
                <c:pt idx="14672">
                  <c:v>31604</c:v>
                </c:pt>
                <c:pt idx="14673">
                  <c:v>31607</c:v>
                </c:pt>
                <c:pt idx="14674">
                  <c:v>31608</c:v>
                </c:pt>
                <c:pt idx="14675">
                  <c:v>31609</c:v>
                </c:pt>
                <c:pt idx="14676">
                  <c:v>31610</c:v>
                </c:pt>
                <c:pt idx="14677">
                  <c:v>31611</c:v>
                </c:pt>
                <c:pt idx="14678">
                  <c:v>31614</c:v>
                </c:pt>
                <c:pt idx="14679">
                  <c:v>31615</c:v>
                </c:pt>
                <c:pt idx="14680">
                  <c:v>31616</c:v>
                </c:pt>
                <c:pt idx="14681">
                  <c:v>31617</c:v>
                </c:pt>
                <c:pt idx="14682">
                  <c:v>31618</c:v>
                </c:pt>
                <c:pt idx="14683">
                  <c:v>31621</c:v>
                </c:pt>
                <c:pt idx="14684">
                  <c:v>31622</c:v>
                </c:pt>
                <c:pt idx="14685">
                  <c:v>31623</c:v>
                </c:pt>
                <c:pt idx="14686">
                  <c:v>31624</c:v>
                </c:pt>
                <c:pt idx="14687">
                  <c:v>31625</c:v>
                </c:pt>
                <c:pt idx="14688">
                  <c:v>31628</c:v>
                </c:pt>
                <c:pt idx="14689">
                  <c:v>31629</c:v>
                </c:pt>
                <c:pt idx="14690">
                  <c:v>31630</c:v>
                </c:pt>
                <c:pt idx="14691">
                  <c:v>31631</c:v>
                </c:pt>
                <c:pt idx="14692">
                  <c:v>31632</c:v>
                </c:pt>
                <c:pt idx="14693">
                  <c:v>31635</c:v>
                </c:pt>
                <c:pt idx="14694">
                  <c:v>31636</c:v>
                </c:pt>
                <c:pt idx="14695">
                  <c:v>31637</c:v>
                </c:pt>
                <c:pt idx="14696">
                  <c:v>31638</c:v>
                </c:pt>
                <c:pt idx="14697">
                  <c:v>31639</c:v>
                </c:pt>
                <c:pt idx="14698">
                  <c:v>31642</c:v>
                </c:pt>
                <c:pt idx="14699">
                  <c:v>31643</c:v>
                </c:pt>
                <c:pt idx="14700">
                  <c:v>31644</c:v>
                </c:pt>
                <c:pt idx="14701">
                  <c:v>31645</c:v>
                </c:pt>
                <c:pt idx="14702">
                  <c:v>31646</c:v>
                </c:pt>
                <c:pt idx="14703">
                  <c:v>31649</c:v>
                </c:pt>
                <c:pt idx="14704">
                  <c:v>31650</c:v>
                </c:pt>
                <c:pt idx="14705">
                  <c:v>31651</c:v>
                </c:pt>
                <c:pt idx="14706">
                  <c:v>31652</c:v>
                </c:pt>
                <c:pt idx="14707">
                  <c:v>31653</c:v>
                </c:pt>
                <c:pt idx="14708">
                  <c:v>31657</c:v>
                </c:pt>
                <c:pt idx="14709">
                  <c:v>31658</c:v>
                </c:pt>
                <c:pt idx="14710">
                  <c:v>31659</c:v>
                </c:pt>
                <c:pt idx="14711">
                  <c:v>31660</c:v>
                </c:pt>
                <c:pt idx="14712">
                  <c:v>31663</c:v>
                </c:pt>
                <c:pt idx="14713">
                  <c:v>31664</c:v>
                </c:pt>
                <c:pt idx="14714">
                  <c:v>31665</c:v>
                </c:pt>
                <c:pt idx="14715">
                  <c:v>31666</c:v>
                </c:pt>
                <c:pt idx="14716">
                  <c:v>31667</c:v>
                </c:pt>
                <c:pt idx="14717">
                  <c:v>31670</c:v>
                </c:pt>
                <c:pt idx="14718">
                  <c:v>31671</c:v>
                </c:pt>
                <c:pt idx="14719">
                  <c:v>31672</c:v>
                </c:pt>
                <c:pt idx="14720">
                  <c:v>31673</c:v>
                </c:pt>
                <c:pt idx="14721">
                  <c:v>31674</c:v>
                </c:pt>
                <c:pt idx="14722">
                  <c:v>31677</c:v>
                </c:pt>
                <c:pt idx="14723">
                  <c:v>31678</c:v>
                </c:pt>
                <c:pt idx="14724">
                  <c:v>31679</c:v>
                </c:pt>
                <c:pt idx="14725">
                  <c:v>31680</c:v>
                </c:pt>
                <c:pt idx="14726">
                  <c:v>31681</c:v>
                </c:pt>
                <c:pt idx="14727">
                  <c:v>31684</c:v>
                </c:pt>
                <c:pt idx="14728">
                  <c:v>31685</c:v>
                </c:pt>
                <c:pt idx="14729">
                  <c:v>31686</c:v>
                </c:pt>
                <c:pt idx="14730">
                  <c:v>31687</c:v>
                </c:pt>
                <c:pt idx="14731">
                  <c:v>31688</c:v>
                </c:pt>
                <c:pt idx="14732">
                  <c:v>31691</c:v>
                </c:pt>
                <c:pt idx="14733">
                  <c:v>31692</c:v>
                </c:pt>
                <c:pt idx="14734">
                  <c:v>31693</c:v>
                </c:pt>
                <c:pt idx="14735">
                  <c:v>31694</c:v>
                </c:pt>
                <c:pt idx="14736">
                  <c:v>31695</c:v>
                </c:pt>
                <c:pt idx="14737">
                  <c:v>31698</c:v>
                </c:pt>
                <c:pt idx="14738">
                  <c:v>31699</c:v>
                </c:pt>
                <c:pt idx="14739">
                  <c:v>31700</c:v>
                </c:pt>
                <c:pt idx="14740">
                  <c:v>31701</c:v>
                </c:pt>
                <c:pt idx="14741">
                  <c:v>31702</c:v>
                </c:pt>
                <c:pt idx="14742">
                  <c:v>31705</c:v>
                </c:pt>
                <c:pt idx="14743">
                  <c:v>31706</c:v>
                </c:pt>
                <c:pt idx="14744">
                  <c:v>31707</c:v>
                </c:pt>
                <c:pt idx="14745">
                  <c:v>31708</c:v>
                </c:pt>
                <c:pt idx="14746">
                  <c:v>31709</c:v>
                </c:pt>
                <c:pt idx="14747">
                  <c:v>31712</c:v>
                </c:pt>
                <c:pt idx="14748">
                  <c:v>31713</c:v>
                </c:pt>
                <c:pt idx="14749">
                  <c:v>31714</c:v>
                </c:pt>
                <c:pt idx="14750">
                  <c:v>31715</c:v>
                </c:pt>
                <c:pt idx="14751">
                  <c:v>31716</c:v>
                </c:pt>
                <c:pt idx="14752">
                  <c:v>31719</c:v>
                </c:pt>
                <c:pt idx="14753">
                  <c:v>31720</c:v>
                </c:pt>
                <c:pt idx="14754">
                  <c:v>31721</c:v>
                </c:pt>
                <c:pt idx="14755">
                  <c:v>31722</c:v>
                </c:pt>
                <c:pt idx="14756">
                  <c:v>31723</c:v>
                </c:pt>
                <c:pt idx="14757">
                  <c:v>31726</c:v>
                </c:pt>
                <c:pt idx="14758">
                  <c:v>31727</c:v>
                </c:pt>
                <c:pt idx="14759">
                  <c:v>31728</c:v>
                </c:pt>
                <c:pt idx="14760">
                  <c:v>31729</c:v>
                </c:pt>
                <c:pt idx="14761">
                  <c:v>31730</c:v>
                </c:pt>
                <c:pt idx="14762">
                  <c:v>31733</c:v>
                </c:pt>
                <c:pt idx="14763">
                  <c:v>31734</c:v>
                </c:pt>
                <c:pt idx="14764">
                  <c:v>31735</c:v>
                </c:pt>
                <c:pt idx="14765">
                  <c:v>31736</c:v>
                </c:pt>
                <c:pt idx="14766">
                  <c:v>31737</c:v>
                </c:pt>
                <c:pt idx="14767">
                  <c:v>31740</c:v>
                </c:pt>
                <c:pt idx="14768">
                  <c:v>31741</c:v>
                </c:pt>
                <c:pt idx="14769">
                  <c:v>31742</c:v>
                </c:pt>
                <c:pt idx="14770">
                  <c:v>31744</c:v>
                </c:pt>
                <c:pt idx="14771">
                  <c:v>31747</c:v>
                </c:pt>
                <c:pt idx="14772">
                  <c:v>31748</c:v>
                </c:pt>
                <c:pt idx="14773">
                  <c:v>31749</c:v>
                </c:pt>
                <c:pt idx="14774">
                  <c:v>31750</c:v>
                </c:pt>
                <c:pt idx="14775">
                  <c:v>31751</c:v>
                </c:pt>
                <c:pt idx="14776">
                  <c:v>31754</c:v>
                </c:pt>
                <c:pt idx="14777">
                  <c:v>31755</c:v>
                </c:pt>
                <c:pt idx="14778">
                  <c:v>31756</c:v>
                </c:pt>
                <c:pt idx="14779">
                  <c:v>31757</c:v>
                </c:pt>
                <c:pt idx="14780">
                  <c:v>31758</c:v>
                </c:pt>
                <c:pt idx="14781">
                  <c:v>31761</c:v>
                </c:pt>
                <c:pt idx="14782">
                  <c:v>31762</c:v>
                </c:pt>
                <c:pt idx="14783">
                  <c:v>31763</c:v>
                </c:pt>
                <c:pt idx="14784">
                  <c:v>31764</c:v>
                </c:pt>
                <c:pt idx="14785">
                  <c:v>31765</c:v>
                </c:pt>
                <c:pt idx="14786">
                  <c:v>31768</c:v>
                </c:pt>
                <c:pt idx="14787">
                  <c:v>31769</c:v>
                </c:pt>
                <c:pt idx="14788">
                  <c:v>31770</c:v>
                </c:pt>
                <c:pt idx="14789">
                  <c:v>31772</c:v>
                </c:pt>
                <c:pt idx="14790">
                  <c:v>31775</c:v>
                </c:pt>
                <c:pt idx="14791">
                  <c:v>31776</c:v>
                </c:pt>
                <c:pt idx="14792">
                  <c:v>31777</c:v>
                </c:pt>
                <c:pt idx="14793">
                  <c:v>31779</c:v>
                </c:pt>
                <c:pt idx="14794">
                  <c:v>31782</c:v>
                </c:pt>
                <c:pt idx="14795">
                  <c:v>31783</c:v>
                </c:pt>
                <c:pt idx="14796">
                  <c:v>31784</c:v>
                </c:pt>
                <c:pt idx="14797">
                  <c:v>31785</c:v>
                </c:pt>
                <c:pt idx="14798">
                  <c:v>31786</c:v>
                </c:pt>
                <c:pt idx="14799">
                  <c:v>31789</c:v>
                </c:pt>
                <c:pt idx="14800">
                  <c:v>31790</c:v>
                </c:pt>
                <c:pt idx="14801">
                  <c:v>31791</c:v>
                </c:pt>
                <c:pt idx="14802">
                  <c:v>31792</c:v>
                </c:pt>
                <c:pt idx="14803">
                  <c:v>31793</c:v>
                </c:pt>
                <c:pt idx="14804">
                  <c:v>31796</c:v>
                </c:pt>
                <c:pt idx="14805">
                  <c:v>31797</c:v>
                </c:pt>
                <c:pt idx="14806">
                  <c:v>31798</c:v>
                </c:pt>
                <c:pt idx="14807">
                  <c:v>31799</c:v>
                </c:pt>
                <c:pt idx="14808">
                  <c:v>31800</c:v>
                </c:pt>
                <c:pt idx="14809">
                  <c:v>31803</c:v>
                </c:pt>
                <c:pt idx="14810">
                  <c:v>31804</c:v>
                </c:pt>
                <c:pt idx="14811">
                  <c:v>31805</c:v>
                </c:pt>
                <c:pt idx="14812">
                  <c:v>31806</c:v>
                </c:pt>
                <c:pt idx="14813">
                  <c:v>31807</c:v>
                </c:pt>
                <c:pt idx="14814">
                  <c:v>31810</c:v>
                </c:pt>
                <c:pt idx="14815">
                  <c:v>31811</c:v>
                </c:pt>
                <c:pt idx="14816">
                  <c:v>31812</c:v>
                </c:pt>
                <c:pt idx="14817">
                  <c:v>31813</c:v>
                </c:pt>
                <c:pt idx="14818">
                  <c:v>31814</c:v>
                </c:pt>
                <c:pt idx="14819">
                  <c:v>31817</c:v>
                </c:pt>
                <c:pt idx="14820">
                  <c:v>31818</c:v>
                </c:pt>
                <c:pt idx="14821">
                  <c:v>31819</c:v>
                </c:pt>
                <c:pt idx="14822">
                  <c:v>31820</c:v>
                </c:pt>
                <c:pt idx="14823">
                  <c:v>31821</c:v>
                </c:pt>
                <c:pt idx="14824">
                  <c:v>31825</c:v>
                </c:pt>
                <c:pt idx="14825">
                  <c:v>31826</c:v>
                </c:pt>
                <c:pt idx="14826">
                  <c:v>31827</c:v>
                </c:pt>
                <c:pt idx="14827">
                  <c:v>31828</c:v>
                </c:pt>
                <c:pt idx="14828">
                  <c:v>31831</c:v>
                </c:pt>
                <c:pt idx="14829">
                  <c:v>31832</c:v>
                </c:pt>
                <c:pt idx="14830">
                  <c:v>31833</c:v>
                </c:pt>
                <c:pt idx="14831">
                  <c:v>31834</c:v>
                </c:pt>
                <c:pt idx="14832">
                  <c:v>31835</c:v>
                </c:pt>
                <c:pt idx="14833">
                  <c:v>31838</c:v>
                </c:pt>
                <c:pt idx="14834">
                  <c:v>31839</c:v>
                </c:pt>
                <c:pt idx="14835">
                  <c:v>31840</c:v>
                </c:pt>
                <c:pt idx="14836">
                  <c:v>31841</c:v>
                </c:pt>
                <c:pt idx="14837">
                  <c:v>31842</c:v>
                </c:pt>
                <c:pt idx="14838">
                  <c:v>31845</c:v>
                </c:pt>
                <c:pt idx="14839">
                  <c:v>31846</c:v>
                </c:pt>
                <c:pt idx="14840">
                  <c:v>31847</c:v>
                </c:pt>
                <c:pt idx="14841">
                  <c:v>31848</c:v>
                </c:pt>
                <c:pt idx="14842">
                  <c:v>31849</c:v>
                </c:pt>
                <c:pt idx="14843">
                  <c:v>31852</c:v>
                </c:pt>
                <c:pt idx="14844">
                  <c:v>31853</c:v>
                </c:pt>
                <c:pt idx="14845">
                  <c:v>31854</c:v>
                </c:pt>
                <c:pt idx="14846">
                  <c:v>31855</c:v>
                </c:pt>
                <c:pt idx="14847">
                  <c:v>31856</c:v>
                </c:pt>
                <c:pt idx="14848">
                  <c:v>31859</c:v>
                </c:pt>
                <c:pt idx="14849">
                  <c:v>31860</c:v>
                </c:pt>
                <c:pt idx="14850">
                  <c:v>31861</c:v>
                </c:pt>
                <c:pt idx="14851">
                  <c:v>31862</c:v>
                </c:pt>
                <c:pt idx="14852">
                  <c:v>31863</c:v>
                </c:pt>
                <c:pt idx="14853">
                  <c:v>31866</c:v>
                </c:pt>
                <c:pt idx="14854">
                  <c:v>31867</c:v>
                </c:pt>
                <c:pt idx="14855">
                  <c:v>31868</c:v>
                </c:pt>
                <c:pt idx="14856">
                  <c:v>31869</c:v>
                </c:pt>
                <c:pt idx="14857">
                  <c:v>31870</c:v>
                </c:pt>
                <c:pt idx="14858">
                  <c:v>31873</c:v>
                </c:pt>
                <c:pt idx="14859">
                  <c:v>31874</c:v>
                </c:pt>
                <c:pt idx="14860">
                  <c:v>31875</c:v>
                </c:pt>
                <c:pt idx="14861">
                  <c:v>31876</c:v>
                </c:pt>
                <c:pt idx="14862">
                  <c:v>31877</c:v>
                </c:pt>
                <c:pt idx="14863">
                  <c:v>31880</c:v>
                </c:pt>
                <c:pt idx="14864">
                  <c:v>31881</c:v>
                </c:pt>
                <c:pt idx="14865">
                  <c:v>31882</c:v>
                </c:pt>
                <c:pt idx="14866">
                  <c:v>31883</c:v>
                </c:pt>
                <c:pt idx="14867">
                  <c:v>31887</c:v>
                </c:pt>
                <c:pt idx="14868">
                  <c:v>31888</c:v>
                </c:pt>
                <c:pt idx="14869">
                  <c:v>31889</c:v>
                </c:pt>
                <c:pt idx="14870">
                  <c:v>31890</c:v>
                </c:pt>
                <c:pt idx="14871">
                  <c:v>31891</c:v>
                </c:pt>
                <c:pt idx="14872">
                  <c:v>31894</c:v>
                </c:pt>
                <c:pt idx="14873">
                  <c:v>31895</c:v>
                </c:pt>
                <c:pt idx="14874">
                  <c:v>31896</c:v>
                </c:pt>
                <c:pt idx="14875">
                  <c:v>31897</c:v>
                </c:pt>
                <c:pt idx="14876">
                  <c:v>31898</c:v>
                </c:pt>
                <c:pt idx="14877">
                  <c:v>31901</c:v>
                </c:pt>
                <c:pt idx="14878">
                  <c:v>31902</c:v>
                </c:pt>
                <c:pt idx="14879">
                  <c:v>31903</c:v>
                </c:pt>
                <c:pt idx="14880">
                  <c:v>31904</c:v>
                </c:pt>
                <c:pt idx="14881">
                  <c:v>31905</c:v>
                </c:pt>
                <c:pt idx="14882">
                  <c:v>31908</c:v>
                </c:pt>
                <c:pt idx="14883">
                  <c:v>31909</c:v>
                </c:pt>
                <c:pt idx="14884">
                  <c:v>31910</c:v>
                </c:pt>
                <c:pt idx="14885">
                  <c:v>31911</c:v>
                </c:pt>
                <c:pt idx="14886">
                  <c:v>31912</c:v>
                </c:pt>
                <c:pt idx="14887">
                  <c:v>31915</c:v>
                </c:pt>
                <c:pt idx="14888">
                  <c:v>31916</c:v>
                </c:pt>
                <c:pt idx="14889">
                  <c:v>31917</c:v>
                </c:pt>
                <c:pt idx="14890">
                  <c:v>31918</c:v>
                </c:pt>
                <c:pt idx="14891">
                  <c:v>31919</c:v>
                </c:pt>
                <c:pt idx="14892">
                  <c:v>31923</c:v>
                </c:pt>
                <c:pt idx="14893">
                  <c:v>31924</c:v>
                </c:pt>
                <c:pt idx="14894">
                  <c:v>31925</c:v>
                </c:pt>
                <c:pt idx="14895">
                  <c:v>31926</c:v>
                </c:pt>
                <c:pt idx="14896">
                  <c:v>31929</c:v>
                </c:pt>
                <c:pt idx="14897">
                  <c:v>31930</c:v>
                </c:pt>
                <c:pt idx="14898">
                  <c:v>31931</c:v>
                </c:pt>
                <c:pt idx="14899">
                  <c:v>31932</c:v>
                </c:pt>
                <c:pt idx="14900">
                  <c:v>31933</c:v>
                </c:pt>
                <c:pt idx="14901">
                  <c:v>31936</c:v>
                </c:pt>
                <c:pt idx="14902">
                  <c:v>31937</c:v>
                </c:pt>
                <c:pt idx="14903">
                  <c:v>31938</c:v>
                </c:pt>
                <c:pt idx="14904">
                  <c:v>31939</c:v>
                </c:pt>
                <c:pt idx="14905">
                  <c:v>31940</c:v>
                </c:pt>
                <c:pt idx="14906">
                  <c:v>31943</c:v>
                </c:pt>
                <c:pt idx="14907">
                  <c:v>31944</c:v>
                </c:pt>
                <c:pt idx="14908">
                  <c:v>31945</c:v>
                </c:pt>
                <c:pt idx="14909">
                  <c:v>31946</c:v>
                </c:pt>
                <c:pt idx="14910">
                  <c:v>31947</c:v>
                </c:pt>
                <c:pt idx="14911">
                  <c:v>31950</c:v>
                </c:pt>
                <c:pt idx="14912">
                  <c:v>31951</c:v>
                </c:pt>
                <c:pt idx="14913">
                  <c:v>31952</c:v>
                </c:pt>
                <c:pt idx="14914">
                  <c:v>31953</c:v>
                </c:pt>
                <c:pt idx="14915">
                  <c:v>31954</c:v>
                </c:pt>
                <c:pt idx="14916">
                  <c:v>31957</c:v>
                </c:pt>
                <c:pt idx="14917">
                  <c:v>31958</c:v>
                </c:pt>
                <c:pt idx="14918">
                  <c:v>31959</c:v>
                </c:pt>
                <c:pt idx="14919">
                  <c:v>31960</c:v>
                </c:pt>
                <c:pt idx="14920">
                  <c:v>31964</c:v>
                </c:pt>
                <c:pt idx="14921">
                  <c:v>31965</c:v>
                </c:pt>
                <c:pt idx="14922">
                  <c:v>31966</c:v>
                </c:pt>
                <c:pt idx="14923">
                  <c:v>31967</c:v>
                </c:pt>
                <c:pt idx="14924">
                  <c:v>31968</c:v>
                </c:pt>
                <c:pt idx="14925">
                  <c:v>31971</c:v>
                </c:pt>
                <c:pt idx="14926">
                  <c:v>31972</c:v>
                </c:pt>
                <c:pt idx="14927">
                  <c:v>31973</c:v>
                </c:pt>
                <c:pt idx="14928">
                  <c:v>31974</c:v>
                </c:pt>
                <c:pt idx="14929">
                  <c:v>31975</c:v>
                </c:pt>
                <c:pt idx="14930">
                  <c:v>31978</c:v>
                </c:pt>
                <c:pt idx="14931">
                  <c:v>31979</c:v>
                </c:pt>
                <c:pt idx="14932">
                  <c:v>31980</c:v>
                </c:pt>
                <c:pt idx="14933">
                  <c:v>31981</c:v>
                </c:pt>
                <c:pt idx="14934">
                  <c:v>31982</c:v>
                </c:pt>
                <c:pt idx="14935">
                  <c:v>31985</c:v>
                </c:pt>
                <c:pt idx="14936">
                  <c:v>31986</c:v>
                </c:pt>
                <c:pt idx="14937">
                  <c:v>31987</c:v>
                </c:pt>
                <c:pt idx="14938">
                  <c:v>31988</c:v>
                </c:pt>
                <c:pt idx="14939">
                  <c:v>31989</c:v>
                </c:pt>
                <c:pt idx="14940">
                  <c:v>31992</c:v>
                </c:pt>
                <c:pt idx="14941">
                  <c:v>31993</c:v>
                </c:pt>
                <c:pt idx="14942">
                  <c:v>31994</c:v>
                </c:pt>
                <c:pt idx="14943">
                  <c:v>31995</c:v>
                </c:pt>
                <c:pt idx="14944">
                  <c:v>31996</c:v>
                </c:pt>
                <c:pt idx="14945">
                  <c:v>31999</c:v>
                </c:pt>
                <c:pt idx="14946">
                  <c:v>32000</c:v>
                </c:pt>
                <c:pt idx="14947">
                  <c:v>32001</c:v>
                </c:pt>
                <c:pt idx="14948">
                  <c:v>32002</c:v>
                </c:pt>
                <c:pt idx="14949">
                  <c:v>32003</c:v>
                </c:pt>
                <c:pt idx="14950">
                  <c:v>32006</c:v>
                </c:pt>
                <c:pt idx="14951">
                  <c:v>32007</c:v>
                </c:pt>
                <c:pt idx="14952">
                  <c:v>32008</c:v>
                </c:pt>
                <c:pt idx="14953">
                  <c:v>32009</c:v>
                </c:pt>
                <c:pt idx="14954">
                  <c:v>32010</c:v>
                </c:pt>
                <c:pt idx="14955">
                  <c:v>32013</c:v>
                </c:pt>
                <c:pt idx="14956">
                  <c:v>32014</c:v>
                </c:pt>
                <c:pt idx="14957">
                  <c:v>32015</c:v>
                </c:pt>
                <c:pt idx="14958">
                  <c:v>32016</c:v>
                </c:pt>
                <c:pt idx="14959">
                  <c:v>32017</c:v>
                </c:pt>
                <c:pt idx="14960">
                  <c:v>32020</c:v>
                </c:pt>
                <c:pt idx="14961">
                  <c:v>32021</c:v>
                </c:pt>
                <c:pt idx="14962">
                  <c:v>32022</c:v>
                </c:pt>
                <c:pt idx="14963">
                  <c:v>32023</c:v>
                </c:pt>
                <c:pt idx="14964">
                  <c:v>32024</c:v>
                </c:pt>
                <c:pt idx="14965">
                  <c:v>32028</c:v>
                </c:pt>
                <c:pt idx="14966">
                  <c:v>32029</c:v>
                </c:pt>
                <c:pt idx="14967">
                  <c:v>32030</c:v>
                </c:pt>
                <c:pt idx="14968">
                  <c:v>32031</c:v>
                </c:pt>
                <c:pt idx="14969">
                  <c:v>32034</c:v>
                </c:pt>
                <c:pt idx="14970">
                  <c:v>32035</c:v>
                </c:pt>
                <c:pt idx="14971">
                  <c:v>32036</c:v>
                </c:pt>
                <c:pt idx="14972">
                  <c:v>32037</c:v>
                </c:pt>
                <c:pt idx="14973">
                  <c:v>32038</c:v>
                </c:pt>
                <c:pt idx="14974">
                  <c:v>32041</c:v>
                </c:pt>
                <c:pt idx="14975">
                  <c:v>32042</c:v>
                </c:pt>
                <c:pt idx="14976">
                  <c:v>32043</c:v>
                </c:pt>
                <c:pt idx="14977">
                  <c:v>32044</c:v>
                </c:pt>
                <c:pt idx="14978">
                  <c:v>32045</c:v>
                </c:pt>
                <c:pt idx="14979">
                  <c:v>32048</c:v>
                </c:pt>
                <c:pt idx="14980">
                  <c:v>32049</c:v>
                </c:pt>
                <c:pt idx="14981">
                  <c:v>32050</c:v>
                </c:pt>
                <c:pt idx="14982">
                  <c:v>32051</c:v>
                </c:pt>
                <c:pt idx="14983">
                  <c:v>32052</c:v>
                </c:pt>
                <c:pt idx="14984">
                  <c:v>32055</c:v>
                </c:pt>
                <c:pt idx="14985">
                  <c:v>32056</c:v>
                </c:pt>
                <c:pt idx="14986">
                  <c:v>32057</c:v>
                </c:pt>
                <c:pt idx="14987">
                  <c:v>32058</c:v>
                </c:pt>
                <c:pt idx="14988">
                  <c:v>32059</c:v>
                </c:pt>
                <c:pt idx="14989">
                  <c:v>32062</c:v>
                </c:pt>
                <c:pt idx="14990">
                  <c:v>32063</c:v>
                </c:pt>
                <c:pt idx="14991">
                  <c:v>32064</c:v>
                </c:pt>
                <c:pt idx="14992">
                  <c:v>32065</c:v>
                </c:pt>
                <c:pt idx="14993">
                  <c:v>32066</c:v>
                </c:pt>
                <c:pt idx="14994">
                  <c:v>32069</c:v>
                </c:pt>
                <c:pt idx="14995">
                  <c:v>32070</c:v>
                </c:pt>
                <c:pt idx="14996">
                  <c:v>32071</c:v>
                </c:pt>
                <c:pt idx="14997">
                  <c:v>32072</c:v>
                </c:pt>
                <c:pt idx="14998">
                  <c:v>32073</c:v>
                </c:pt>
                <c:pt idx="14999">
                  <c:v>32076</c:v>
                </c:pt>
                <c:pt idx="15000">
                  <c:v>32077</c:v>
                </c:pt>
                <c:pt idx="15001">
                  <c:v>32078</c:v>
                </c:pt>
                <c:pt idx="15002">
                  <c:v>32079</c:v>
                </c:pt>
                <c:pt idx="15003">
                  <c:v>32080</c:v>
                </c:pt>
                <c:pt idx="15004">
                  <c:v>32083</c:v>
                </c:pt>
                <c:pt idx="15005">
                  <c:v>32084</c:v>
                </c:pt>
                <c:pt idx="15006">
                  <c:v>32085</c:v>
                </c:pt>
                <c:pt idx="15007">
                  <c:v>32086</c:v>
                </c:pt>
                <c:pt idx="15008">
                  <c:v>32087</c:v>
                </c:pt>
                <c:pt idx="15009">
                  <c:v>32090</c:v>
                </c:pt>
                <c:pt idx="15010">
                  <c:v>32091</c:v>
                </c:pt>
                <c:pt idx="15011">
                  <c:v>32092</c:v>
                </c:pt>
                <c:pt idx="15012">
                  <c:v>32093</c:v>
                </c:pt>
                <c:pt idx="15013">
                  <c:v>32094</c:v>
                </c:pt>
                <c:pt idx="15014">
                  <c:v>32097</c:v>
                </c:pt>
                <c:pt idx="15015">
                  <c:v>32098</c:v>
                </c:pt>
                <c:pt idx="15016">
                  <c:v>32099</c:v>
                </c:pt>
                <c:pt idx="15017">
                  <c:v>32100</c:v>
                </c:pt>
                <c:pt idx="15018">
                  <c:v>32101</c:v>
                </c:pt>
                <c:pt idx="15019">
                  <c:v>32104</c:v>
                </c:pt>
                <c:pt idx="15020">
                  <c:v>32105</c:v>
                </c:pt>
                <c:pt idx="15021">
                  <c:v>32106</c:v>
                </c:pt>
                <c:pt idx="15022">
                  <c:v>32108</c:v>
                </c:pt>
                <c:pt idx="15023">
                  <c:v>32111</c:v>
                </c:pt>
                <c:pt idx="15024">
                  <c:v>32112</c:v>
                </c:pt>
                <c:pt idx="15025">
                  <c:v>32113</c:v>
                </c:pt>
                <c:pt idx="15026">
                  <c:v>32114</c:v>
                </c:pt>
                <c:pt idx="15027">
                  <c:v>32115</c:v>
                </c:pt>
                <c:pt idx="15028">
                  <c:v>32118</c:v>
                </c:pt>
                <c:pt idx="15029">
                  <c:v>32119</c:v>
                </c:pt>
                <c:pt idx="15030">
                  <c:v>32120</c:v>
                </c:pt>
                <c:pt idx="15031">
                  <c:v>32121</c:v>
                </c:pt>
                <c:pt idx="15032">
                  <c:v>32122</c:v>
                </c:pt>
                <c:pt idx="15033">
                  <c:v>32125</c:v>
                </c:pt>
                <c:pt idx="15034">
                  <c:v>32126</c:v>
                </c:pt>
                <c:pt idx="15035">
                  <c:v>32127</c:v>
                </c:pt>
                <c:pt idx="15036">
                  <c:v>32128</c:v>
                </c:pt>
                <c:pt idx="15037">
                  <c:v>32129</c:v>
                </c:pt>
                <c:pt idx="15038">
                  <c:v>32132</c:v>
                </c:pt>
                <c:pt idx="15039">
                  <c:v>32133</c:v>
                </c:pt>
                <c:pt idx="15040">
                  <c:v>32134</c:v>
                </c:pt>
                <c:pt idx="15041">
                  <c:v>32135</c:v>
                </c:pt>
                <c:pt idx="15042">
                  <c:v>32139</c:v>
                </c:pt>
                <c:pt idx="15043">
                  <c:v>32140</c:v>
                </c:pt>
                <c:pt idx="15044">
                  <c:v>32141</c:v>
                </c:pt>
                <c:pt idx="15045">
                  <c:v>32142</c:v>
                </c:pt>
                <c:pt idx="15046">
                  <c:v>32146</c:v>
                </c:pt>
                <c:pt idx="15047">
                  <c:v>32147</c:v>
                </c:pt>
                <c:pt idx="15048">
                  <c:v>32148</c:v>
                </c:pt>
                <c:pt idx="15049">
                  <c:v>32149</c:v>
                </c:pt>
                <c:pt idx="15050">
                  <c:v>32150</c:v>
                </c:pt>
                <c:pt idx="15051">
                  <c:v>32153</c:v>
                </c:pt>
                <c:pt idx="15052">
                  <c:v>32154</c:v>
                </c:pt>
                <c:pt idx="15053">
                  <c:v>32155</c:v>
                </c:pt>
                <c:pt idx="15054">
                  <c:v>32156</c:v>
                </c:pt>
                <c:pt idx="15055">
                  <c:v>32157</c:v>
                </c:pt>
                <c:pt idx="15056">
                  <c:v>32160</c:v>
                </c:pt>
                <c:pt idx="15057">
                  <c:v>32161</c:v>
                </c:pt>
                <c:pt idx="15058">
                  <c:v>32162</c:v>
                </c:pt>
                <c:pt idx="15059">
                  <c:v>32163</c:v>
                </c:pt>
                <c:pt idx="15060">
                  <c:v>32164</c:v>
                </c:pt>
                <c:pt idx="15061">
                  <c:v>32167</c:v>
                </c:pt>
                <c:pt idx="15062">
                  <c:v>32168</c:v>
                </c:pt>
                <c:pt idx="15063">
                  <c:v>32169</c:v>
                </c:pt>
                <c:pt idx="15064">
                  <c:v>32170</c:v>
                </c:pt>
                <c:pt idx="15065">
                  <c:v>32171</c:v>
                </c:pt>
                <c:pt idx="15066">
                  <c:v>32174</c:v>
                </c:pt>
                <c:pt idx="15067">
                  <c:v>32175</c:v>
                </c:pt>
                <c:pt idx="15068">
                  <c:v>32176</c:v>
                </c:pt>
                <c:pt idx="15069">
                  <c:v>32177</c:v>
                </c:pt>
                <c:pt idx="15070">
                  <c:v>32178</c:v>
                </c:pt>
                <c:pt idx="15071">
                  <c:v>32181</c:v>
                </c:pt>
                <c:pt idx="15072">
                  <c:v>32182</c:v>
                </c:pt>
                <c:pt idx="15073">
                  <c:v>32183</c:v>
                </c:pt>
                <c:pt idx="15074">
                  <c:v>32184</c:v>
                </c:pt>
                <c:pt idx="15075">
                  <c:v>32185</c:v>
                </c:pt>
                <c:pt idx="15076">
                  <c:v>32189</c:v>
                </c:pt>
                <c:pt idx="15077">
                  <c:v>32190</c:v>
                </c:pt>
                <c:pt idx="15078">
                  <c:v>32191</c:v>
                </c:pt>
                <c:pt idx="15079">
                  <c:v>32192</c:v>
                </c:pt>
                <c:pt idx="15080">
                  <c:v>32195</c:v>
                </c:pt>
                <c:pt idx="15081">
                  <c:v>32196</c:v>
                </c:pt>
                <c:pt idx="15082">
                  <c:v>32197</c:v>
                </c:pt>
                <c:pt idx="15083">
                  <c:v>32198</c:v>
                </c:pt>
                <c:pt idx="15084">
                  <c:v>32199</c:v>
                </c:pt>
                <c:pt idx="15085">
                  <c:v>32202</c:v>
                </c:pt>
                <c:pt idx="15086">
                  <c:v>32203</c:v>
                </c:pt>
                <c:pt idx="15087">
                  <c:v>32204</c:v>
                </c:pt>
                <c:pt idx="15088">
                  <c:v>32205</c:v>
                </c:pt>
                <c:pt idx="15089">
                  <c:v>32206</c:v>
                </c:pt>
                <c:pt idx="15090">
                  <c:v>32209</c:v>
                </c:pt>
                <c:pt idx="15091">
                  <c:v>32210</c:v>
                </c:pt>
                <c:pt idx="15092">
                  <c:v>32211</c:v>
                </c:pt>
                <c:pt idx="15093">
                  <c:v>32212</c:v>
                </c:pt>
                <c:pt idx="15094">
                  <c:v>32213</c:v>
                </c:pt>
                <c:pt idx="15095">
                  <c:v>32216</c:v>
                </c:pt>
                <c:pt idx="15096">
                  <c:v>32217</c:v>
                </c:pt>
                <c:pt idx="15097">
                  <c:v>32218</c:v>
                </c:pt>
                <c:pt idx="15098">
                  <c:v>32219</c:v>
                </c:pt>
                <c:pt idx="15099">
                  <c:v>32220</c:v>
                </c:pt>
                <c:pt idx="15100">
                  <c:v>32223</c:v>
                </c:pt>
                <c:pt idx="15101">
                  <c:v>32224</c:v>
                </c:pt>
                <c:pt idx="15102">
                  <c:v>32225</c:v>
                </c:pt>
                <c:pt idx="15103">
                  <c:v>32226</c:v>
                </c:pt>
                <c:pt idx="15104">
                  <c:v>32227</c:v>
                </c:pt>
                <c:pt idx="15105">
                  <c:v>32230</c:v>
                </c:pt>
                <c:pt idx="15106">
                  <c:v>32231</c:v>
                </c:pt>
                <c:pt idx="15107">
                  <c:v>32232</c:v>
                </c:pt>
                <c:pt idx="15108">
                  <c:v>32233</c:v>
                </c:pt>
                <c:pt idx="15109">
                  <c:v>32237</c:v>
                </c:pt>
                <c:pt idx="15110">
                  <c:v>32238</c:v>
                </c:pt>
                <c:pt idx="15111">
                  <c:v>32239</c:v>
                </c:pt>
                <c:pt idx="15112">
                  <c:v>32240</c:v>
                </c:pt>
                <c:pt idx="15113">
                  <c:v>32241</c:v>
                </c:pt>
                <c:pt idx="15114">
                  <c:v>32244</c:v>
                </c:pt>
                <c:pt idx="15115">
                  <c:v>32245</c:v>
                </c:pt>
                <c:pt idx="15116">
                  <c:v>32246</c:v>
                </c:pt>
                <c:pt idx="15117">
                  <c:v>32247</c:v>
                </c:pt>
                <c:pt idx="15118">
                  <c:v>32248</c:v>
                </c:pt>
                <c:pt idx="15119">
                  <c:v>32251</c:v>
                </c:pt>
                <c:pt idx="15120">
                  <c:v>32252</c:v>
                </c:pt>
                <c:pt idx="15121">
                  <c:v>32253</c:v>
                </c:pt>
                <c:pt idx="15122">
                  <c:v>32254</c:v>
                </c:pt>
                <c:pt idx="15123">
                  <c:v>32255</c:v>
                </c:pt>
                <c:pt idx="15124">
                  <c:v>32258</c:v>
                </c:pt>
                <c:pt idx="15125">
                  <c:v>32259</c:v>
                </c:pt>
                <c:pt idx="15126">
                  <c:v>32260</c:v>
                </c:pt>
                <c:pt idx="15127">
                  <c:v>32261</c:v>
                </c:pt>
                <c:pt idx="15128">
                  <c:v>32262</c:v>
                </c:pt>
                <c:pt idx="15129">
                  <c:v>32265</c:v>
                </c:pt>
                <c:pt idx="15130">
                  <c:v>32266</c:v>
                </c:pt>
                <c:pt idx="15131">
                  <c:v>32267</c:v>
                </c:pt>
                <c:pt idx="15132">
                  <c:v>32268</c:v>
                </c:pt>
                <c:pt idx="15133">
                  <c:v>32269</c:v>
                </c:pt>
                <c:pt idx="15134">
                  <c:v>32272</c:v>
                </c:pt>
                <c:pt idx="15135">
                  <c:v>32273</c:v>
                </c:pt>
                <c:pt idx="15136">
                  <c:v>32274</c:v>
                </c:pt>
                <c:pt idx="15137">
                  <c:v>32275</c:v>
                </c:pt>
                <c:pt idx="15138">
                  <c:v>32276</c:v>
                </c:pt>
                <c:pt idx="15139">
                  <c:v>32279</c:v>
                </c:pt>
                <c:pt idx="15140">
                  <c:v>32280</c:v>
                </c:pt>
                <c:pt idx="15141">
                  <c:v>32281</c:v>
                </c:pt>
                <c:pt idx="15142">
                  <c:v>32282</c:v>
                </c:pt>
                <c:pt idx="15143">
                  <c:v>32283</c:v>
                </c:pt>
                <c:pt idx="15144">
                  <c:v>32286</c:v>
                </c:pt>
                <c:pt idx="15145">
                  <c:v>32287</c:v>
                </c:pt>
                <c:pt idx="15146">
                  <c:v>32288</c:v>
                </c:pt>
                <c:pt idx="15147">
                  <c:v>32289</c:v>
                </c:pt>
                <c:pt idx="15148">
                  <c:v>32290</c:v>
                </c:pt>
                <c:pt idx="15149">
                  <c:v>32294</c:v>
                </c:pt>
                <c:pt idx="15150">
                  <c:v>32295</c:v>
                </c:pt>
                <c:pt idx="15151">
                  <c:v>32296</c:v>
                </c:pt>
                <c:pt idx="15152">
                  <c:v>32297</c:v>
                </c:pt>
                <c:pt idx="15153">
                  <c:v>32300</c:v>
                </c:pt>
                <c:pt idx="15154">
                  <c:v>32301</c:v>
                </c:pt>
                <c:pt idx="15155">
                  <c:v>32302</c:v>
                </c:pt>
                <c:pt idx="15156">
                  <c:v>32303</c:v>
                </c:pt>
                <c:pt idx="15157">
                  <c:v>32304</c:v>
                </c:pt>
                <c:pt idx="15158">
                  <c:v>32307</c:v>
                </c:pt>
                <c:pt idx="15159">
                  <c:v>32308</c:v>
                </c:pt>
                <c:pt idx="15160">
                  <c:v>32309</c:v>
                </c:pt>
                <c:pt idx="15161">
                  <c:v>32310</c:v>
                </c:pt>
                <c:pt idx="15162">
                  <c:v>32311</c:v>
                </c:pt>
                <c:pt idx="15163">
                  <c:v>32314</c:v>
                </c:pt>
                <c:pt idx="15164">
                  <c:v>32315</c:v>
                </c:pt>
                <c:pt idx="15165">
                  <c:v>32316</c:v>
                </c:pt>
                <c:pt idx="15166">
                  <c:v>32317</c:v>
                </c:pt>
                <c:pt idx="15167">
                  <c:v>32318</c:v>
                </c:pt>
                <c:pt idx="15168">
                  <c:v>32321</c:v>
                </c:pt>
                <c:pt idx="15169">
                  <c:v>32322</c:v>
                </c:pt>
                <c:pt idx="15170">
                  <c:v>32323</c:v>
                </c:pt>
                <c:pt idx="15171">
                  <c:v>32324</c:v>
                </c:pt>
                <c:pt idx="15172">
                  <c:v>32325</c:v>
                </c:pt>
                <c:pt idx="15173">
                  <c:v>32329</c:v>
                </c:pt>
                <c:pt idx="15174">
                  <c:v>32330</c:v>
                </c:pt>
                <c:pt idx="15175">
                  <c:v>32331</c:v>
                </c:pt>
                <c:pt idx="15176">
                  <c:v>32332</c:v>
                </c:pt>
                <c:pt idx="15177">
                  <c:v>32335</c:v>
                </c:pt>
                <c:pt idx="15178">
                  <c:v>32336</c:v>
                </c:pt>
                <c:pt idx="15179">
                  <c:v>32337</c:v>
                </c:pt>
                <c:pt idx="15180">
                  <c:v>32338</c:v>
                </c:pt>
                <c:pt idx="15181">
                  <c:v>32339</c:v>
                </c:pt>
                <c:pt idx="15182">
                  <c:v>32342</c:v>
                </c:pt>
                <c:pt idx="15183">
                  <c:v>32343</c:v>
                </c:pt>
                <c:pt idx="15184">
                  <c:v>32344</c:v>
                </c:pt>
                <c:pt idx="15185">
                  <c:v>32345</c:v>
                </c:pt>
                <c:pt idx="15186">
                  <c:v>32346</c:v>
                </c:pt>
                <c:pt idx="15187">
                  <c:v>32349</c:v>
                </c:pt>
                <c:pt idx="15188">
                  <c:v>32350</c:v>
                </c:pt>
                <c:pt idx="15189">
                  <c:v>32351</c:v>
                </c:pt>
                <c:pt idx="15190">
                  <c:v>32352</c:v>
                </c:pt>
                <c:pt idx="15191">
                  <c:v>32353</c:v>
                </c:pt>
                <c:pt idx="15192">
                  <c:v>32356</c:v>
                </c:pt>
                <c:pt idx="15193">
                  <c:v>32357</c:v>
                </c:pt>
                <c:pt idx="15194">
                  <c:v>32358</c:v>
                </c:pt>
                <c:pt idx="15195">
                  <c:v>32359</c:v>
                </c:pt>
                <c:pt idx="15196">
                  <c:v>32360</c:v>
                </c:pt>
                <c:pt idx="15197">
                  <c:v>32363</c:v>
                </c:pt>
                <c:pt idx="15198">
                  <c:v>32364</c:v>
                </c:pt>
                <c:pt idx="15199">
                  <c:v>32365</c:v>
                </c:pt>
                <c:pt idx="15200">
                  <c:v>32366</c:v>
                </c:pt>
                <c:pt idx="15201">
                  <c:v>32367</c:v>
                </c:pt>
                <c:pt idx="15202">
                  <c:v>32370</c:v>
                </c:pt>
                <c:pt idx="15203">
                  <c:v>32371</c:v>
                </c:pt>
                <c:pt idx="15204">
                  <c:v>32372</c:v>
                </c:pt>
                <c:pt idx="15205">
                  <c:v>32373</c:v>
                </c:pt>
                <c:pt idx="15206">
                  <c:v>32374</c:v>
                </c:pt>
                <c:pt idx="15207">
                  <c:v>32377</c:v>
                </c:pt>
                <c:pt idx="15208">
                  <c:v>32378</c:v>
                </c:pt>
                <c:pt idx="15209">
                  <c:v>32379</c:v>
                </c:pt>
                <c:pt idx="15210">
                  <c:v>32380</c:v>
                </c:pt>
                <c:pt idx="15211">
                  <c:v>32381</c:v>
                </c:pt>
                <c:pt idx="15212">
                  <c:v>32384</c:v>
                </c:pt>
                <c:pt idx="15213">
                  <c:v>32385</c:v>
                </c:pt>
                <c:pt idx="15214">
                  <c:v>32386</c:v>
                </c:pt>
                <c:pt idx="15215">
                  <c:v>32387</c:v>
                </c:pt>
                <c:pt idx="15216">
                  <c:v>32388</c:v>
                </c:pt>
                <c:pt idx="15217">
                  <c:v>32392</c:v>
                </c:pt>
                <c:pt idx="15218">
                  <c:v>32393</c:v>
                </c:pt>
                <c:pt idx="15219">
                  <c:v>32394</c:v>
                </c:pt>
                <c:pt idx="15220">
                  <c:v>32395</c:v>
                </c:pt>
                <c:pt idx="15221">
                  <c:v>32398</c:v>
                </c:pt>
                <c:pt idx="15222">
                  <c:v>32399</c:v>
                </c:pt>
                <c:pt idx="15223">
                  <c:v>32400</c:v>
                </c:pt>
                <c:pt idx="15224">
                  <c:v>32401</c:v>
                </c:pt>
                <c:pt idx="15225">
                  <c:v>32402</c:v>
                </c:pt>
                <c:pt idx="15226">
                  <c:v>32405</c:v>
                </c:pt>
                <c:pt idx="15227">
                  <c:v>32406</c:v>
                </c:pt>
                <c:pt idx="15228">
                  <c:v>32407</c:v>
                </c:pt>
                <c:pt idx="15229">
                  <c:v>32408</c:v>
                </c:pt>
                <c:pt idx="15230">
                  <c:v>32409</c:v>
                </c:pt>
                <c:pt idx="15231">
                  <c:v>32412</c:v>
                </c:pt>
                <c:pt idx="15232">
                  <c:v>32413</c:v>
                </c:pt>
                <c:pt idx="15233">
                  <c:v>32414</c:v>
                </c:pt>
                <c:pt idx="15234">
                  <c:v>32415</c:v>
                </c:pt>
                <c:pt idx="15235">
                  <c:v>32416</c:v>
                </c:pt>
                <c:pt idx="15236">
                  <c:v>32419</c:v>
                </c:pt>
                <c:pt idx="15237">
                  <c:v>32420</c:v>
                </c:pt>
                <c:pt idx="15238">
                  <c:v>32421</c:v>
                </c:pt>
                <c:pt idx="15239">
                  <c:v>32422</c:v>
                </c:pt>
                <c:pt idx="15240">
                  <c:v>32423</c:v>
                </c:pt>
                <c:pt idx="15241">
                  <c:v>32426</c:v>
                </c:pt>
                <c:pt idx="15242">
                  <c:v>32427</c:v>
                </c:pt>
                <c:pt idx="15243">
                  <c:v>32428</c:v>
                </c:pt>
                <c:pt idx="15244">
                  <c:v>32429</c:v>
                </c:pt>
                <c:pt idx="15245">
                  <c:v>32430</c:v>
                </c:pt>
                <c:pt idx="15246">
                  <c:v>32433</c:v>
                </c:pt>
                <c:pt idx="15247">
                  <c:v>32434</c:v>
                </c:pt>
                <c:pt idx="15248">
                  <c:v>32435</c:v>
                </c:pt>
                <c:pt idx="15249">
                  <c:v>32436</c:v>
                </c:pt>
                <c:pt idx="15250">
                  <c:v>32437</c:v>
                </c:pt>
                <c:pt idx="15251">
                  <c:v>32440</c:v>
                </c:pt>
                <c:pt idx="15252">
                  <c:v>32441</c:v>
                </c:pt>
                <c:pt idx="15253">
                  <c:v>32442</c:v>
                </c:pt>
                <c:pt idx="15254">
                  <c:v>32443</c:v>
                </c:pt>
                <c:pt idx="15255">
                  <c:v>32444</c:v>
                </c:pt>
                <c:pt idx="15256">
                  <c:v>32447</c:v>
                </c:pt>
                <c:pt idx="15257">
                  <c:v>32448</c:v>
                </c:pt>
                <c:pt idx="15258">
                  <c:v>32449</c:v>
                </c:pt>
                <c:pt idx="15259">
                  <c:v>32450</c:v>
                </c:pt>
                <c:pt idx="15260">
                  <c:v>32451</c:v>
                </c:pt>
                <c:pt idx="15261">
                  <c:v>32454</c:v>
                </c:pt>
                <c:pt idx="15262">
                  <c:v>32455</c:v>
                </c:pt>
                <c:pt idx="15263">
                  <c:v>32456</c:v>
                </c:pt>
                <c:pt idx="15264">
                  <c:v>32457</c:v>
                </c:pt>
                <c:pt idx="15265">
                  <c:v>32458</c:v>
                </c:pt>
                <c:pt idx="15266">
                  <c:v>32461</c:v>
                </c:pt>
                <c:pt idx="15267">
                  <c:v>32462</c:v>
                </c:pt>
                <c:pt idx="15268">
                  <c:v>32463</c:v>
                </c:pt>
                <c:pt idx="15269">
                  <c:v>32464</c:v>
                </c:pt>
                <c:pt idx="15270">
                  <c:v>32465</c:v>
                </c:pt>
                <c:pt idx="15271">
                  <c:v>32468</c:v>
                </c:pt>
                <c:pt idx="15272">
                  <c:v>32469</c:v>
                </c:pt>
                <c:pt idx="15273">
                  <c:v>32470</c:v>
                </c:pt>
                <c:pt idx="15274">
                  <c:v>32472</c:v>
                </c:pt>
                <c:pt idx="15275">
                  <c:v>32475</c:v>
                </c:pt>
                <c:pt idx="15276">
                  <c:v>32476</c:v>
                </c:pt>
                <c:pt idx="15277">
                  <c:v>32477</c:v>
                </c:pt>
                <c:pt idx="15278">
                  <c:v>32478</c:v>
                </c:pt>
                <c:pt idx="15279">
                  <c:v>32479</c:v>
                </c:pt>
                <c:pt idx="15280">
                  <c:v>32482</c:v>
                </c:pt>
                <c:pt idx="15281">
                  <c:v>32483</c:v>
                </c:pt>
                <c:pt idx="15282">
                  <c:v>32484</c:v>
                </c:pt>
                <c:pt idx="15283">
                  <c:v>32485</c:v>
                </c:pt>
                <c:pt idx="15284">
                  <c:v>32486</c:v>
                </c:pt>
                <c:pt idx="15285">
                  <c:v>32489</c:v>
                </c:pt>
                <c:pt idx="15286">
                  <c:v>32490</c:v>
                </c:pt>
                <c:pt idx="15287">
                  <c:v>32491</c:v>
                </c:pt>
                <c:pt idx="15288">
                  <c:v>32492</c:v>
                </c:pt>
                <c:pt idx="15289">
                  <c:v>32493</c:v>
                </c:pt>
                <c:pt idx="15290">
                  <c:v>32496</c:v>
                </c:pt>
                <c:pt idx="15291">
                  <c:v>32497</c:v>
                </c:pt>
                <c:pt idx="15292">
                  <c:v>32498</c:v>
                </c:pt>
                <c:pt idx="15293">
                  <c:v>32499</c:v>
                </c:pt>
                <c:pt idx="15294">
                  <c:v>32500</c:v>
                </c:pt>
                <c:pt idx="15295">
                  <c:v>32504</c:v>
                </c:pt>
                <c:pt idx="15296">
                  <c:v>32505</c:v>
                </c:pt>
                <c:pt idx="15297">
                  <c:v>32506</c:v>
                </c:pt>
                <c:pt idx="15298">
                  <c:v>32507</c:v>
                </c:pt>
                <c:pt idx="15299">
                  <c:v>32511</c:v>
                </c:pt>
                <c:pt idx="15300">
                  <c:v>32512</c:v>
                </c:pt>
                <c:pt idx="15301">
                  <c:v>32513</c:v>
                </c:pt>
                <c:pt idx="15302">
                  <c:v>32514</c:v>
                </c:pt>
                <c:pt idx="15303">
                  <c:v>32517</c:v>
                </c:pt>
                <c:pt idx="15304">
                  <c:v>32518</c:v>
                </c:pt>
                <c:pt idx="15305">
                  <c:v>32519</c:v>
                </c:pt>
                <c:pt idx="15306">
                  <c:v>32520</c:v>
                </c:pt>
                <c:pt idx="15307">
                  <c:v>32521</c:v>
                </c:pt>
                <c:pt idx="15308">
                  <c:v>32524</c:v>
                </c:pt>
                <c:pt idx="15309">
                  <c:v>32525</c:v>
                </c:pt>
                <c:pt idx="15310">
                  <c:v>32526</c:v>
                </c:pt>
                <c:pt idx="15311">
                  <c:v>32527</c:v>
                </c:pt>
                <c:pt idx="15312">
                  <c:v>32528</c:v>
                </c:pt>
                <c:pt idx="15313">
                  <c:v>32531</c:v>
                </c:pt>
                <c:pt idx="15314">
                  <c:v>32532</c:v>
                </c:pt>
                <c:pt idx="15315">
                  <c:v>32533</c:v>
                </c:pt>
                <c:pt idx="15316">
                  <c:v>32534</c:v>
                </c:pt>
                <c:pt idx="15317">
                  <c:v>32535</c:v>
                </c:pt>
                <c:pt idx="15318">
                  <c:v>32538</c:v>
                </c:pt>
                <c:pt idx="15319">
                  <c:v>32539</c:v>
                </c:pt>
                <c:pt idx="15320">
                  <c:v>32540</c:v>
                </c:pt>
                <c:pt idx="15321">
                  <c:v>32541</c:v>
                </c:pt>
                <c:pt idx="15322">
                  <c:v>32542</c:v>
                </c:pt>
                <c:pt idx="15323">
                  <c:v>32545</c:v>
                </c:pt>
                <c:pt idx="15324">
                  <c:v>32546</c:v>
                </c:pt>
                <c:pt idx="15325">
                  <c:v>32547</c:v>
                </c:pt>
                <c:pt idx="15326">
                  <c:v>32548</c:v>
                </c:pt>
                <c:pt idx="15327">
                  <c:v>32549</c:v>
                </c:pt>
                <c:pt idx="15328">
                  <c:v>32552</c:v>
                </c:pt>
                <c:pt idx="15329">
                  <c:v>32553</c:v>
                </c:pt>
                <c:pt idx="15330">
                  <c:v>32554</c:v>
                </c:pt>
                <c:pt idx="15331">
                  <c:v>32555</c:v>
                </c:pt>
                <c:pt idx="15332">
                  <c:v>32556</c:v>
                </c:pt>
                <c:pt idx="15333">
                  <c:v>32560</c:v>
                </c:pt>
                <c:pt idx="15334">
                  <c:v>32561</c:v>
                </c:pt>
                <c:pt idx="15335">
                  <c:v>32562</c:v>
                </c:pt>
                <c:pt idx="15336">
                  <c:v>32563</c:v>
                </c:pt>
                <c:pt idx="15337">
                  <c:v>32566</c:v>
                </c:pt>
                <c:pt idx="15338">
                  <c:v>32567</c:v>
                </c:pt>
                <c:pt idx="15339">
                  <c:v>32568</c:v>
                </c:pt>
                <c:pt idx="15340">
                  <c:v>32569</c:v>
                </c:pt>
                <c:pt idx="15341">
                  <c:v>32570</c:v>
                </c:pt>
                <c:pt idx="15342">
                  <c:v>32573</c:v>
                </c:pt>
                <c:pt idx="15343">
                  <c:v>32574</c:v>
                </c:pt>
                <c:pt idx="15344">
                  <c:v>32575</c:v>
                </c:pt>
                <c:pt idx="15345">
                  <c:v>32576</c:v>
                </c:pt>
                <c:pt idx="15346">
                  <c:v>32577</c:v>
                </c:pt>
                <c:pt idx="15347">
                  <c:v>32580</c:v>
                </c:pt>
                <c:pt idx="15348">
                  <c:v>32581</c:v>
                </c:pt>
                <c:pt idx="15349">
                  <c:v>32582</c:v>
                </c:pt>
                <c:pt idx="15350">
                  <c:v>32583</c:v>
                </c:pt>
                <c:pt idx="15351">
                  <c:v>32584</c:v>
                </c:pt>
                <c:pt idx="15352">
                  <c:v>32587</c:v>
                </c:pt>
                <c:pt idx="15353">
                  <c:v>32588</c:v>
                </c:pt>
                <c:pt idx="15354">
                  <c:v>32589</c:v>
                </c:pt>
                <c:pt idx="15355">
                  <c:v>32590</c:v>
                </c:pt>
                <c:pt idx="15356">
                  <c:v>32594</c:v>
                </c:pt>
                <c:pt idx="15357">
                  <c:v>32595</c:v>
                </c:pt>
                <c:pt idx="15358">
                  <c:v>32596</c:v>
                </c:pt>
                <c:pt idx="15359">
                  <c:v>32597</c:v>
                </c:pt>
                <c:pt idx="15360">
                  <c:v>32598</c:v>
                </c:pt>
                <c:pt idx="15361">
                  <c:v>32601</c:v>
                </c:pt>
                <c:pt idx="15362">
                  <c:v>32602</c:v>
                </c:pt>
                <c:pt idx="15363">
                  <c:v>32603</c:v>
                </c:pt>
                <c:pt idx="15364">
                  <c:v>32604</c:v>
                </c:pt>
                <c:pt idx="15365">
                  <c:v>32605</c:v>
                </c:pt>
                <c:pt idx="15366">
                  <c:v>32608</c:v>
                </c:pt>
                <c:pt idx="15367">
                  <c:v>32609</c:v>
                </c:pt>
                <c:pt idx="15368">
                  <c:v>32610</c:v>
                </c:pt>
                <c:pt idx="15369">
                  <c:v>32611</c:v>
                </c:pt>
                <c:pt idx="15370">
                  <c:v>32612</c:v>
                </c:pt>
                <c:pt idx="15371">
                  <c:v>32615</c:v>
                </c:pt>
                <c:pt idx="15372">
                  <c:v>32616</c:v>
                </c:pt>
                <c:pt idx="15373">
                  <c:v>32617</c:v>
                </c:pt>
                <c:pt idx="15374">
                  <c:v>32618</c:v>
                </c:pt>
                <c:pt idx="15375">
                  <c:v>32619</c:v>
                </c:pt>
                <c:pt idx="15376">
                  <c:v>32622</c:v>
                </c:pt>
                <c:pt idx="15377">
                  <c:v>32623</c:v>
                </c:pt>
                <c:pt idx="15378">
                  <c:v>32624</c:v>
                </c:pt>
                <c:pt idx="15379">
                  <c:v>32625</c:v>
                </c:pt>
                <c:pt idx="15380">
                  <c:v>32626</c:v>
                </c:pt>
                <c:pt idx="15381">
                  <c:v>32629</c:v>
                </c:pt>
                <c:pt idx="15382">
                  <c:v>32630</c:v>
                </c:pt>
                <c:pt idx="15383">
                  <c:v>32631</c:v>
                </c:pt>
                <c:pt idx="15384">
                  <c:v>32632</c:v>
                </c:pt>
                <c:pt idx="15385">
                  <c:v>32633</c:v>
                </c:pt>
                <c:pt idx="15386">
                  <c:v>32636</c:v>
                </c:pt>
                <c:pt idx="15387">
                  <c:v>32637</c:v>
                </c:pt>
                <c:pt idx="15388">
                  <c:v>32638</c:v>
                </c:pt>
                <c:pt idx="15389">
                  <c:v>32639</c:v>
                </c:pt>
                <c:pt idx="15390">
                  <c:v>32640</c:v>
                </c:pt>
                <c:pt idx="15391">
                  <c:v>32643</c:v>
                </c:pt>
                <c:pt idx="15392">
                  <c:v>32644</c:v>
                </c:pt>
                <c:pt idx="15393">
                  <c:v>32645</c:v>
                </c:pt>
                <c:pt idx="15394">
                  <c:v>32646</c:v>
                </c:pt>
                <c:pt idx="15395">
                  <c:v>32647</c:v>
                </c:pt>
                <c:pt idx="15396">
                  <c:v>32650</c:v>
                </c:pt>
                <c:pt idx="15397">
                  <c:v>32651</c:v>
                </c:pt>
                <c:pt idx="15398">
                  <c:v>32652</c:v>
                </c:pt>
                <c:pt idx="15399">
                  <c:v>32653</c:v>
                </c:pt>
                <c:pt idx="15400">
                  <c:v>32654</c:v>
                </c:pt>
                <c:pt idx="15401">
                  <c:v>32658</c:v>
                </c:pt>
                <c:pt idx="15402">
                  <c:v>32659</c:v>
                </c:pt>
                <c:pt idx="15403">
                  <c:v>32660</c:v>
                </c:pt>
                <c:pt idx="15404">
                  <c:v>32661</c:v>
                </c:pt>
                <c:pt idx="15405">
                  <c:v>32664</c:v>
                </c:pt>
                <c:pt idx="15406">
                  <c:v>32665</c:v>
                </c:pt>
                <c:pt idx="15407">
                  <c:v>32666</c:v>
                </c:pt>
                <c:pt idx="15408">
                  <c:v>32667</c:v>
                </c:pt>
                <c:pt idx="15409">
                  <c:v>32668</c:v>
                </c:pt>
                <c:pt idx="15410">
                  <c:v>32671</c:v>
                </c:pt>
                <c:pt idx="15411">
                  <c:v>32672</c:v>
                </c:pt>
                <c:pt idx="15412">
                  <c:v>32673</c:v>
                </c:pt>
                <c:pt idx="15413">
                  <c:v>32674</c:v>
                </c:pt>
                <c:pt idx="15414">
                  <c:v>32675</c:v>
                </c:pt>
                <c:pt idx="15415">
                  <c:v>32678</c:v>
                </c:pt>
                <c:pt idx="15416">
                  <c:v>32679</c:v>
                </c:pt>
                <c:pt idx="15417">
                  <c:v>32680</c:v>
                </c:pt>
                <c:pt idx="15418">
                  <c:v>32681</c:v>
                </c:pt>
                <c:pt idx="15419">
                  <c:v>32682</c:v>
                </c:pt>
                <c:pt idx="15420">
                  <c:v>32685</c:v>
                </c:pt>
                <c:pt idx="15421">
                  <c:v>32686</c:v>
                </c:pt>
                <c:pt idx="15422">
                  <c:v>32687</c:v>
                </c:pt>
                <c:pt idx="15423">
                  <c:v>32688</c:v>
                </c:pt>
                <c:pt idx="15424">
                  <c:v>32689</c:v>
                </c:pt>
                <c:pt idx="15425">
                  <c:v>32692</c:v>
                </c:pt>
                <c:pt idx="15426">
                  <c:v>32694</c:v>
                </c:pt>
                <c:pt idx="15427">
                  <c:v>32695</c:v>
                </c:pt>
                <c:pt idx="15428">
                  <c:v>32696</c:v>
                </c:pt>
                <c:pt idx="15429">
                  <c:v>32699</c:v>
                </c:pt>
                <c:pt idx="15430">
                  <c:v>32700</c:v>
                </c:pt>
                <c:pt idx="15431">
                  <c:v>32701</c:v>
                </c:pt>
                <c:pt idx="15432">
                  <c:v>32702</c:v>
                </c:pt>
                <c:pt idx="15433">
                  <c:v>32703</c:v>
                </c:pt>
                <c:pt idx="15434">
                  <c:v>32706</c:v>
                </c:pt>
                <c:pt idx="15435">
                  <c:v>32707</c:v>
                </c:pt>
                <c:pt idx="15436">
                  <c:v>32708</c:v>
                </c:pt>
                <c:pt idx="15437">
                  <c:v>32709</c:v>
                </c:pt>
                <c:pt idx="15438">
                  <c:v>32710</c:v>
                </c:pt>
                <c:pt idx="15439">
                  <c:v>32713</c:v>
                </c:pt>
                <c:pt idx="15440">
                  <c:v>32714</c:v>
                </c:pt>
                <c:pt idx="15441">
                  <c:v>32715</c:v>
                </c:pt>
                <c:pt idx="15442">
                  <c:v>32716</c:v>
                </c:pt>
                <c:pt idx="15443">
                  <c:v>32717</c:v>
                </c:pt>
                <c:pt idx="15444">
                  <c:v>32720</c:v>
                </c:pt>
                <c:pt idx="15445">
                  <c:v>32721</c:v>
                </c:pt>
                <c:pt idx="15446">
                  <c:v>32722</c:v>
                </c:pt>
                <c:pt idx="15447">
                  <c:v>32723</c:v>
                </c:pt>
                <c:pt idx="15448">
                  <c:v>32724</c:v>
                </c:pt>
                <c:pt idx="15449">
                  <c:v>32727</c:v>
                </c:pt>
                <c:pt idx="15450">
                  <c:v>32728</c:v>
                </c:pt>
                <c:pt idx="15451">
                  <c:v>32729</c:v>
                </c:pt>
                <c:pt idx="15452">
                  <c:v>32730</c:v>
                </c:pt>
                <c:pt idx="15453">
                  <c:v>32731</c:v>
                </c:pt>
                <c:pt idx="15454">
                  <c:v>32734</c:v>
                </c:pt>
                <c:pt idx="15455">
                  <c:v>32735</c:v>
                </c:pt>
                <c:pt idx="15456">
                  <c:v>32736</c:v>
                </c:pt>
                <c:pt idx="15457">
                  <c:v>32737</c:v>
                </c:pt>
                <c:pt idx="15458">
                  <c:v>32738</c:v>
                </c:pt>
                <c:pt idx="15459">
                  <c:v>32741</c:v>
                </c:pt>
                <c:pt idx="15460">
                  <c:v>32742</c:v>
                </c:pt>
                <c:pt idx="15461">
                  <c:v>32743</c:v>
                </c:pt>
                <c:pt idx="15462">
                  <c:v>32744</c:v>
                </c:pt>
                <c:pt idx="15463">
                  <c:v>32745</c:v>
                </c:pt>
                <c:pt idx="15464">
                  <c:v>32748</c:v>
                </c:pt>
                <c:pt idx="15465">
                  <c:v>32749</c:v>
                </c:pt>
                <c:pt idx="15466">
                  <c:v>32750</c:v>
                </c:pt>
                <c:pt idx="15467">
                  <c:v>32751</c:v>
                </c:pt>
                <c:pt idx="15468">
                  <c:v>32752</c:v>
                </c:pt>
                <c:pt idx="15469">
                  <c:v>32756</c:v>
                </c:pt>
                <c:pt idx="15470">
                  <c:v>32757</c:v>
                </c:pt>
                <c:pt idx="15471">
                  <c:v>32758</c:v>
                </c:pt>
                <c:pt idx="15472">
                  <c:v>32759</c:v>
                </c:pt>
                <c:pt idx="15473">
                  <c:v>32762</c:v>
                </c:pt>
                <c:pt idx="15474">
                  <c:v>32763</c:v>
                </c:pt>
                <c:pt idx="15475">
                  <c:v>32764</c:v>
                </c:pt>
                <c:pt idx="15476">
                  <c:v>32765</c:v>
                </c:pt>
                <c:pt idx="15477">
                  <c:v>32766</c:v>
                </c:pt>
                <c:pt idx="15478">
                  <c:v>32769</c:v>
                </c:pt>
                <c:pt idx="15479">
                  <c:v>32770</c:v>
                </c:pt>
                <c:pt idx="15480">
                  <c:v>32771</c:v>
                </c:pt>
                <c:pt idx="15481">
                  <c:v>32772</c:v>
                </c:pt>
                <c:pt idx="15482">
                  <c:v>32773</c:v>
                </c:pt>
                <c:pt idx="15483">
                  <c:v>32776</c:v>
                </c:pt>
                <c:pt idx="15484">
                  <c:v>32777</c:v>
                </c:pt>
                <c:pt idx="15485">
                  <c:v>32778</c:v>
                </c:pt>
                <c:pt idx="15486">
                  <c:v>32779</c:v>
                </c:pt>
                <c:pt idx="15487">
                  <c:v>32780</c:v>
                </c:pt>
                <c:pt idx="15488">
                  <c:v>32783</c:v>
                </c:pt>
                <c:pt idx="15489">
                  <c:v>32784</c:v>
                </c:pt>
                <c:pt idx="15490">
                  <c:v>32785</c:v>
                </c:pt>
                <c:pt idx="15491">
                  <c:v>32786</c:v>
                </c:pt>
                <c:pt idx="15492">
                  <c:v>32787</c:v>
                </c:pt>
                <c:pt idx="15493">
                  <c:v>32790</c:v>
                </c:pt>
                <c:pt idx="15494">
                  <c:v>32791</c:v>
                </c:pt>
                <c:pt idx="15495">
                  <c:v>32792</c:v>
                </c:pt>
                <c:pt idx="15496">
                  <c:v>32793</c:v>
                </c:pt>
                <c:pt idx="15497">
                  <c:v>32794</c:v>
                </c:pt>
                <c:pt idx="15498">
                  <c:v>32797</c:v>
                </c:pt>
                <c:pt idx="15499">
                  <c:v>32798</c:v>
                </c:pt>
                <c:pt idx="15500">
                  <c:v>32799</c:v>
                </c:pt>
                <c:pt idx="15501">
                  <c:v>32800</c:v>
                </c:pt>
                <c:pt idx="15502">
                  <c:v>32801</c:v>
                </c:pt>
                <c:pt idx="15503">
                  <c:v>32804</c:v>
                </c:pt>
                <c:pt idx="15504">
                  <c:v>32805</c:v>
                </c:pt>
                <c:pt idx="15505">
                  <c:v>32806</c:v>
                </c:pt>
                <c:pt idx="15506">
                  <c:v>32807</c:v>
                </c:pt>
                <c:pt idx="15507">
                  <c:v>32808</c:v>
                </c:pt>
                <c:pt idx="15508">
                  <c:v>32811</c:v>
                </c:pt>
                <c:pt idx="15509">
                  <c:v>32812</c:v>
                </c:pt>
                <c:pt idx="15510">
                  <c:v>32813</c:v>
                </c:pt>
                <c:pt idx="15511">
                  <c:v>32814</c:v>
                </c:pt>
                <c:pt idx="15512">
                  <c:v>32815</c:v>
                </c:pt>
                <c:pt idx="15513">
                  <c:v>32818</c:v>
                </c:pt>
                <c:pt idx="15514">
                  <c:v>32819</c:v>
                </c:pt>
                <c:pt idx="15515">
                  <c:v>32820</c:v>
                </c:pt>
                <c:pt idx="15516">
                  <c:v>32821</c:v>
                </c:pt>
                <c:pt idx="15517">
                  <c:v>32822</c:v>
                </c:pt>
                <c:pt idx="15518">
                  <c:v>32825</c:v>
                </c:pt>
                <c:pt idx="15519">
                  <c:v>32826</c:v>
                </c:pt>
                <c:pt idx="15520">
                  <c:v>32827</c:v>
                </c:pt>
                <c:pt idx="15521">
                  <c:v>32828</c:v>
                </c:pt>
                <c:pt idx="15522">
                  <c:v>32829</c:v>
                </c:pt>
                <c:pt idx="15523">
                  <c:v>32832</c:v>
                </c:pt>
                <c:pt idx="15524">
                  <c:v>32833</c:v>
                </c:pt>
                <c:pt idx="15525">
                  <c:v>32834</c:v>
                </c:pt>
                <c:pt idx="15526">
                  <c:v>32836</c:v>
                </c:pt>
                <c:pt idx="15527">
                  <c:v>32839</c:v>
                </c:pt>
                <c:pt idx="15528">
                  <c:v>32840</c:v>
                </c:pt>
                <c:pt idx="15529">
                  <c:v>32841</c:v>
                </c:pt>
                <c:pt idx="15530">
                  <c:v>32842</c:v>
                </c:pt>
                <c:pt idx="15531">
                  <c:v>32843</c:v>
                </c:pt>
                <c:pt idx="15532">
                  <c:v>32846</c:v>
                </c:pt>
                <c:pt idx="15533">
                  <c:v>32847</c:v>
                </c:pt>
                <c:pt idx="15534">
                  <c:v>32848</c:v>
                </c:pt>
                <c:pt idx="15535">
                  <c:v>32849</c:v>
                </c:pt>
                <c:pt idx="15536">
                  <c:v>32850</c:v>
                </c:pt>
                <c:pt idx="15537">
                  <c:v>32853</c:v>
                </c:pt>
                <c:pt idx="15538">
                  <c:v>32854</c:v>
                </c:pt>
                <c:pt idx="15539">
                  <c:v>32855</c:v>
                </c:pt>
                <c:pt idx="15540">
                  <c:v>32856</c:v>
                </c:pt>
                <c:pt idx="15541">
                  <c:v>32857</c:v>
                </c:pt>
                <c:pt idx="15542">
                  <c:v>32860</c:v>
                </c:pt>
                <c:pt idx="15543">
                  <c:v>32861</c:v>
                </c:pt>
                <c:pt idx="15544">
                  <c:v>32862</c:v>
                </c:pt>
                <c:pt idx="15545">
                  <c:v>32863</c:v>
                </c:pt>
                <c:pt idx="15546">
                  <c:v>32864</c:v>
                </c:pt>
                <c:pt idx="15547">
                  <c:v>32868</c:v>
                </c:pt>
                <c:pt idx="15548">
                  <c:v>32869</c:v>
                </c:pt>
                <c:pt idx="15549">
                  <c:v>32870</c:v>
                </c:pt>
                <c:pt idx="15550">
                  <c:v>32871</c:v>
                </c:pt>
                <c:pt idx="15551">
                  <c:v>32875</c:v>
                </c:pt>
                <c:pt idx="15552">
                  <c:v>32876</c:v>
                </c:pt>
                <c:pt idx="15553">
                  <c:v>32877</c:v>
                </c:pt>
                <c:pt idx="15554">
                  <c:v>32878</c:v>
                </c:pt>
                <c:pt idx="15555">
                  <c:v>32881</c:v>
                </c:pt>
                <c:pt idx="15556">
                  <c:v>32882</c:v>
                </c:pt>
                <c:pt idx="15557">
                  <c:v>32883</c:v>
                </c:pt>
                <c:pt idx="15558">
                  <c:v>32884</c:v>
                </c:pt>
                <c:pt idx="15559">
                  <c:v>32885</c:v>
                </c:pt>
                <c:pt idx="15560">
                  <c:v>32888</c:v>
                </c:pt>
                <c:pt idx="15561">
                  <c:v>32889</c:v>
                </c:pt>
                <c:pt idx="15562">
                  <c:v>32890</c:v>
                </c:pt>
                <c:pt idx="15563">
                  <c:v>32891</c:v>
                </c:pt>
                <c:pt idx="15564">
                  <c:v>32892</c:v>
                </c:pt>
                <c:pt idx="15565">
                  <c:v>32895</c:v>
                </c:pt>
                <c:pt idx="15566">
                  <c:v>32896</c:v>
                </c:pt>
                <c:pt idx="15567">
                  <c:v>32897</c:v>
                </c:pt>
                <c:pt idx="15568">
                  <c:v>32898</c:v>
                </c:pt>
                <c:pt idx="15569">
                  <c:v>32899</c:v>
                </c:pt>
                <c:pt idx="15570">
                  <c:v>32902</c:v>
                </c:pt>
                <c:pt idx="15571">
                  <c:v>32903</c:v>
                </c:pt>
                <c:pt idx="15572">
                  <c:v>32904</c:v>
                </c:pt>
                <c:pt idx="15573">
                  <c:v>32905</c:v>
                </c:pt>
                <c:pt idx="15574">
                  <c:v>32906</c:v>
                </c:pt>
                <c:pt idx="15575">
                  <c:v>32909</c:v>
                </c:pt>
                <c:pt idx="15576">
                  <c:v>32910</c:v>
                </c:pt>
                <c:pt idx="15577">
                  <c:v>32911</c:v>
                </c:pt>
                <c:pt idx="15578">
                  <c:v>32912</c:v>
                </c:pt>
                <c:pt idx="15579">
                  <c:v>32913</c:v>
                </c:pt>
                <c:pt idx="15580">
                  <c:v>32916</c:v>
                </c:pt>
                <c:pt idx="15581">
                  <c:v>32917</c:v>
                </c:pt>
                <c:pt idx="15582">
                  <c:v>32918</c:v>
                </c:pt>
                <c:pt idx="15583">
                  <c:v>32919</c:v>
                </c:pt>
                <c:pt idx="15584">
                  <c:v>32920</c:v>
                </c:pt>
                <c:pt idx="15585">
                  <c:v>32924</c:v>
                </c:pt>
                <c:pt idx="15586">
                  <c:v>32925</c:v>
                </c:pt>
                <c:pt idx="15587">
                  <c:v>32926</c:v>
                </c:pt>
                <c:pt idx="15588">
                  <c:v>32927</c:v>
                </c:pt>
                <c:pt idx="15589">
                  <c:v>32930</c:v>
                </c:pt>
                <c:pt idx="15590">
                  <c:v>32931</c:v>
                </c:pt>
                <c:pt idx="15591">
                  <c:v>32932</c:v>
                </c:pt>
                <c:pt idx="15592">
                  <c:v>32933</c:v>
                </c:pt>
                <c:pt idx="15593">
                  <c:v>32934</c:v>
                </c:pt>
                <c:pt idx="15594">
                  <c:v>32937</c:v>
                </c:pt>
                <c:pt idx="15595">
                  <c:v>32938</c:v>
                </c:pt>
                <c:pt idx="15596">
                  <c:v>32939</c:v>
                </c:pt>
                <c:pt idx="15597">
                  <c:v>32940</c:v>
                </c:pt>
                <c:pt idx="15598">
                  <c:v>32941</c:v>
                </c:pt>
                <c:pt idx="15599">
                  <c:v>32944</c:v>
                </c:pt>
                <c:pt idx="15600">
                  <c:v>32945</c:v>
                </c:pt>
                <c:pt idx="15601">
                  <c:v>32946</c:v>
                </c:pt>
                <c:pt idx="15602">
                  <c:v>32947</c:v>
                </c:pt>
                <c:pt idx="15603">
                  <c:v>32948</c:v>
                </c:pt>
                <c:pt idx="15604">
                  <c:v>32951</c:v>
                </c:pt>
                <c:pt idx="15605">
                  <c:v>32952</c:v>
                </c:pt>
                <c:pt idx="15606">
                  <c:v>32953</c:v>
                </c:pt>
                <c:pt idx="15607">
                  <c:v>32954</c:v>
                </c:pt>
                <c:pt idx="15608">
                  <c:v>32955</c:v>
                </c:pt>
                <c:pt idx="15609">
                  <c:v>32958</c:v>
                </c:pt>
                <c:pt idx="15610">
                  <c:v>32959</c:v>
                </c:pt>
                <c:pt idx="15611">
                  <c:v>32960</c:v>
                </c:pt>
                <c:pt idx="15612">
                  <c:v>32961</c:v>
                </c:pt>
                <c:pt idx="15613">
                  <c:v>32962</c:v>
                </c:pt>
                <c:pt idx="15614">
                  <c:v>32965</c:v>
                </c:pt>
                <c:pt idx="15615">
                  <c:v>32966</c:v>
                </c:pt>
                <c:pt idx="15616">
                  <c:v>32967</c:v>
                </c:pt>
                <c:pt idx="15617">
                  <c:v>32968</c:v>
                </c:pt>
                <c:pt idx="15618">
                  <c:v>32969</c:v>
                </c:pt>
                <c:pt idx="15619">
                  <c:v>32972</c:v>
                </c:pt>
                <c:pt idx="15620">
                  <c:v>32973</c:v>
                </c:pt>
                <c:pt idx="15621">
                  <c:v>32974</c:v>
                </c:pt>
                <c:pt idx="15622">
                  <c:v>32975</c:v>
                </c:pt>
                <c:pt idx="15623">
                  <c:v>32979</c:v>
                </c:pt>
                <c:pt idx="15624">
                  <c:v>32980</c:v>
                </c:pt>
                <c:pt idx="15625">
                  <c:v>32981</c:v>
                </c:pt>
                <c:pt idx="15626">
                  <c:v>32982</c:v>
                </c:pt>
                <c:pt idx="15627">
                  <c:v>32983</c:v>
                </c:pt>
                <c:pt idx="15628">
                  <c:v>32986</c:v>
                </c:pt>
                <c:pt idx="15629">
                  <c:v>32987</c:v>
                </c:pt>
                <c:pt idx="15630">
                  <c:v>32988</c:v>
                </c:pt>
                <c:pt idx="15631">
                  <c:v>32989</c:v>
                </c:pt>
                <c:pt idx="15632">
                  <c:v>32990</c:v>
                </c:pt>
                <c:pt idx="15633">
                  <c:v>32993</c:v>
                </c:pt>
                <c:pt idx="15634">
                  <c:v>32994</c:v>
                </c:pt>
                <c:pt idx="15635">
                  <c:v>32995</c:v>
                </c:pt>
                <c:pt idx="15636">
                  <c:v>32996</c:v>
                </c:pt>
                <c:pt idx="15637">
                  <c:v>32997</c:v>
                </c:pt>
                <c:pt idx="15638">
                  <c:v>33000</c:v>
                </c:pt>
                <c:pt idx="15639">
                  <c:v>33001</c:v>
                </c:pt>
                <c:pt idx="15640">
                  <c:v>33002</c:v>
                </c:pt>
                <c:pt idx="15641">
                  <c:v>33003</c:v>
                </c:pt>
                <c:pt idx="15642">
                  <c:v>33004</c:v>
                </c:pt>
                <c:pt idx="15643">
                  <c:v>33007</c:v>
                </c:pt>
                <c:pt idx="15644">
                  <c:v>33008</c:v>
                </c:pt>
                <c:pt idx="15645">
                  <c:v>33009</c:v>
                </c:pt>
                <c:pt idx="15646">
                  <c:v>33010</c:v>
                </c:pt>
                <c:pt idx="15647">
                  <c:v>33011</c:v>
                </c:pt>
                <c:pt idx="15648">
                  <c:v>33014</c:v>
                </c:pt>
                <c:pt idx="15649">
                  <c:v>33015</c:v>
                </c:pt>
                <c:pt idx="15650">
                  <c:v>33016</c:v>
                </c:pt>
                <c:pt idx="15651">
                  <c:v>33017</c:v>
                </c:pt>
                <c:pt idx="15652">
                  <c:v>33018</c:v>
                </c:pt>
                <c:pt idx="15653">
                  <c:v>33022</c:v>
                </c:pt>
                <c:pt idx="15654">
                  <c:v>33023</c:v>
                </c:pt>
                <c:pt idx="15655">
                  <c:v>33024</c:v>
                </c:pt>
                <c:pt idx="15656">
                  <c:v>33025</c:v>
                </c:pt>
                <c:pt idx="15657">
                  <c:v>33028</c:v>
                </c:pt>
                <c:pt idx="15658">
                  <c:v>33029</c:v>
                </c:pt>
                <c:pt idx="15659">
                  <c:v>33030</c:v>
                </c:pt>
                <c:pt idx="15660">
                  <c:v>33031</c:v>
                </c:pt>
                <c:pt idx="15661">
                  <c:v>33032</c:v>
                </c:pt>
                <c:pt idx="15662">
                  <c:v>33035</c:v>
                </c:pt>
                <c:pt idx="15663">
                  <c:v>33036</c:v>
                </c:pt>
                <c:pt idx="15664">
                  <c:v>33037</c:v>
                </c:pt>
                <c:pt idx="15665">
                  <c:v>33038</c:v>
                </c:pt>
                <c:pt idx="15666">
                  <c:v>33039</c:v>
                </c:pt>
                <c:pt idx="15667">
                  <c:v>33042</c:v>
                </c:pt>
                <c:pt idx="15668">
                  <c:v>33043</c:v>
                </c:pt>
                <c:pt idx="15669">
                  <c:v>33044</c:v>
                </c:pt>
                <c:pt idx="15670">
                  <c:v>33045</c:v>
                </c:pt>
                <c:pt idx="15671">
                  <c:v>33046</c:v>
                </c:pt>
                <c:pt idx="15672">
                  <c:v>33049</c:v>
                </c:pt>
                <c:pt idx="15673">
                  <c:v>33050</c:v>
                </c:pt>
                <c:pt idx="15674">
                  <c:v>33051</c:v>
                </c:pt>
                <c:pt idx="15675">
                  <c:v>33052</c:v>
                </c:pt>
                <c:pt idx="15676">
                  <c:v>33053</c:v>
                </c:pt>
                <c:pt idx="15677">
                  <c:v>33056</c:v>
                </c:pt>
                <c:pt idx="15678">
                  <c:v>33057</c:v>
                </c:pt>
                <c:pt idx="15679">
                  <c:v>33059</c:v>
                </c:pt>
                <c:pt idx="15680">
                  <c:v>33060</c:v>
                </c:pt>
                <c:pt idx="15681">
                  <c:v>33063</c:v>
                </c:pt>
                <c:pt idx="15682">
                  <c:v>33064</c:v>
                </c:pt>
                <c:pt idx="15683">
                  <c:v>33065</c:v>
                </c:pt>
                <c:pt idx="15684">
                  <c:v>33066</c:v>
                </c:pt>
                <c:pt idx="15685">
                  <c:v>33067</c:v>
                </c:pt>
                <c:pt idx="15686">
                  <c:v>33070</c:v>
                </c:pt>
                <c:pt idx="15687">
                  <c:v>33071</c:v>
                </c:pt>
                <c:pt idx="15688">
                  <c:v>33072</c:v>
                </c:pt>
                <c:pt idx="15689">
                  <c:v>33073</c:v>
                </c:pt>
                <c:pt idx="15690">
                  <c:v>33074</c:v>
                </c:pt>
                <c:pt idx="15691">
                  <c:v>33077</c:v>
                </c:pt>
                <c:pt idx="15692">
                  <c:v>33078</c:v>
                </c:pt>
                <c:pt idx="15693">
                  <c:v>33079</c:v>
                </c:pt>
                <c:pt idx="15694">
                  <c:v>33080</c:v>
                </c:pt>
                <c:pt idx="15695">
                  <c:v>33081</c:v>
                </c:pt>
                <c:pt idx="15696">
                  <c:v>33084</c:v>
                </c:pt>
                <c:pt idx="15697">
                  <c:v>33085</c:v>
                </c:pt>
                <c:pt idx="15698">
                  <c:v>33086</c:v>
                </c:pt>
                <c:pt idx="15699">
                  <c:v>33087</c:v>
                </c:pt>
                <c:pt idx="15700">
                  <c:v>33088</c:v>
                </c:pt>
                <c:pt idx="15701">
                  <c:v>33091</c:v>
                </c:pt>
                <c:pt idx="15702">
                  <c:v>33092</c:v>
                </c:pt>
                <c:pt idx="15703">
                  <c:v>33093</c:v>
                </c:pt>
                <c:pt idx="15704">
                  <c:v>33094</c:v>
                </c:pt>
                <c:pt idx="15705">
                  <c:v>33095</c:v>
                </c:pt>
                <c:pt idx="15706">
                  <c:v>33098</c:v>
                </c:pt>
                <c:pt idx="15707">
                  <c:v>33099</c:v>
                </c:pt>
                <c:pt idx="15708">
                  <c:v>33100</c:v>
                </c:pt>
                <c:pt idx="15709">
                  <c:v>33101</c:v>
                </c:pt>
                <c:pt idx="15710">
                  <c:v>33102</c:v>
                </c:pt>
                <c:pt idx="15711">
                  <c:v>33105</c:v>
                </c:pt>
                <c:pt idx="15712">
                  <c:v>33106</c:v>
                </c:pt>
                <c:pt idx="15713">
                  <c:v>33107</c:v>
                </c:pt>
                <c:pt idx="15714">
                  <c:v>33108</c:v>
                </c:pt>
                <c:pt idx="15715">
                  <c:v>33109</c:v>
                </c:pt>
                <c:pt idx="15716">
                  <c:v>33112</c:v>
                </c:pt>
                <c:pt idx="15717">
                  <c:v>33113</c:v>
                </c:pt>
                <c:pt idx="15718">
                  <c:v>33114</c:v>
                </c:pt>
                <c:pt idx="15719">
                  <c:v>33115</c:v>
                </c:pt>
                <c:pt idx="15720">
                  <c:v>33116</c:v>
                </c:pt>
                <c:pt idx="15721">
                  <c:v>33120</c:v>
                </c:pt>
                <c:pt idx="15722">
                  <c:v>33121</c:v>
                </c:pt>
                <c:pt idx="15723">
                  <c:v>33122</c:v>
                </c:pt>
                <c:pt idx="15724">
                  <c:v>33123</c:v>
                </c:pt>
                <c:pt idx="15725">
                  <c:v>33126</c:v>
                </c:pt>
                <c:pt idx="15726">
                  <c:v>33127</c:v>
                </c:pt>
                <c:pt idx="15727">
                  <c:v>33128</c:v>
                </c:pt>
                <c:pt idx="15728">
                  <c:v>33129</c:v>
                </c:pt>
                <c:pt idx="15729">
                  <c:v>33130</c:v>
                </c:pt>
                <c:pt idx="15730">
                  <c:v>33133</c:v>
                </c:pt>
                <c:pt idx="15731">
                  <c:v>33134</c:v>
                </c:pt>
                <c:pt idx="15732">
                  <c:v>33135</c:v>
                </c:pt>
                <c:pt idx="15733">
                  <c:v>33136</c:v>
                </c:pt>
                <c:pt idx="15734">
                  <c:v>33137</c:v>
                </c:pt>
                <c:pt idx="15735">
                  <c:v>33140</c:v>
                </c:pt>
                <c:pt idx="15736">
                  <c:v>33141</c:v>
                </c:pt>
                <c:pt idx="15737">
                  <c:v>33142</c:v>
                </c:pt>
                <c:pt idx="15738">
                  <c:v>33143</c:v>
                </c:pt>
                <c:pt idx="15739">
                  <c:v>33144</c:v>
                </c:pt>
                <c:pt idx="15740">
                  <c:v>33147</c:v>
                </c:pt>
                <c:pt idx="15741">
                  <c:v>33148</c:v>
                </c:pt>
                <c:pt idx="15742">
                  <c:v>33149</c:v>
                </c:pt>
                <c:pt idx="15743">
                  <c:v>33150</c:v>
                </c:pt>
                <c:pt idx="15744">
                  <c:v>33151</c:v>
                </c:pt>
                <c:pt idx="15745">
                  <c:v>33154</c:v>
                </c:pt>
                <c:pt idx="15746">
                  <c:v>33155</c:v>
                </c:pt>
                <c:pt idx="15747">
                  <c:v>33156</c:v>
                </c:pt>
                <c:pt idx="15748">
                  <c:v>33157</c:v>
                </c:pt>
                <c:pt idx="15749">
                  <c:v>33158</c:v>
                </c:pt>
                <c:pt idx="15750">
                  <c:v>33161</c:v>
                </c:pt>
                <c:pt idx="15751">
                  <c:v>33162</c:v>
                </c:pt>
                <c:pt idx="15752">
                  <c:v>33163</c:v>
                </c:pt>
                <c:pt idx="15753">
                  <c:v>33164</c:v>
                </c:pt>
                <c:pt idx="15754">
                  <c:v>33165</c:v>
                </c:pt>
                <c:pt idx="15755">
                  <c:v>33168</c:v>
                </c:pt>
                <c:pt idx="15756">
                  <c:v>33169</c:v>
                </c:pt>
                <c:pt idx="15757">
                  <c:v>33170</c:v>
                </c:pt>
                <c:pt idx="15758">
                  <c:v>33171</c:v>
                </c:pt>
                <c:pt idx="15759">
                  <c:v>33172</c:v>
                </c:pt>
                <c:pt idx="15760">
                  <c:v>33175</c:v>
                </c:pt>
                <c:pt idx="15761">
                  <c:v>33176</c:v>
                </c:pt>
                <c:pt idx="15762">
                  <c:v>33177</c:v>
                </c:pt>
                <c:pt idx="15763">
                  <c:v>33178</c:v>
                </c:pt>
                <c:pt idx="15764">
                  <c:v>33179</c:v>
                </c:pt>
                <c:pt idx="15765">
                  <c:v>33182</c:v>
                </c:pt>
                <c:pt idx="15766">
                  <c:v>33183</c:v>
                </c:pt>
                <c:pt idx="15767">
                  <c:v>33184</c:v>
                </c:pt>
                <c:pt idx="15768">
                  <c:v>33185</c:v>
                </c:pt>
                <c:pt idx="15769">
                  <c:v>33186</c:v>
                </c:pt>
                <c:pt idx="15770">
                  <c:v>33189</c:v>
                </c:pt>
                <c:pt idx="15771">
                  <c:v>33190</c:v>
                </c:pt>
                <c:pt idx="15772">
                  <c:v>33191</c:v>
                </c:pt>
                <c:pt idx="15773">
                  <c:v>33192</c:v>
                </c:pt>
                <c:pt idx="15774">
                  <c:v>33193</c:v>
                </c:pt>
                <c:pt idx="15775">
                  <c:v>33196</c:v>
                </c:pt>
                <c:pt idx="15776">
                  <c:v>33197</c:v>
                </c:pt>
                <c:pt idx="15777">
                  <c:v>33198</c:v>
                </c:pt>
                <c:pt idx="15778">
                  <c:v>33200</c:v>
                </c:pt>
                <c:pt idx="15779">
                  <c:v>33203</c:v>
                </c:pt>
                <c:pt idx="15780">
                  <c:v>33204</c:v>
                </c:pt>
                <c:pt idx="15781">
                  <c:v>33205</c:v>
                </c:pt>
                <c:pt idx="15782">
                  <c:v>33206</c:v>
                </c:pt>
                <c:pt idx="15783">
                  <c:v>33207</c:v>
                </c:pt>
                <c:pt idx="15784">
                  <c:v>33210</c:v>
                </c:pt>
                <c:pt idx="15785">
                  <c:v>33211</c:v>
                </c:pt>
                <c:pt idx="15786">
                  <c:v>33212</c:v>
                </c:pt>
                <c:pt idx="15787">
                  <c:v>33213</c:v>
                </c:pt>
                <c:pt idx="15788">
                  <c:v>33214</c:v>
                </c:pt>
                <c:pt idx="15789">
                  <c:v>33217</c:v>
                </c:pt>
                <c:pt idx="15790">
                  <c:v>33218</c:v>
                </c:pt>
                <c:pt idx="15791">
                  <c:v>33219</c:v>
                </c:pt>
                <c:pt idx="15792">
                  <c:v>33220</c:v>
                </c:pt>
                <c:pt idx="15793">
                  <c:v>33221</c:v>
                </c:pt>
                <c:pt idx="15794">
                  <c:v>33224</c:v>
                </c:pt>
                <c:pt idx="15795">
                  <c:v>33225</c:v>
                </c:pt>
                <c:pt idx="15796">
                  <c:v>33226</c:v>
                </c:pt>
                <c:pt idx="15797">
                  <c:v>33227</c:v>
                </c:pt>
                <c:pt idx="15798">
                  <c:v>33228</c:v>
                </c:pt>
                <c:pt idx="15799">
                  <c:v>33231</c:v>
                </c:pt>
                <c:pt idx="15800">
                  <c:v>33233</c:v>
                </c:pt>
                <c:pt idx="15801">
                  <c:v>33234</c:v>
                </c:pt>
                <c:pt idx="15802">
                  <c:v>33235</c:v>
                </c:pt>
                <c:pt idx="15803">
                  <c:v>33238</c:v>
                </c:pt>
                <c:pt idx="15804">
                  <c:v>33240</c:v>
                </c:pt>
                <c:pt idx="15805">
                  <c:v>33241</c:v>
                </c:pt>
                <c:pt idx="15806">
                  <c:v>33242</c:v>
                </c:pt>
                <c:pt idx="15807">
                  <c:v>33245</c:v>
                </c:pt>
                <c:pt idx="15808">
                  <c:v>33246</c:v>
                </c:pt>
                <c:pt idx="15809">
                  <c:v>33247</c:v>
                </c:pt>
                <c:pt idx="15810">
                  <c:v>33248</c:v>
                </c:pt>
                <c:pt idx="15811">
                  <c:v>33249</c:v>
                </c:pt>
                <c:pt idx="15812">
                  <c:v>33252</c:v>
                </c:pt>
                <c:pt idx="15813">
                  <c:v>33253</c:v>
                </c:pt>
                <c:pt idx="15814">
                  <c:v>33254</c:v>
                </c:pt>
                <c:pt idx="15815">
                  <c:v>33255</c:v>
                </c:pt>
                <c:pt idx="15816">
                  <c:v>33256</c:v>
                </c:pt>
                <c:pt idx="15817">
                  <c:v>33259</c:v>
                </c:pt>
                <c:pt idx="15818">
                  <c:v>33260</c:v>
                </c:pt>
                <c:pt idx="15819">
                  <c:v>33261</c:v>
                </c:pt>
                <c:pt idx="15820">
                  <c:v>33262</c:v>
                </c:pt>
                <c:pt idx="15821">
                  <c:v>33263</c:v>
                </c:pt>
                <c:pt idx="15822">
                  <c:v>33266</c:v>
                </c:pt>
                <c:pt idx="15823">
                  <c:v>33267</c:v>
                </c:pt>
                <c:pt idx="15824">
                  <c:v>33268</c:v>
                </c:pt>
                <c:pt idx="15825">
                  <c:v>33269</c:v>
                </c:pt>
                <c:pt idx="15826">
                  <c:v>33270</c:v>
                </c:pt>
                <c:pt idx="15827">
                  <c:v>33273</c:v>
                </c:pt>
                <c:pt idx="15828">
                  <c:v>33274</c:v>
                </c:pt>
                <c:pt idx="15829">
                  <c:v>33275</c:v>
                </c:pt>
                <c:pt idx="15830">
                  <c:v>33276</c:v>
                </c:pt>
                <c:pt idx="15831">
                  <c:v>33277</c:v>
                </c:pt>
                <c:pt idx="15832">
                  <c:v>33280</c:v>
                </c:pt>
                <c:pt idx="15833">
                  <c:v>33281</c:v>
                </c:pt>
                <c:pt idx="15834">
                  <c:v>33282</c:v>
                </c:pt>
                <c:pt idx="15835">
                  <c:v>33283</c:v>
                </c:pt>
                <c:pt idx="15836">
                  <c:v>33284</c:v>
                </c:pt>
                <c:pt idx="15837">
                  <c:v>33288</c:v>
                </c:pt>
                <c:pt idx="15838">
                  <c:v>33289</c:v>
                </c:pt>
                <c:pt idx="15839">
                  <c:v>33290</c:v>
                </c:pt>
                <c:pt idx="15840">
                  <c:v>33291</c:v>
                </c:pt>
                <c:pt idx="15841">
                  <c:v>33294</c:v>
                </c:pt>
                <c:pt idx="15842">
                  <c:v>33295</c:v>
                </c:pt>
                <c:pt idx="15843">
                  <c:v>33296</c:v>
                </c:pt>
                <c:pt idx="15844">
                  <c:v>33297</c:v>
                </c:pt>
                <c:pt idx="15845">
                  <c:v>33298</c:v>
                </c:pt>
                <c:pt idx="15846">
                  <c:v>33301</c:v>
                </c:pt>
                <c:pt idx="15847">
                  <c:v>33302</c:v>
                </c:pt>
                <c:pt idx="15848">
                  <c:v>33303</c:v>
                </c:pt>
                <c:pt idx="15849">
                  <c:v>33304</c:v>
                </c:pt>
                <c:pt idx="15850">
                  <c:v>33305</c:v>
                </c:pt>
                <c:pt idx="15851">
                  <c:v>33308</c:v>
                </c:pt>
                <c:pt idx="15852">
                  <c:v>33309</c:v>
                </c:pt>
                <c:pt idx="15853">
                  <c:v>33310</c:v>
                </c:pt>
                <c:pt idx="15854">
                  <c:v>33311</c:v>
                </c:pt>
                <c:pt idx="15855">
                  <c:v>33312</c:v>
                </c:pt>
                <c:pt idx="15856">
                  <c:v>33315</c:v>
                </c:pt>
                <c:pt idx="15857">
                  <c:v>33316</c:v>
                </c:pt>
                <c:pt idx="15858">
                  <c:v>33317</c:v>
                </c:pt>
                <c:pt idx="15859">
                  <c:v>33318</c:v>
                </c:pt>
                <c:pt idx="15860">
                  <c:v>33319</c:v>
                </c:pt>
                <c:pt idx="15861">
                  <c:v>33322</c:v>
                </c:pt>
                <c:pt idx="15862">
                  <c:v>33323</c:v>
                </c:pt>
                <c:pt idx="15863">
                  <c:v>33324</c:v>
                </c:pt>
                <c:pt idx="15864">
                  <c:v>33325</c:v>
                </c:pt>
                <c:pt idx="15865">
                  <c:v>33329</c:v>
                </c:pt>
                <c:pt idx="15866">
                  <c:v>33330</c:v>
                </c:pt>
                <c:pt idx="15867">
                  <c:v>33331</c:v>
                </c:pt>
                <c:pt idx="15868">
                  <c:v>33332</c:v>
                </c:pt>
                <c:pt idx="15869">
                  <c:v>33333</c:v>
                </c:pt>
                <c:pt idx="15870">
                  <c:v>33336</c:v>
                </c:pt>
                <c:pt idx="15871">
                  <c:v>33337</c:v>
                </c:pt>
                <c:pt idx="15872">
                  <c:v>33338</c:v>
                </c:pt>
                <c:pt idx="15873">
                  <c:v>33339</c:v>
                </c:pt>
                <c:pt idx="15874">
                  <c:v>33340</c:v>
                </c:pt>
                <c:pt idx="15875">
                  <c:v>33343</c:v>
                </c:pt>
                <c:pt idx="15876">
                  <c:v>33344</c:v>
                </c:pt>
                <c:pt idx="15877">
                  <c:v>33345</c:v>
                </c:pt>
                <c:pt idx="15878">
                  <c:v>33346</c:v>
                </c:pt>
                <c:pt idx="15879">
                  <c:v>33347</c:v>
                </c:pt>
                <c:pt idx="15880">
                  <c:v>33350</c:v>
                </c:pt>
                <c:pt idx="15881">
                  <c:v>33351</c:v>
                </c:pt>
                <c:pt idx="15882">
                  <c:v>33352</c:v>
                </c:pt>
                <c:pt idx="15883">
                  <c:v>33353</c:v>
                </c:pt>
                <c:pt idx="15884">
                  <c:v>33354</c:v>
                </c:pt>
                <c:pt idx="15885">
                  <c:v>33357</c:v>
                </c:pt>
                <c:pt idx="15886">
                  <c:v>33358</c:v>
                </c:pt>
                <c:pt idx="15887">
                  <c:v>33359</c:v>
                </c:pt>
                <c:pt idx="15888">
                  <c:v>33360</c:v>
                </c:pt>
                <c:pt idx="15889">
                  <c:v>33361</c:v>
                </c:pt>
                <c:pt idx="15890">
                  <c:v>33364</c:v>
                </c:pt>
                <c:pt idx="15891">
                  <c:v>33365</c:v>
                </c:pt>
                <c:pt idx="15892">
                  <c:v>33366</c:v>
                </c:pt>
                <c:pt idx="15893">
                  <c:v>33367</c:v>
                </c:pt>
                <c:pt idx="15894">
                  <c:v>33368</c:v>
                </c:pt>
                <c:pt idx="15895">
                  <c:v>33371</c:v>
                </c:pt>
                <c:pt idx="15896">
                  <c:v>33372</c:v>
                </c:pt>
                <c:pt idx="15897">
                  <c:v>33373</c:v>
                </c:pt>
                <c:pt idx="15898">
                  <c:v>33374</c:v>
                </c:pt>
                <c:pt idx="15899">
                  <c:v>33375</c:v>
                </c:pt>
                <c:pt idx="15900">
                  <c:v>33378</c:v>
                </c:pt>
                <c:pt idx="15901">
                  <c:v>33379</c:v>
                </c:pt>
                <c:pt idx="15902">
                  <c:v>33380</c:v>
                </c:pt>
                <c:pt idx="15903">
                  <c:v>33381</c:v>
                </c:pt>
                <c:pt idx="15904">
                  <c:v>33382</c:v>
                </c:pt>
                <c:pt idx="15905">
                  <c:v>33386</c:v>
                </c:pt>
                <c:pt idx="15906">
                  <c:v>33387</c:v>
                </c:pt>
                <c:pt idx="15907">
                  <c:v>33388</c:v>
                </c:pt>
                <c:pt idx="15908">
                  <c:v>33389</c:v>
                </c:pt>
                <c:pt idx="15909">
                  <c:v>33392</c:v>
                </c:pt>
                <c:pt idx="15910">
                  <c:v>33393</c:v>
                </c:pt>
                <c:pt idx="15911">
                  <c:v>33394</c:v>
                </c:pt>
                <c:pt idx="15912">
                  <c:v>33395</c:v>
                </c:pt>
                <c:pt idx="15913">
                  <c:v>33396</c:v>
                </c:pt>
                <c:pt idx="15914">
                  <c:v>33399</c:v>
                </c:pt>
                <c:pt idx="15915">
                  <c:v>33400</c:v>
                </c:pt>
                <c:pt idx="15916">
                  <c:v>33401</c:v>
                </c:pt>
                <c:pt idx="15917">
                  <c:v>33402</c:v>
                </c:pt>
                <c:pt idx="15918">
                  <c:v>33403</c:v>
                </c:pt>
                <c:pt idx="15919">
                  <c:v>33406</c:v>
                </c:pt>
                <c:pt idx="15920">
                  <c:v>33407</c:v>
                </c:pt>
                <c:pt idx="15921">
                  <c:v>33408</c:v>
                </c:pt>
                <c:pt idx="15922">
                  <c:v>33409</c:v>
                </c:pt>
                <c:pt idx="15923">
                  <c:v>33410</c:v>
                </c:pt>
                <c:pt idx="15924">
                  <c:v>33413</c:v>
                </c:pt>
                <c:pt idx="15925">
                  <c:v>33414</c:v>
                </c:pt>
                <c:pt idx="15926">
                  <c:v>33415</c:v>
                </c:pt>
                <c:pt idx="15927">
                  <c:v>33416</c:v>
                </c:pt>
                <c:pt idx="15928">
                  <c:v>33417</c:v>
                </c:pt>
                <c:pt idx="15929">
                  <c:v>33420</c:v>
                </c:pt>
                <c:pt idx="15930">
                  <c:v>33421</c:v>
                </c:pt>
                <c:pt idx="15931">
                  <c:v>33422</c:v>
                </c:pt>
                <c:pt idx="15932">
                  <c:v>33424</c:v>
                </c:pt>
                <c:pt idx="15933">
                  <c:v>33427</c:v>
                </c:pt>
                <c:pt idx="15934">
                  <c:v>33428</c:v>
                </c:pt>
                <c:pt idx="15935">
                  <c:v>33429</c:v>
                </c:pt>
                <c:pt idx="15936">
                  <c:v>33430</c:v>
                </c:pt>
                <c:pt idx="15937">
                  <c:v>33431</c:v>
                </c:pt>
                <c:pt idx="15938">
                  <c:v>33434</c:v>
                </c:pt>
                <c:pt idx="15939">
                  <c:v>33435</c:v>
                </c:pt>
                <c:pt idx="15940">
                  <c:v>33436</c:v>
                </c:pt>
                <c:pt idx="15941">
                  <c:v>33437</c:v>
                </c:pt>
                <c:pt idx="15942">
                  <c:v>33438</c:v>
                </c:pt>
                <c:pt idx="15943">
                  <c:v>33441</c:v>
                </c:pt>
                <c:pt idx="15944">
                  <c:v>33442</c:v>
                </c:pt>
                <c:pt idx="15945">
                  <c:v>33443</c:v>
                </c:pt>
                <c:pt idx="15946">
                  <c:v>33444</c:v>
                </c:pt>
                <c:pt idx="15947">
                  <c:v>33445</c:v>
                </c:pt>
                <c:pt idx="15948">
                  <c:v>33448</c:v>
                </c:pt>
                <c:pt idx="15949">
                  <c:v>33449</c:v>
                </c:pt>
                <c:pt idx="15950">
                  <c:v>33450</c:v>
                </c:pt>
                <c:pt idx="15951">
                  <c:v>33451</c:v>
                </c:pt>
                <c:pt idx="15952">
                  <c:v>33452</c:v>
                </c:pt>
                <c:pt idx="15953">
                  <c:v>33455</c:v>
                </c:pt>
                <c:pt idx="15954">
                  <c:v>33456</c:v>
                </c:pt>
                <c:pt idx="15955">
                  <c:v>33457</c:v>
                </c:pt>
                <c:pt idx="15956">
                  <c:v>33458</c:v>
                </c:pt>
                <c:pt idx="15957">
                  <c:v>33459</c:v>
                </c:pt>
                <c:pt idx="15958">
                  <c:v>33462</c:v>
                </c:pt>
                <c:pt idx="15959">
                  <c:v>33463</c:v>
                </c:pt>
                <c:pt idx="15960">
                  <c:v>33464</c:v>
                </c:pt>
                <c:pt idx="15961">
                  <c:v>33465</c:v>
                </c:pt>
                <c:pt idx="15962">
                  <c:v>33466</c:v>
                </c:pt>
                <c:pt idx="15963">
                  <c:v>33469</c:v>
                </c:pt>
                <c:pt idx="15964">
                  <c:v>33470</c:v>
                </c:pt>
                <c:pt idx="15965">
                  <c:v>33471</c:v>
                </c:pt>
                <c:pt idx="15966">
                  <c:v>33472</c:v>
                </c:pt>
                <c:pt idx="15967">
                  <c:v>33473</c:v>
                </c:pt>
                <c:pt idx="15968">
                  <c:v>33476</c:v>
                </c:pt>
                <c:pt idx="15969">
                  <c:v>33477</c:v>
                </c:pt>
                <c:pt idx="15970">
                  <c:v>33478</c:v>
                </c:pt>
                <c:pt idx="15971">
                  <c:v>33479</c:v>
                </c:pt>
                <c:pt idx="15972">
                  <c:v>33480</c:v>
                </c:pt>
                <c:pt idx="15973">
                  <c:v>33484</c:v>
                </c:pt>
                <c:pt idx="15974">
                  <c:v>33485</c:v>
                </c:pt>
                <c:pt idx="15975">
                  <c:v>33486</c:v>
                </c:pt>
                <c:pt idx="15976">
                  <c:v>33487</c:v>
                </c:pt>
                <c:pt idx="15977">
                  <c:v>33490</c:v>
                </c:pt>
                <c:pt idx="15978">
                  <c:v>33491</c:v>
                </c:pt>
                <c:pt idx="15979">
                  <c:v>33492</c:v>
                </c:pt>
                <c:pt idx="15980">
                  <c:v>33493</c:v>
                </c:pt>
                <c:pt idx="15981">
                  <c:v>33494</c:v>
                </c:pt>
                <c:pt idx="15982">
                  <c:v>33497</c:v>
                </c:pt>
                <c:pt idx="15983">
                  <c:v>33498</c:v>
                </c:pt>
                <c:pt idx="15984">
                  <c:v>33499</c:v>
                </c:pt>
                <c:pt idx="15985">
                  <c:v>33500</c:v>
                </c:pt>
                <c:pt idx="15986">
                  <c:v>33501</c:v>
                </c:pt>
                <c:pt idx="15987">
                  <c:v>33504</c:v>
                </c:pt>
                <c:pt idx="15988">
                  <c:v>33505</c:v>
                </c:pt>
                <c:pt idx="15989">
                  <c:v>33506</c:v>
                </c:pt>
                <c:pt idx="15990">
                  <c:v>33507</c:v>
                </c:pt>
                <c:pt idx="15991">
                  <c:v>33508</c:v>
                </c:pt>
                <c:pt idx="15992">
                  <c:v>33511</c:v>
                </c:pt>
                <c:pt idx="15993">
                  <c:v>33512</c:v>
                </c:pt>
                <c:pt idx="15994">
                  <c:v>33513</c:v>
                </c:pt>
                <c:pt idx="15995">
                  <c:v>33514</c:v>
                </c:pt>
                <c:pt idx="15996">
                  <c:v>33515</c:v>
                </c:pt>
                <c:pt idx="15997">
                  <c:v>33518</c:v>
                </c:pt>
                <c:pt idx="15998">
                  <c:v>33519</c:v>
                </c:pt>
                <c:pt idx="15999">
                  <c:v>33520</c:v>
                </c:pt>
                <c:pt idx="16000">
                  <c:v>33521</c:v>
                </c:pt>
                <c:pt idx="16001">
                  <c:v>33522</c:v>
                </c:pt>
                <c:pt idx="16002">
                  <c:v>33525</c:v>
                </c:pt>
                <c:pt idx="16003">
                  <c:v>33526</c:v>
                </c:pt>
                <c:pt idx="16004">
                  <c:v>33527</c:v>
                </c:pt>
                <c:pt idx="16005">
                  <c:v>33528</c:v>
                </c:pt>
                <c:pt idx="16006">
                  <c:v>33529</c:v>
                </c:pt>
                <c:pt idx="16007">
                  <c:v>33532</c:v>
                </c:pt>
                <c:pt idx="16008">
                  <c:v>33533</c:v>
                </c:pt>
                <c:pt idx="16009">
                  <c:v>33534</c:v>
                </c:pt>
                <c:pt idx="16010">
                  <c:v>33535</c:v>
                </c:pt>
                <c:pt idx="16011">
                  <c:v>33536</c:v>
                </c:pt>
                <c:pt idx="16012">
                  <c:v>33539</c:v>
                </c:pt>
                <c:pt idx="16013">
                  <c:v>33540</c:v>
                </c:pt>
                <c:pt idx="16014">
                  <c:v>33541</c:v>
                </c:pt>
                <c:pt idx="16015">
                  <c:v>33542</c:v>
                </c:pt>
                <c:pt idx="16016">
                  <c:v>33543</c:v>
                </c:pt>
                <c:pt idx="16017">
                  <c:v>33546</c:v>
                </c:pt>
                <c:pt idx="16018">
                  <c:v>33547</c:v>
                </c:pt>
                <c:pt idx="16019">
                  <c:v>33548</c:v>
                </c:pt>
                <c:pt idx="16020">
                  <c:v>33549</c:v>
                </c:pt>
                <c:pt idx="16021">
                  <c:v>33550</c:v>
                </c:pt>
                <c:pt idx="16022">
                  <c:v>33553</c:v>
                </c:pt>
                <c:pt idx="16023">
                  <c:v>33554</c:v>
                </c:pt>
                <c:pt idx="16024">
                  <c:v>33555</c:v>
                </c:pt>
                <c:pt idx="16025">
                  <c:v>33556</c:v>
                </c:pt>
                <c:pt idx="16026">
                  <c:v>33557</c:v>
                </c:pt>
                <c:pt idx="16027">
                  <c:v>33560</c:v>
                </c:pt>
                <c:pt idx="16028">
                  <c:v>33561</c:v>
                </c:pt>
                <c:pt idx="16029">
                  <c:v>33562</c:v>
                </c:pt>
                <c:pt idx="16030">
                  <c:v>33563</c:v>
                </c:pt>
                <c:pt idx="16031">
                  <c:v>33564</c:v>
                </c:pt>
                <c:pt idx="16032">
                  <c:v>33567</c:v>
                </c:pt>
                <c:pt idx="16033">
                  <c:v>33568</c:v>
                </c:pt>
                <c:pt idx="16034">
                  <c:v>33569</c:v>
                </c:pt>
                <c:pt idx="16035">
                  <c:v>33571</c:v>
                </c:pt>
                <c:pt idx="16036">
                  <c:v>33574</c:v>
                </c:pt>
                <c:pt idx="16037">
                  <c:v>33575</c:v>
                </c:pt>
                <c:pt idx="16038">
                  <c:v>33576</c:v>
                </c:pt>
                <c:pt idx="16039">
                  <c:v>33577</c:v>
                </c:pt>
                <c:pt idx="16040">
                  <c:v>33578</c:v>
                </c:pt>
                <c:pt idx="16041">
                  <c:v>33581</c:v>
                </c:pt>
                <c:pt idx="16042">
                  <c:v>33582</c:v>
                </c:pt>
                <c:pt idx="16043">
                  <c:v>33583</c:v>
                </c:pt>
                <c:pt idx="16044">
                  <c:v>33584</c:v>
                </c:pt>
                <c:pt idx="16045">
                  <c:v>33585</c:v>
                </c:pt>
                <c:pt idx="16046">
                  <c:v>33588</c:v>
                </c:pt>
                <c:pt idx="16047">
                  <c:v>33589</c:v>
                </c:pt>
                <c:pt idx="16048">
                  <c:v>33590</c:v>
                </c:pt>
                <c:pt idx="16049">
                  <c:v>33591</c:v>
                </c:pt>
                <c:pt idx="16050">
                  <c:v>33592</c:v>
                </c:pt>
                <c:pt idx="16051">
                  <c:v>33595</c:v>
                </c:pt>
                <c:pt idx="16052">
                  <c:v>33596</c:v>
                </c:pt>
                <c:pt idx="16053">
                  <c:v>33598</c:v>
                </c:pt>
                <c:pt idx="16054">
                  <c:v>33599</c:v>
                </c:pt>
                <c:pt idx="16055">
                  <c:v>33602</c:v>
                </c:pt>
                <c:pt idx="16056">
                  <c:v>33603</c:v>
                </c:pt>
                <c:pt idx="16057">
                  <c:v>33605</c:v>
                </c:pt>
                <c:pt idx="16058">
                  <c:v>33606</c:v>
                </c:pt>
                <c:pt idx="16059">
                  <c:v>33609</c:v>
                </c:pt>
                <c:pt idx="16060">
                  <c:v>33610</c:v>
                </c:pt>
                <c:pt idx="16061">
                  <c:v>33611</c:v>
                </c:pt>
                <c:pt idx="16062">
                  <c:v>33612</c:v>
                </c:pt>
                <c:pt idx="16063">
                  <c:v>33613</c:v>
                </c:pt>
                <c:pt idx="16064">
                  <c:v>33616</c:v>
                </c:pt>
                <c:pt idx="16065">
                  <c:v>33617</c:v>
                </c:pt>
                <c:pt idx="16066">
                  <c:v>33618</c:v>
                </c:pt>
                <c:pt idx="16067">
                  <c:v>33619</c:v>
                </c:pt>
                <c:pt idx="16068">
                  <c:v>33620</c:v>
                </c:pt>
                <c:pt idx="16069">
                  <c:v>33623</c:v>
                </c:pt>
                <c:pt idx="16070">
                  <c:v>33624</c:v>
                </c:pt>
                <c:pt idx="16071">
                  <c:v>33625</c:v>
                </c:pt>
                <c:pt idx="16072">
                  <c:v>33626</c:v>
                </c:pt>
                <c:pt idx="16073">
                  <c:v>33627</c:v>
                </c:pt>
                <c:pt idx="16074">
                  <c:v>33630</c:v>
                </c:pt>
                <c:pt idx="16075">
                  <c:v>33631</c:v>
                </c:pt>
                <c:pt idx="16076">
                  <c:v>33632</c:v>
                </c:pt>
                <c:pt idx="16077">
                  <c:v>33633</c:v>
                </c:pt>
                <c:pt idx="16078">
                  <c:v>33634</c:v>
                </c:pt>
                <c:pt idx="16079">
                  <c:v>33637</c:v>
                </c:pt>
                <c:pt idx="16080">
                  <c:v>33638</c:v>
                </c:pt>
                <c:pt idx="16081">
                  <c:v>33639</c:v>
                </c:pt>
                <c:pt idx="16082">
                  <c:v>33640</c:v>
                </c:pt>
                <c:pt idx="16083">
                  <c:v>33641</c:v>
                </c:pt>
                <c:pt idx="16084">
                  <c:v>33644</c:v>
                </c:pt>
                <c:pt idx="16085">
                  <c:v>33645</c:v>
                </c:pt>
                <c:pt idx="16086">
                  <c:v>33646</c:v>
                </c:pt>
                <c:pt idx="16087">
                  <c:v>33647</c:v>
                </c:pt>
                <c:pt idx="16088">
                  <c:v>33648</c:v>
                </c:pt>
                <c:pt idx="16089">
                  <c:v>33652</c:v>
                </c:pt>
                <c:pt idx="16090">
                  <c:v>33653</c:v>
                </c:pt>
                <c:pt idx="16091">
                  <c:v>33654</c:v>
                </c:pt>
                <c:pt idx="16092">
                  <c:v>33655</c:v>
                </c:pt>
                <c:pt idx="16093">
                  <c:v>33658</c:v>
                </c:pt>
                <c:pt idx="16094">
                  <c:v>33659</c:v>
                </c:pt>
                <c:pt idx="16095">
                  <c:v>33660</c:v>
                </c:pt>
                <c:pt idx="16096">
                  <c:v>33661</c:v>
                </c:pt>
                <c:pt idx="16097">
                  <c:v>33662</c:v>
                </c:pt>
                <c:pt idx="16098">
                  <c:v>33665</c:v>
                </c:pt>
                <c:pt idx="16099">
                  <c:v>33666</c:v>
                </c:pt>
                <c:pt idx="16100">
                  <c:v>33667</c:v>
                </c:pt>
                <c:pt idx="16101">
                  <c:v>33668</c:v>
                </c:pt>
                <c:pt idx="16102">
                  <c:v>33669</c:v>
                </c:pt>
                <c:pt idx="16103">
                  <c:v>33672</c:v>
                </c:pt>
                <c:pt idx="16104">
                  <c:v>33673</c:v>
                </c:pt>
                <c:pt idx="16105">
                  <c:v>33674</c:v>
                </c:pt>
                <c:pt idx="16106">
                  <c:v>33675</c:v>
                </c:pt>
                <c:pt idx="16107">
                  <c:v>33676</c:v>
                </c:pt>
                <c:pt idx="16108">
                  <c:v>33679</c:v>
                </c:pt>
                <c:pt idx="16109">
                  <c:v>33680</c:v>
                </c:pt>
                <c:pt idx="16110">
                  <c:v>33681</c:v>
                </c:pt>
                <c:pt idx="16111">
                  <c:v>33682</c:v>
                </c:pt>
                <c:pt idx="16112">
                  <c:v>33683</c:v>
                </c:pt>
                <c:pt idx="16113">
                  <c:v>33686</c:v>
                </c:pt>
                <c:pt idx="16114">
                  <c:v>33687</c:v>
                </c:pt>
                <c:pt idx="16115">
                  <c:v>33688</c:v>
                </c:pt>
                <c:pt idx="16116">
                  <c:v>33689</c:v>
                </c:pt>
                <c:pt idx="16117">
                  <c:v>33690</c:v>
                </c:pt>
                <c:pt idx="16118">
                  <c:v>33693</c:v>
                </c:pt>
                <c:pt idx="16119">
                  <c:v>33694</c:v>
                </c:pt>
                <c:pt idx="16120">
                  <c:v>33695</c:v>
                </c:pt>
                <c:pt idx="16121">
                  <c:v>33696</c:v>
                </c:pt>
                <c:pt idx="16122">
                  <c:v>33697</c:v>
                </c:pt>
                <c:pt idx="16123">
                  <c:v>33700</c:v>
                </c:pt>
                <c:pt idx="16124">
                  <c:v>33701</c:v>
                </c:pt>
                <c:pt idx="16125">
                  <c:v>33702</c:v>
                </c:pt>
                <c:pt idx="16126">
                  <c:v>33703</c:v>
                </c:pt>
                <c:pt idx="16127">
                  <c:v>33704</c:v>
                </c:pt>
                <c:pt idx="16128">
                  <c:v>33707</c:v>
                </c:pt>
                <c:pt idx="16129">
                  <c:v>33708</c:v>
                </c:pt>
                <c:pt idx="16130">
                  <c:v>33709</c:v>
                </c:pt>
                <c:pt idx="16131">
                  <c:v>33710</c:v>
                </c:pt>
                <c:pt idx="16132">
                  <c:v>33714</c:v>
                </c:pt>
                <c:pt idx="16133">
                  <c:v>33715</c:v>
                </c:pt>
                <c:pt idx="16134">
                  <c:v>33716</c:v>
                </c:pt>
                <c:pt idx="16135">
                  <c:v>33717</c:v>
                </c:pt>
                <c:pt idx="16136">
                  <c:v>33718</c:v>
                </c:pt>
                <c:pt idx="16137">
                  <c:v>33721</c:v>
                </c:pt>
                <c:pt idx="16138">
                  <c:v>33722</c:v>
                </c:pt>
                <c:pt idx="16139">
                  <c:v>33723</c:v>
                </c:pt>
                <c:pt idx="16140">
                  <c:v>33724</c:v>
                </c:pt>
                <c:pt idx="16141">
                  <c:v>33725</c:v>
                </c:pt>
                <c:pt idx="16142">
                  <c:v>33728</c:v>
                </c:pt>
                <c:pt idx="16143">
                  <c:v>33729</c:v>
                </c:pt>
                <c:pt idx="16144">
                  <c:v>33730</c:v>
                </c:pt>
                <c:pt idx="16145">
                  <c:v>33731</c:v>
                </c:pt>
                <c:pt idx="16146">
                  <c:v>33732</c:v>
                </c:pt>
                <c:pt idx="16147">
                  <c:v>33735</c:v>
                </c:pt>
                <c:pt idx="16148">
                  <c:v>33736</c:v>
                </c:pt>
                <c:pt idx="16149">
                  <c:v>33737</c:v>
                </c:pt>
                <c:pt idx="16150">
                  <c:v>33738</c:v>
                </c:pt>
                <c:pt idx="16151">
                  <c:v>33739</c:v>
                </c:pt>
                <c:pt idx="16152">
                  <c:v>33742</c:v>
                </c:pt>
                <c:pt idx="16153">
                  <c:v>33743</c:v>
                </c:pt>
                <c:pt idx="16154">
                  <c:v>33744</c:v>
                </c:pt>
                <c:pt idx="16155">
                  <c:v>33745</c:v>
                </c:pt>
                <c:pt idx="16156">
                  <c:v>33746</c:v>
                </c:pt>
                <c:pt idx="16157">
                  <c:v>33750</c:v>
                </c:pt>
                <c:pt idx="16158">
                  <c:v>33751</c:v>
                </c:pt>
                <c:pt idx="16159">
                  <c:v>33752</c:v>
                </c:pt>
                <c:pt idx="16160">
                  <c:v>33753</c:v>
                </c:pt>
                <c:pt idx="16161">
                  <c:v>33756</c:v>
                </c:pt>
                <c:pt idx="16162">
                  <c:v>33757</c:v>
                </c:pt>
                <c:pt idx="16163">
                  <c:v>33758</c:v>
                </c:pt>
                <c:pt idx="16164">
                  <c:v>33759</c:v>
                </c:pt>
                <c:pt idx="16165">
                  <c:v>33760</c:v>
                </c:pt>
                <c:pt idx="16166">
                  <c:v>33763</c:v>
                </c:pt>
                <c:pt idx="16167">
                  <c:v>33764</c:v>
                </c:pt>
                <c:pt idx="16168">
                  <c:v>33765</c:v>
                </c:pt>
                <c:pt idx="16169">
                  <c:v>33766</c:v>
                </c:pt>
                <c:pt idx="16170">
                  <c:v>33767</c:v>
                </c:pt>
                <c:pt idx="16171">
                  <c:v>33770</c:v>
                </c:pt>
                <c:pt idx="16172">
                  <c:v>33771</c:v>
                </c:pt>
                <c:pt idx="16173">
                  <c:v>33772</c:v>
                </c:pt>
                <c:pt idx="16174">
                  <c:v>33773</c:v>
                </c:pt>
                <c:pt idx="16175">
                  <c:v>33774</c:v>
                </c:pt>
                <c:pt idx="16176">
                  <c:v>33777</c:v>
                </c:pt>
                <c:pt idx="16177">
                  <c:v>33778</c:v>
                </c:pt>
                <c:pt idx="16178">
                  <c:v>33779</c:v>
                </c:pt>
                <c:pt idx="16179">
                  <c:v>33780</c:v>
                </c:pt>
                <c:pt idx="16180">
                  <c:v>33781</c:v>
                </c:pt>
                <c:pt idx="16181">
                  <c:v>33784</c:v>
                </c:pt>
                <c:pt idx="16182">
                  <c:v>33785</c:v>
                </c:pt>
                <c:pt idx="16183">
                  <c:v>33786</c:v>
                </c:pt>
                <c:pt idx="16184">
                  <c:v>33787</c:v>
                </c:pt>
                <c:pt idx="16185">
                  <c:v>33791</c:v>
                </c:pt>
                <c:pt idx="16186">
                  <c:v>33792</c:v>
                </c:pt>
                <c:pt idx="16187">
                  <c:v>33793</c:v>
                </c:pt>
                <c:pt idx="16188">
                  <c:v>33794</c:v>
                </c:pt>
                <c:pt idx="16189">
                  <c:v>33795</c:v>
                </c:pt>
                <c:pt idx="16190">
                  <c:v>33798</c:v>
                </c:pt>
                <c:pt idx="16191">
                  <c:v>33799</c:v>
                </c:pt>
                <c:pt idx="16192">
                  <c:v>33800</c:v>
                </c:pt>
                <c:pt idx="16193">
                  <c:v>33801</c:v>
                </c:pt>
                <c:pt idx="16194">
                  <c:v>33802</c:v>
                </c:pt>
                <c:pt idx="16195">
                  <c:v>33805</c:v>
                </c:pt>
                <c:pt idx="16196">
                  <c:v>33806</c:v>
                </c:pt>
                <c:pt idx="16197">
                  <c:v>33807</c:v>
                </c:pt>
                <c:pt idx="16198">
                  <c:v>33808</c:v>
                </c:pt>
                <c:pt idx="16199">
                  <c:v>33809</c:v>
                </c:pt>
                <c:pt idx="16200">
                  <c:v>33812</c:v>
                </c:pt>
                <c:pt idx="16201">
                  <c:v>33813</c:v>
                </c:pt>
                <c:pt idx="16202">
                  <c:v>33814</c:v>
                </c:pt>
                <c:pt idx="16203">
                  <c:v>33815</c:v>
                </c:pt>
                <c:pt idx="16204">
                  <c:v>33816</c:v>
                </c:pt>
                <c:pt idx="16205">
                  <c:v>33819</c:v>
                </c:pt>
                <c:pt idx="16206">
                  <c:v>33820</c:v>
                </c:pt>
                <c:pt idx="16207">
                  <c:v>33821</c:v>
                </c:pt>
                <c:pt idx="16208">
                  <c:v>33822</c:v>
                </c:pt>
                <c:pt idx="16209">
                  <c:v>33823</c:v>
                </c:pt>
                <c:pt idx="16210">
                  <c:v>33826</c:v>
                </c:pt>
                <c:pt idx="16211">
                  <c:v>33827</c:v>
                </c:pt>
                <c:pt idx="16212">
                  <c:v>33828</c:v>
                </c:pt>
                <c:pt idx="16213">
                  <c:v>33829</c:v>
                </c:pt>
                <c:pt idx="16214">
                  <c:v>33830</c:v>
                </c:pt>
                <c:pt idx="16215">
                  <c:v>33833</c:v>
                </c:pt>
                <c:pt idx="16216">
                  <c:v>33834</c:v>
                </c:pt>
                <c:pt idx="16217">
                  <c:v>33835</c:v>
                </c:pt>
                <c:pt idx="16218">
                  <c:v>33836</c:v>
                </c:pt>
                <c:pt idx="16219">
                  <c:v>33837</c:v>
                </c:pt>
                <c:pt idx="16220">
                  <c:v>33840</c:v>
                </c:pt>
                <c:pt idx="16221">
                  <c:v>33841</c:v>
                </c:pt>
                <c:pt idx="16222">
                  <c:v>33842</c:v>
                </c:pt>
                <c:pt idx="16223">
                  <c:v>33843</c:v>
                </c:pt>
                <c:pt idx="16224">
                  <c:v>33844</c:v>
                </c:pt>
                <c:pt idx="16225">
                  <c:v>33847</c:v>
                </c:pt>
                <c:pt idx="16226">
                  <c:v>33848</c:v>
                </c:pt>
                <c:pt idx="16227">
                  <c:v>33849</c:v>
                </c:pt>
                <c:pt idx="16228">
                  <c:v>33850</c:v>
                </c:pt>
                <c:pt idx="16229">
                  <c:v>33851</c:v>
                </c:pt>
                <c:pt idx="16230">
                  <c:v>33855</c:v>
                </c:pt>
                <c:pt idx="16231">
                  <c:v>33856</c:v>
                </c:pt>
                <c:pt idx="16232">
                  <c:v>33857</c:v>
                </c:pt>
                <c:pt idx="16233">
                  <c:v>33858</c:v>
                </c:pt>
                <c:pt idx="16234">
                  <c:v>33861</c:v>
                </c:pt>
                <c:pt idx="16235">
                  <c:v>33862</c:v>
                </c:pt>
                <c:pt idx="16236">
                  <c:v>33863</c:v>
                </c:pt>
                <c:pt idx="16237">
                  <c:v>33864</c:v>
                </c:pt>
                <c:pt idx="16238">
                  <c:v>33865</c:v>
                </c:pt>
                <c:pt idx="16239">
                  <c:v>33868</c:v>
                </c:pt>
                <c:pt idx="16240">
                  <c:v>33869</c:v>
                </c:pt>
                <c:pt idx="16241">
                  <c:v>33870</c:v>
                </c:pt>
                <c:pt idx="16242">
                  <c:v>33871</c:v>
                </c:pt>
                <c:pt idx="16243">
                  <c:v>33872</c:v>
                </c:pt>
                <c:pt idx="16244">
                  <c:v>33875</c:v>
                </c:pt>
                <c:pt idx="16245">
                  <c:v>33876</c:v>
                </c:pt>
                <c:pt idx="16246">
                  <c:v>33877</c:v>
                </c:pt>
                <c:pt idx="16247">
                  <c:v>33878</c:v>
                </c:pt>
                <c:pt idx="16248">
                  <c:v>33879</c:v>
                </c:pt>
                <c:pt idx="16249">
                  <c:v>33882</c:v>
                </c:pt>
                <c:pt idx="16250">
                  <c:v>33883</c:v>
                </c:pt>
                <c:pt idx="16251">
                  <c:v>33884</c:v>
                </c:pt>
                <c:pt idx="16252">
                  <c:v>33885</c:v>
                </c:pt>
                <c:pt idx="16253">
                  <c:v>33886</c:v>
                </c:pt>
                <c:pt idx="16254">
                  <c:v>33889</c:v>
                </c:pt>
                <c:pt idx="16255">
                  <c:v>33890</c:v>
                </c:pt>
                <c:pt idx="16256">
                  <c:v>33891</c:v>
                </c:pt>
                <c:pt idx="16257">
                  <c:v>33892</c:v>
                </c:pt>
                <c:pt idx="16258">
                  <c:v>33893</c:v>
                </c:pt>
                <c:pt idx="16259">
                  <c:v>33896</c:v>
                </c:pt>
                <c:pt idx="16260">
                  <c:v>33897</c:v>
                </c:pt>
                <c:pt idx="16261">
                  <c:v>33898</c:v>
                </c:pt>
                <c:pt idx="16262">
                  <c:v>33899</c:v>
                </c:pt>
                <c:pt idx="16263">
                  <c:v>33900</c:v>
                </c:pt>
                <c:pt idx="16264">
                  <c:v>33903</c:v>
                </c:pt>
                <c:pt idx="16265">
                  <c:v>33904</c:v>
                </c:pt>
                <c:pt idx="16266">
                  <c:v>33905</c:v>
                </c:pt>
                <c:pt idx="16267">
                  <c:v>33906</c:v>
                </c:pt>
                <c:pt idx="16268">
                  <c:v>33907</c:v>
                </c:pt>
                <c:pt idx="16269">
                  <c:v>33910</c:v>
                </c:pt>
                <c:pt idx="16270">
                  <c:v>33911</c:v>
                </c:pt>
                <c:pt idx="16271">
                  <c:v>33912</c:v>
                </c:pt>
                <c:pt idx="16272">
                  <c:v>33913</c:v>
                </c:pt>
                <c:pt idx="16273">
                  <c:v>33914</c:v>
                </c:pt>
                <c:pt idx="16274">
                  <c:v>33917</c:v>
                </c:pt>
                <c:pt idx="16275">
                  <c:v>33918</c:v>
                </c:pt>
                <c:pt idx="16276">
                  <c:v>33919</c:v>
                </c:pt>
                <c:pt idx="16277">
                  <c:v>33920</c:v>
                </c:pt>
                <c:pt idx="16278">
                  <c:v>33921</c:v>
                </c:pt>
                <c:pt idx="16279">
                  <c:v>33924</c:v>
                </c:pt>
                <c:pt idx="16280">
                  <c:v>33925</c:v>
                </c:pt>
                <c:pt idx="16281">
                  <c:v>33926</c:v>
                </c:pt>
                <c:pt idx="16282">
                  <c:v>33927</c:v>
                </c:pt>
                <c:pt idx="16283">
                  <c:v>33928</c:v>
                </c:pt>
                <c:pt idx="16284">
                  <c:v>33931</c:v>
                </c:pt>
                <c:pt idx="16285">
                  <c:v>33932</c:v>
                </c:pt>
                <c:pt idx="16286">
                  <c:v>33933</c:v>
                </c:pt>
                <c:pt idx="16287">
                  <c:v>33935</c:v>
                </c:pt>
                <c:pt idx="16288">
                  <c:v>33938</c:v>
                </c:pt>
                <c:pt idx="16289">
                  <c:v>33939</c:v>
                </c:pt>
                <c:pt idx="16290">
                  <c:v>33940</c:v>
                </c:pt>
                <c:pt idx="16291">
                  <c:v>33941</c:v>
                </c:pt>
                <c:pt idx="16292">
                  <c:v>33942</c:v>
                </c:pt>
                <c:pt idx="16293">
                  <c:v>33945</c:v>
                </c:pt>
                <c:pt idx="16294">
                  <c:v>33946</c:v>
                </c:pt>
                <c:pt idx="16295">
                  <c:v>33947</c:v>
                </c:pt>
                <c:pt idx="16296">
                  <c:v>33948</c:v>
                </c:pt>
                <c:pt idx="16297">
                  <c:v>33949</c:v>
                </c:pt>
                <c:pt idx="16298">
                  <c:v>33952</c:v>
                </c:pt>
                <c:pt idx="16299">
                  <c:v>33953</c:v>
                </c:pt>
                <c:pt idx="16300">
                  <c:v>33954</c:v>
                </c:pt>
                <c:pt idx="16301">
                  <c:v>33955</c:v>
                </c:pt>
                <c:pt idx="16302">
                  <c:v>33956</c:v>
                </c:pt>
                <c:pt idx="16303">
                  <c:v>33959</c:v>
                </c:pt>
                <c:pt idx="16304">
                  <c:v>33960</c:v>
                </c:pt>
                <c:pt idx="16305">
                  <c:v>33961</c:v>
                </c:pt>
                <c:pt idx="16306">
                  <c:v>33962</c:v>
                </c:pt>
                <c:pt idx="16307">
                  <c:v>33966</c:v>
                </c:pt>
                <c:pt idx="16308">
                  <c:v>33967</c:v>
                </c:pt>
                <c:pt idx="16309">
                  <c:v>33968</c:v>
                </c:pt>
                <c:pt idx="16310">
                  <c:v>33969</c:v>
                </c:pt>
                <c:pt idx="16311">
                  <c:v>33973</c:v>
                </c:pt>
                <c:pt idx="16312">
                  <c:v>33974</c:v>
                </c:pt>
                <c:pt idx="16313">
                  <c:v>33975</c:v>
                </c:pt>
                <c:pt idx="16314">
                  <c:v>33976</c:v>
                </c:pt>
                <c:pt idx="16315">
                  <c:v>33977</c:v>
                </c:pt>
                <c:pt idx="16316">
                  <c:v>33980</c:v>
                </c:pt>
                <c:pt idx="16317">
                  <c:v>33981</c:v>
                </c:pt>
                <c:pt idx="16318">
                  <c:v>33982</c:v>
                </c:pt>
                <c:pt idx="16319">
                  <c:v>33983</c:v>
                </c:pt>
                <c:pt idx="16320">
                  <c:v>33984</c:v>
                </c:pt>
                <c:pt idx="16321">
                  <c:v>33987</c:v>
                </c:pt>
                <c:pt idx="16322">
                  <c:v>33988</c:v>
                </c:pt>
                <c:pt idx="16323">
                  <c:v>33989</c:v>
                </c:pt>
                <c:pt idx="16324">
                  <c:v>33990</c:v>
                </c:pt>
                <c:pt idx="16325">
                  <c:v>33991</c:v>
                </c:pt>
                <c:pt idx="16326">
                  <c:v>33994</c:v>
                </c:pt>
                <c:pt idx="16327">
                  <c:v>33995</c:v>
                </c:pt>
                <c:pt idx="16328">
                  <c:v>33996</c:v>
                </c:pt>
                <c:pt idx="16329">
                  <c:v>33997</c:v>
                </c:pt>
                <c:pt idx="16330">
                  <c:v>33998</c:v>
                </c:pt>
                <c:pt idx="16331">
                  <c:v>34001</c:v>
                </c:pt>
                <c:pt idx="16332">
                  <c:v>34002</c:v>
                </c:pt>
                <c:pt idx="16333">
                  <c:v>34003</c:v>
                </c:pt>
                <c:pt idx="16334">
                  <c:v>34004</c:v>
                </c:pt>
                <c:pt idx="16335">
                  <c:v>34005</c:v>
                </c:pt>
                <c:pt idx="16336">
                  <c:v>34008</c:v>
                </c:pt>
                <c:pt idx="16337">
                  <c:v>34009</c:v>
                </c:pt>
                <c:pt idx="16338">
                  <c:v>34010</c:v>
                </c:pt>
                <c:pt idx="16339">
                  <c:v>34011</c:v>
                </c:pt>
                <c:pt idx="16340">
                  <c:v>34012</c:v>
                </c:pt>
                <c:pt idx="16341">
                  <c:v>34016</c:v>
                </c:pt>
                <c:pt idx="16342">
                  <c:v>34017</c:v>
                </c:pt>
                <c:pt idx="16343">
                  <c:v>34018</c:v>
                </c:pt>
                <c:pt idx="16344">
                  <c:v>34019</c:v>
                </c:pt>
                <c:pt idx="16345">
                  <c:v>34022</c:v>
                </c:pt>
                <c:pt idx="16346">
                  <c:v>34023</c:v>
                </c:pt>
                <c:pt idx="16347">
                  <c:v>34024</c:v>
                </c:pt>
                <c:pt idx="16348">
                  <c:v>34025</c:v>
                </c:pt>
                <c:pt idx="16349">
                  <c:v>34026</c:v>
                </c:pt>
                <c:pt idx="16350">
                  <c:v>34029</c:v>
                </c:pt>
                <c:pt idx="16351">
                  <c:v>34030</c:v>
                </c:pt>
                <c:pt idx="16352">
                  <c:v>34031</c:v>
                </c:pt>
                <c:pt idx="16353">
                  <c:v>34032</c:v>
                </c:pt>
                <c:pt idx="16354">
                  <c:v>34033</c:v>
                </c:pt>
                <c:pt idx="16355">
                  <c:v>34036</c:v>
                </c:pt>
                <c:pt idx="16356">
                  <c:v>34037</c:v>
                </c:pt>
                <c:pt idx="16357">
                  <c:v>34038</c:v>
                </c:pt>
                <c:pt idx="16358">
                  <c:v>34039</c:v>
                </c:pt>
                <c:pt idx="16359">
                  <c:v>34040</c:v>
                </c:pt>
                <c:pt idx="16360">
                  <c:v>34043</c:v>
                </c:pt>
                <c:pt idx="16361">
                  <c:v>34044</c:v>
                </c:pt>
                <c:pt idx="16362">
                  <c:v>34045</c:v>
                </c:pt>
                <c:pt idx="16363">
                  <c:v>34046</c:v>
                </c:pt>
                <c:pt idx="16364">
                  <c:v>34047</c:v>
                </c:pt>
                <c:pt idx="16365">
                  <c:v>34050</c:v>
                </c:pt>
                <c:pt idx="16366">
                  <c:v>34051</c:v>
                </c:pt>
                <c:pt idx="16367">
                  <c:v>34052</c:v>
                </c:pt>
                <c:pt idx="16368">
                  <c:v>34053</c:v>
                </c:pt>
                <c:pt idx="16369">
                  <c:v>34054</c:v>
                </c:pt>
                <c:pt idx="16370">
                  <c:v>34057</c:v>
                </c:pt>
                <c:pt idx="16371">
                  <c:v>34058</c:v>
                </c:pt>
                <c:pt idx="16372">
                  <c:v>34059</c:v>
                </c:pt>
                <c:pt idx="16373">
                  <c:v>34060</c:v>
                </c:pt>
                <c:pt idx="16374">
                  <c:v>34061</c:v>
                </c:pt>
                <c:pt idx="16375">
                  <c:v>34064</c:v>
                </c:pt>
                <c:pt idx="16376">
                  <c:v>34065</c:v>
                </c:pt>
                <c:pt idx="16377">
                  <c:v>34066</c:v>
                </c:pt>
                <c:pt idx="16378">
                  <c:v>34067</c:v>
                </c:pt>
                <c:pt idx="16379">
                  <c:v>34071</c:v>
                </c:pt>
                <c:pt idx="16380">
                  <c:v>34072</c:v>
                </c:pt>
                <c:pt idx="16381">
                  <c:v>34073</c:v>
                </c:pt>
                <c:pt idx="16382">
                  <c:v>34074</c:v>
                </c:pt>
                <c:pt idx="16383">
                  <c:v>34075</c:v>
                </c:pt>
                <c:pt idx="16384">
                  <c:v>34078</c:v>
                </c:pt>
                <c:pt idx="16385">
                  <c:v>34079</c:v>
                </c:pt>
                <c:pt idx="16386">
                  <c:v>34080</c:v>
                </c:pt>
                <c:pt idx="16387">
                  <c:v>34081</c:v>
                </c:pt>
                <c:pt idx="16388">
                  <c:v>34082</c:v>
                </c:pt>
                <c:pt idx="16389">
                  <c:v>34085</c:v>
                </c:pt>
                <c:pt idx="16390">
                  <c:v>34086</c:v>
                </c:pt>
                <c:pt idx="16391">
                  <c:v>34087</c:v>
                </c:pt>
                <c:pt idx="16392">
                  <c:v>34088</c:v>
                </c:pt>
                <c:pt idx="16393">
                  <c:v>34089</c:v>
                </c:pt>
                <c:pt idx="16394">
                  <c:v>34092</c:v>
                </c:pt>
                <c:pt idx="16395">
                  <c:v>34093</c:v>
                </c:pt>
                <c:pt idx="16396">
                  <c:v>34094</c:v>
                </c:pt>
                <c:pt idx="16397">
                  <c:v>34095</c:v>
                </c:pt>
                <c:pt idx="16398">
                  <c:v>34096</c:v>
                </c:pt>
                <c:pt idx="16399">
                  <c:v>34099</c:v>
                </c:pt>
                <c:pt idx="16400">
                  <c:v>34100</c:v>
                </c:pt>
                <c:pt idx="16401">
                  <c:v>34101</c:v>
                </c:pt>
                <c:pt idx="16402">
                  <c:v>34102</c:v>
                </c:pt>
                <c:pt idx="16403">
                  <c:v>34103</c:v>
                </c:pt>
                <c:pt idx="16404">
                  <c:v>34106</c:v>
                </c:pt>
                <c:pt idx="16405">
                  <c:v>34107</c:v>
                </c:pt>
                <c:pt idx="16406">
                  <c:v>34108</c:v>
                </c:pt>
                <c:pt idx="16407">
                  <c:v>34109</c:v>
                </c:pt>
                <c:pt idx="16408">
                  <c:v>34110</c:v>
                </c:pt>
                <c:pt idx="16409">
                  <c:v>34113</c:v>
                </c:pt>
                <c:pt idx="16410">
                  <c:v>34114</c:v>
                </c:pt>
                <c:pt idx="16411">
                  <c:v>34115</c:v>
                </c:pt>
                <c:pt idx="16412">
                  <c:v>34116</c:v>
                </c:pt>
                <c:pt idx="16413">
                  <c:v>34117</c:v>
                </c:pt>
                <c:pt idx="16414">
                  <c:v>34121</c:v>
                </c:pt>
                <c:pt idx="16415">
                  <c:v>34122</c:v>
                </c:pt>
                <c:pt idx="16416">
                  <c:v>34123</c:v>
                </c:pt>
                <c:pt idx="16417">
                  <c:v>34124</c:v>
                </c:pt>
                <c:pt idx="16418">
                  <c:v>34127</c:v>
                </c:pt>
                <c:pt idx="16419">
                  <c:v>34128</c:v>
                </c:pt>
                <c:pt idx="16420">
                  <c:v>34129</c:v>
                </c:pt>
                <c:pt idx="16421">
                  <c:v>34130</c:v>
                </c:pt>
                <c:pt idx="16422">
                  <c:v>34131</c:v>
                </c:pt>
                <c:pt idx="16423">
                  <c:v>34134</c:v>
                </c:pt>
                <c:pt idx="16424">
                  <c:v>34135</c:v>
                </c:pt>
                <c:pt idx="16425">
                  <c:v>34136</c:v>
                </c:pt>
                <c:pt idx="16426">
                  <c:v>34137</c:v>
                </c:pt>
                <c:pt idx="16427">
                  <c:v>34138</c:v>
                </c:pt>
                <c:pt idx="16428">
                  <c:v>34141</c:v>
                </c:pt>
                <c:pt idx="16429">
                  <c:v>34142</c:v>
                </c:pt>
                <c:pt idx="16430">
                  <c:v>34143</c:v>
                </c:pt>
                <c:pt idx="16431">
                  <c:v>34144</c:v>
                </c:pt>
                <c:pt idx="16432">
                  <c:v>34145</c:v>
                </c:pt>
                <c:pt idx="16433">
                  <c:v>34148</c:v>
                </c:pt>
                <c:pt idx="16434">
                  <c:v>34149</c:v>
                </c:pt>
                <c:pt idx="16435">
                  <c:v>34150</c:v>
                </c:pt>
                <c:pt idx="16436">
                  <c:v>34151</c:v>
                </c:pt>
                <c:pt idx="16437">
                  <c:v>34152</c:v>
                </c:pt>
                <c:pt idx="16438">
                  <c:v>34156</c:v>
                </c:pt>
                <c:pt idx="16439">
                  <c:v>34157</c:v>
                </c:pt>
                <c:pt idx="16440">
                  <c:v>34158</c:v>
                </c:pt>
                <c:pt idx="16441">
                  <c:v>34159</c:v>
                </c:pt>
                <c:pt idx="16442">
                  <c:v>34162</c:v>
                </c:pt>
                <c:pt idx="16443">
                  <c:v>34163</c:v>
                </c:pt>
                <c:pt idx="16444">
                  <c:v>34164</c:v>
                </c:pt>
                <c:pt idx="16445">
                  <c:v>34165</c:v>
                </c:pt>
                <c:pt idx="16446">
                  <c:v>34166</c:v>
                </c:pt>
                <c:pt idx="16447">
                  <c:v>34169</c:v>
                </c:pt>
                <c:pt idx="16448">
                  <c:v>34170</c:v>
                </c:pt>
                <c:pt idx="16449">
                  <c:v>34171</c:v>
                </c:pt>
                <c:pt idx="16450">
                  <c:v>34172</c:v>
                </c:pt>
                <c:pt idx="16451">
                  <c:v>34173</c:v>
                </c:pt>
                <c:pt idx="16452">
                  <c:v>34176</c:v>
                </c:pt>
                <c:pt idx="16453">
                  <c:v>34177</c:v>
                </c:pt>
                <c:pt idx="16454">
                  <c:v>34178</c:v>
                </c:pt>
                <c:pt idx="16455">
                  <c:v>34179</c:v>
                </c:pt>
                <c:pt idx="16456">
                  <c:v>34180</c:v>
                </c:pt>
                <c:pt idx="16457">
                  <c:v>34183</c:v>
                </c:pt>
                <c:pt idx="16458">
                  <c:v>34184</c:v>
                </c:pt>
                <c:pt idx="16459">
                  <c:v>34185</c:v>
                </c:pt>
                <c:pt idx="16460">
                  <c:v>34186</c:v>
                </c:pt>
                <c:pt idx="16461">
                  <c:v>34187</c:v>
                </c:pt>
                <c:pt idx="16462">
                  <c:v>34190</c:v>
                </c:pt>
                <c:pt idx="16463">
                  <c:v>34191</c:v>
                </c:pt>
                <c:pt idx="16464">
                  <c:v>34192</c:v>
                </c:pt>
                <c:pt idx="16465">
                  <c:v>34193</c:v>
                </c:pt>
                <c:pt idx="16466">
                  <c:v>34194</c:v>
                </c:pt>
                <c:pt idx="16467">
                  <c:v>34197</c:v>
                </c:pt>
                <c:pt idx="16468">
                  <c:v>34198</c:v>
                </c:pt>
                <c:pt idx="16469">
                  <c:v>34199</c:v>
                </c:pt>
                <c:pt idx="16470">
                  <c:v>34200</c:v>
                </c:pt>
                <c:pt idx="16471">
                  <c:v>34201</c:v>
                </c:pt>
                <c:pt idx="16472">
                  <c:v>34204</c:v>
                </c:pt>
                <c:pt idx="16473">
                  <c:v>34205</c:v>
                </c:pt>
                <c:pt idx="16474">
                  <c:v>34206</c:v>
                </c:pt>
                <c:pt idx="16475">
                  <c:v>34207</c:v>
                </c:pt>
                <c:pt idx="16476">
                  <c:v>34208</c:v>
                </c:pt>
                <c:pt idx="16477">
                  <c:v>34211</c:v>
                </c:pt>
                <c:pt idx="16478">
                  <c:v>34212</c:v>
                </c:pt>
                <c:pt idx="16479">
                  <c:v>34213</c:v>
                </c:pt>
                <c:pt idx="16480">
                  <c:v>34214</c:v>
                </c:pt>
                <c:pt idx="16481">
                  <c:v>34215</c:v>
                </c:pt>
                <c:pt idx="16482">
                  <c:v>34219</c:v>
                </c:pt>
                <c:pt idx="16483">
                  <c:v>34220</c:v>
                </c:pt>
                <c:pt idx="16484">
                  <c:v>34221</c:v>
                </c:pt>
                <c:pt idx="16485">
                  <c:v>34222</c:v>
                </c:pt>
                <c:pt idx="16486">
                  <c:v>34225</c:v>
                </c:pt>
                <c:pt idx="16487">
                  <c:v>34226</c:v>
                </c:pt>
                <c:pt idx="16488">
                  <c:v>34227</c:v>
                </c:pt>
                <c:pt idx="16489">
                  <c:v>34228</c:v>
                </c:pt>
                <c:pt idx="16490">
                  <c:v>34229</c:v>
                </c:pt>
                <c:pt idx="16491">
                  <c:v>34232</c:v>
                </c:pt>
                <c:pt idx="16492">
                  <c:v>34233</c:v>
                </c:pt>
                <c:pt idx="16493">
                  <c:v>34234</c:v>
                </c:pt>
                <c:pt idx="16494">
                  <c:v>34235</c:v>
                </c:pt>
                <c:pt idx="16495">
                  <c:v>34236</c:v>
                </c:pt>
                <c:pt idx="16496">
                  <c:v>34239</c:v>
                </c:pt>
                <c:pt idx="16497">
                  <c:v>34240</c:v>
                </c:pt>
                <c:pt idx="16498">
                  <c:v>34241</c:v>
                </c:pt>
                <c:pt idx="16499">
                  <c:v>34242</c:v>
                </c:pt>
                <c:pt idx="16500">
                  <c:v>34243</c:v>
                </c:pt>
                <c:pt idx="16501">
                  <c:v>34246</c:v>
                </c:pt>
                <c:pt idx="16502">
                  <c:v>34247</c:v>
                </c:pt>
                <c:pt idx="16503">
                  <c:v>34248</c:v>
                </c:pt>
                <c:pt idx="16504">
                  <c:v>34249</c:v>
                </c:pt>
                <c:pt idx="16505">
                  <c:v>34250</c:v>
                </c:pt>
                <c:pt idx="16506">
                  <c:v>34253</c:v>
                </c:pt>
                <c:pt idx="16507">
                  <c:v>34254</c:v>
                </c:pt>
                <c:pt idx="16508">
                  <c:v>34255</c:v>
                </c:pt>
                <c:pt idx="16509">
                  <c:v>34256</c:v>
                </c:pt>
                <c:pt idx="16510">
                  <c:v>34257</c:v>
                </c:pt>
                <c:pt idx="16511">
                  <c:v>34260</c:v>
                </c:pt>
                <c:pt idx="16512">
                  <c:v>34261</c:v>
                </c:pt>
                <c:pt idx="16513">
                  <c:v>34262</c:v>
                </c:pt>
                <c:pt idx="16514">
                  <c:v>34263</c:v>
                </c:pt>
                <c:pt idx="16515">
                  <c:v>34264</c:v>
                </c:pt>
                <c:pt idx="16516">
                  <c:v>34267</c:v>
                </c:pt>
                <c:pt idx="16517">
                  <c:v>34268</c:v>
                </c:pt>
                <c:pt idx="16518">
                  <c:v>34269</c:v>
                </c:pt>
                <c:pt idx="16519">
                  <c:v>34270</c:v>
                </c:pt>
                <c:pt idx="16520">
                  <c:v>34271</c:v>
                </c:pt>
                <c:pt idx="16521">
                  <c:v>34274</c:v>
                </c:pt>
                <c:pt idx="16522">
                  <c:v>34275</c:v>
                </c:pt>
                <c:pt idx="16523">
                  <c:v>34276</c:v>
                </c:pt>
                <c:pt idx="16524">
                  <c:v>34277</c:v>
                </c:pt>
                <c:pt idx="16525">
                  <c:v>34278</c:v>
                </c:pt>
                <c:pt idx="16526">
                  <c:v>34281</c:v>
                </c:pt>
                <c:pt idx="16527">
                  <c:v>34282</c:v>
                </c:pt>
                <c:pt idx="16528">
                  <c:v>34283</c:v>
                </c:pt>
                <c:pt idx="16529">
                  <c:v>34284</c:v>
                </c:pt>
                <c:pt idx="16530">
                  <c:v>34285</c:v>
                </c:pt>
                <c:pt idx="16531">
                  <c:v>34288</c:v>
                </c:pt>
                <c:pt idx="16532">
                  <c:v>34289</c:v>
                </c:pt>
                <c:pt idx="16533">
                  <c:v>34290</c:v>
                </c:pt>
                <c:pt idx="16534">
                  <c:v>34291</c:v>
                </c:pt>
                <c:pt idx="16535">
                  <c:v>34292</c:v>
                </c:pt>
                <c:pt idx="16536">
                  <c:v>34295</c:v>
                </c:pt>
                <c:pt idx="16537">
                  <c:v>34296</c:v>
                </c:pt>
                <c:pt idx="16538">
                  <c:v>34297</c:v>
                </c:pt>
                <c:pt idx="16539">
                  <c:v>34299</c:v>
                </c:pt>
                <c:pt idx="16540">
                  <c:v>34302</c:v>
                </c:pt>
                <c:pt idx="16541">
                  <c:v>34303</c:v>
                </c:pt>
                <c:pt idx="16542">
                  <c:v>34304</c:v>
                </c:pt>
                <c:pt idx="16543">
                  <c:v>34305</c:v>
                </c:pt>
                <c:pt idx="16544">
                  <c:v>34306</c:v>
                </c:pt>
                <c:pt idx="16545">
                  <c:v>34309</c:v>
                </c:pt>
                <c:pt idx="16546">
                  <c:v>34310</c:v>
                </c:pt>
                <c:pt idx="16547">
                  <c:v>34311</c:v>
                </c:pt>
                <c:pt idx="16548">
                  <c:v>34312</c:v>
                </c:pt>
                <c:pt idx="16549">
                  <c:v>34313</c:v>
                </c:pt>
                <c:pt idx="16550">
                  <c:v>34316</c:v>
                </c:pt>
                <c:pt idx="16551">
                  <c:v>34317</c:v>
                </c:pt>
                <c:pt idx="16552">
                  <c:v>34318</c:v>
                </c:pt>
                <c:pt idx="16553">
                  <c:v>34319</c:v>
                </c:pt>
                <c:pt idx="16554">
                  <c:v>34320</c:v>
                </c:pt>
                <c:pt idx="16555">
                  <c:v>34323</c:v>
                </c:pt>
                <c:pt idx="16556">
                  <c:v>34324</c:v>
                </c:pt>
                <c:pt idx="16557">
                  <c:v>34325</c:v>
                </c:pt>
                <c:pt idx="16558">
                  <c:v>34326</c:v>
                </c:pt>
                <c:pt idx="16559">
                  <c:v>34330</c:v>
                </c:pt>
                <c:pt idx="16560">
                  <c:v>34331</c:v>
                </c:pt>
                <c:pt idx="16561">
                  <c:v>34332</c:v>
                </c:pt>
                <c:pt idx="16562">
                  <c:v>34333</c:v>
                </c:pt>
                <c:pt idx="16563">
                  <c:v>34334</c:v>
                </c:pt>
                <c:pt idx="16564">
                  <c:v>34337</c:v>
                </c:pt>
                <c:pt idx="16565">
                  <c:v>34338</c:v>
                </c:pt>
                <c:pt idx="16566">
                  <c:v>34339</c:v>
                </c:pt>
                <c:pt idx="16567">
                  <c:v>34340</c:v>
                </c:pt>
                <c:pt idx="16568">
                  <c:v>34341</c:v>
                </c:pt>
                <c:pt idx="16569">
                  <c:v>34344</c:v>
                </c:pt>
                <c:pt idx="16570">
                  <c:v>34345</c:v>
                </c:pt>
                <c:pt idx="16571">
                  <c:v>34346</c:v>
                </c:pt>
                <c:pt idx="16572">
                  <c:v>34347</c:v>
                </c:pt>
                <c:pt idx="16573">
                  <c:v>34348</c:v>
                </c:pt>
                <c:pt idx="16574">
                  <c:v>34351</c:v>
                </c:pt>
                <c:pt idx="16575">
                  <c:v>34352</c:v>
                </c:pt>
                <c:pt idx="16576">
                  <c:v>34353</c:v>
                </c:pt>
                <c:pt idx="16577">
                  <c:v>34354</c:v>
                </c:pt>
                <c:pt idx="16578">
                  <c:v>34355</c:v>
                </c:pt>
                <c:pt idx="16579">
                  <c:v>34358</c:v>
                </c:pt>
                <c:pt idx="16580">
                  <c:v>34359</c:v>
                </c:pt>
                <c:pt idx="16581">
                  <c:v>34360</c:v>
                </c:pt>
                <c:pt idx="16582">
                  <c:v>34361</c:v>
                </c:pt>
                <c:pt idx="16583">
                  <c:v>34362</c:v>
                </c:pt>
                <c:pt idx="16584">
                  <c:v>34365</c:v>
                </c:pt>
                <c:pt idx="16585">
                  <c:v>34366</c:v>
                </c:pt>
                <c:pt idx="16586">
                  <c:v>34367</c:v>
                </c:pt>
                <c:pt idx="16587">
                  <c:v>34368</c:v>
                </c:pt>
                <c:pt idx="16588">
                  <c:v>34369</c:v>
                </c:pt>
                <c:pt idx="16589">
                  <c:v>34372</c:v>
                </c:pt>
                <c:pt idx="16590">
                  <c:v>34373</c:v>
                </c:pt>
                <c:pt idx="16591">
                  <c:v>34374</c:v>
                </c:pt>
                <c:pt idx="16592">
                  <c:v>34375</c:v>
                </c:pt>
                <c:pt idx="16593">
                  <c:v>34376</c:v>
                </c:pt>
                <c:pt idx="16594">
                  <c:v>34379</c:v>
                </c:pt>
                <c:pt idx="16595">
                  <c:v>34380</c:v>
                </c:pt>
                <c:pt idx="16596">
                  <c:v>34381</c:v>
                </c:pt>
                <c:pt idx="16597">
                  <c:v>34382</c:v>
                </c:pt>
                <c:pt idx="16598">
                  <c:v>34383</c:v>
                </c:pt>
                <c:pt idx="16599">
                  <c:v>34387</c:v>
                </c:pt>
                <c:pt idx="16600">
                  <c:v>34388</c:v>
                </c:pt>
                <c:pt idx="16601">
                  <c:v>34389</c:v>
                </c:pt>
                <c:pt idx="16602">
                  <c:v>34390</c:v>
                </c:pt>
                <c:pt idx="16603">
                  <c:v>34393</c:v>
                </c:pt>
                <c:pt idx="16604">
                  <c:v>34394</c:v>
                </c:pt>
                <c:pt idx="16605">
                  <c:v>34395</c:v>
                </c:pt>
                <c:pt idx="16606">
                  <c:v>34396</c:v>
                </c:pt>
                <c:pt idx="16607">
                  <c:v>34397</c:v>
                </c:pt>
                <c:pt idx="16608">
                  <c:v>34400</c:v>
                </c:pt>
                <c:pt idx="16609">
                  <c:v>34401</c:v>
                </c:pt>
                <c:pt idx="16610">
                  <c:v>34402</c:v>
                </c:pt>
                <c:pt idx="16611">
                  <c:v>34403</c:v>
                </c:pt>
                <c:pt idx="16612">
                  <c:v>34404</c:v>
                </c:pt>
                <c:pt idx="16613">
                  <c:v>34407</c:v>
                </c:pt>
                <c:pt idx="16614">
                  <c:v>34408</c:v>
                </c:pt>
                <c:pt idx="16615">
                  <c:v>34409</c:v>
                </c:pt>
                <c:pt idx="16616">
                  <c:v>34410</c:v>
                </c:pt>
                <c:pt idx="16617">
                  <c:v>34411</c:v>
                </c:pt>
                <c:pt idx="16618">
                  <c:v>34414</c:v>
                </c:pt>
                <c:pt idx="16619">
                  <c:v>34415</c:v>
                </c:pt>
                <c:pt idx="16620">
                  <c:v>34416</c:v>
                </c:pt>
                <c:pt idx="16621">
                  <c:v>34417</c:v>
                </c:pt>
                <c:pt idx="16622">
                  <c:v>34418</c:v>
                </c:pt>
                <c:pt idx="16623">
                  <c:v>34421</c:v>
                </c:pt>
                <c:pt idx="16624">
                  <c:v>34422</c:v>
                </c:pt>
                <c:pt idx="16625">
                  <c:v>34423</c:v>
                </c:pt>
                <c:pt idx="16626">
                  <c:v>34424</c:v>
                </c:pt>
                <c:pt idx="16627">
                  <c:v>34428</c:v>
                </c:pt>
                <c:pt idx="16628">
                  <c:v>34429</c:v>
                </c:pt>
                <c:pt idx="16629">
                  <c:v>34430</c:v>
                </c:pt>
                <c:pt idx="16630">
                  <c:v>34431</c:v>
                </c:pt>
                <c:pt idx="16631">
                  <c:v>34432</c:v>
                </c:pt>
                <c:pt idx="16632">
                  <c:v>34435</c:v>
                </c:pt>
                <c:pt idx="16633">
                  <c:v>34436</c:v>
                </c:pt>
                <c:pt idx="16634">
                  <c:v>34437</c:v>
                </c:pt>
                <c:pt idx="16635">
                  <c:v>34438</c:v>
                </c:pt>
                <c:pt idx="16636">
                  <c:v>34439</c:v>
                </c:pt>
                <c:pt idx="16637">
                  <c:v>34442</c:v>
                </c:pt>
                <c:pt idx="16638">
                  <c:v>34443</c:v>
                </c:pt>
                <c:pt idx="16639">
                  <c:v>34444</c:v>
                </c:pt>
                <c:pt idx="16640">
                  <c:v>34445</c:v>
                </c:pt>
                <c:pt idx="16641">
                  <c:v>34446</c:v>
                </c:pt>
                <c:pt idx="16642">
                  <c:v>34449</c:v>
                </c:pt>
                <c:pt idx="16643">
                  <c:v>34450</c:v>
                </c:pt>
                <c:pt idx="16644">
                  <c:v>34452</c:v>
                </c:pt>
                <c:pt idx="16645">
                  <c:v>34453</c:v>
                </c:pt>
                <c:pt idx="16646">
                  <c:v>34456</c:v>
                </c:pt>
                <c:pt idx="16647">
                  <c:v>34457</c:v>
                </c:pt>
                <c:pt idx="16648">
                  <c:v>34458</c:v>
                </c:pt>
                <c:pt idx="16649">
                  <c:v>34459</c:v>
                </c:pt>
                <c:pt idx="16650">
                  <c:v>34460</c:v>
                </c:pt>
                <c:pt idx="16651">
                  <c:v>34463</c:v>
                </c:pt>
                <c:pt idx="16652">
                  <c:v>34464</c:v>
                </c:pt>
                <c:pt idx="16653">
                  <c:v>34465</c:v>
                </c:pt>
                <c:pt idx="16654">
                  <c:v>34466</c:v>
                </c:pt>
                <c:pt idx="16655">
                  <c:v>34467</c:v>
                </c:pt>
                <c:pt idx="16656">
                  <c:v>34470</c:v>
                </c:pt>
                <c:pt idx="16657">
                  <c:v>34471</c:v>
                </c:pt>
                <c:pt idx="16658">
                  <c:v>34472</c:v>
                </c:pt>
                <c:pt idx="16659">
                  <c:v>34473</c:v>
                </c:pt>
                <c:pt idx="16660">
                  <c:v>34474</c:v>
                </c:pt>
                <c:pt idx="16661">
                  <c:v>34477</c:v>
                </c:pt>
                <c:pt idx="16662">
                  <c:v>34478</c:v>
                </c:pt>
                <c:pt idx="16663">
                  <c:v>34479</c:v>
                </c:pt>
                <c:pt idx="16664">
                  <c:v>34480</c:v>
                </c:pt>
                <c:pt idx="16665">
                  <c:v>34481</c:v>
                </c:pt>
                <c:pt idx="16666">
                  <c:v>34485</c:v>
                </c:pt>
                <c:pt idx="16667">
                  <c:v>34486</c:v>
                </c:pt>
                <c:pt idx="16668">
                  <c:v>34487</c:v>
                </c:pt>
                <c:pt idx="16669">
                  <c:v>34488</c:v>
                </c:pt>
                <c:pt idx="16670">
                  <c:v>34491</c:v>
                </c:pt>
                <c:pt idx="16671">
                  <c:v>34492</c:v>
                </c:pt>
                <c:pt idx="16672">
                  <c:v>34493</c:v>
                </c:pt>
                <c:pt idx="16673">
                  <c:v>34494</c:v>
                </c:pt>
                <c:pt idx="16674">
                  <c:v>34495</c:v>
                </c:pt>
                <c:pt idx="16675">
                  <c:v>34498</c:v>
                </c:pt>
                <c:pt idx="16676">
                  <c:v>34499</c:v>
                </c:pt>
                <c:pt idx="16677">
                  <c:v>34500</c:v>
                </c:pt>
                <c:pt idx="16678">
                  <c:v>34501</c:v>
                </c:pt>
                <c:pt idx="16679">
                  <c:v>34502</c:v>
                </c:pt>
                <c:pt idx="16680">
                  <c:v>34505</c:v>
                </c:pt>
                <c:pt idx="16681">
                  <c:v>34506</c:v>
                </c:pt>
                <c:pt idx="16682">
                  <c:v>34507</c:v>
                </c:pt>
                <c:pt idx="16683">
                  <c:v>34508</c:v>
                </c:pt>
                <c:pt idx="16684">
                  <c:v>34509</c:v>
                </c:pt>
                <c:pt idx="16685">
                  <c:v>34512</c:v>
                </c:pt>
                <c:pt idx="16686">
                  <c:v>34513</c:v>
                </c:pt>
                <c:pt idx="16687">
                  <c:v>34514</c:v>
                </c:pt>
                <c:pt idx="16688">
                  <c:v>34515</c:v>
                </c:pt>
                <c:pt idx="16689">
                  <c:v>34516</c:v>
                </c:pt>
                <c:pt idx="16690">
                  <c:v>34520</c:v>
                </c:pt>
                <c:pt idx="16691">
                  <c:v>34521</c:v>
                </c:pt>
                <c:pt idx="16692">
                  <c:v>34522</c:v>
                </c:pt>
                <c:pt idx="16693">
                  <c:v>34523</c:v>
                </c:pt>
                <c:pt idx="16694">
                  <c:v>34526</c:v>
                </c:pt>
                <c:pt idx="16695">
                  <c:v>34527</c:v>
                </c:pt>
                <c:pt idx="16696">
                  <c:v>34528</c:v>
                </c:pt>
                <c:pt idx="16697">
                  <c:v>34529</c:v>
                </c:pt>
                <c:pt idx="16698">
                  <c:v>34530</c:v>
                </c:pt>
                <c:pt idx="16699">
                  <c:v>34533</c:v>
                </c:pt>
                <c:pt idx="16700">
                  <c:v>34534</c:v>
                </c:pt>
                <c:pt idx="16701">
                  <c:v>34535</c:v>
                </c:pt>
                <c:pt idx="16702">
                  <c:v>34536</c:v>
                </c:pt>
                <c:pt idx="16703">
                  <c:v>34537</c:v>
                </c:pt>
                <c:pt idx="16704">
                  <c:v>34540</c:v>
                </c:pt>
                <c:pt idx="16705">
                  <c:v>34541</c:v>
                </c:pt>
                <c:pt idx="16706">
                  <c:v>34542</c:v>
                </c:pt>
                <c:pt idx="16707">
                  <c:v>34543</c:v>
                </c:pt>
                <c:pt idx="16708">
                  <c:v>34544</c:v>
                </c:pt>
                <c:pt idx="16709">
                  <c:v>34547</c:v>
                </c:pt>
                <c:pt idx="16710">
                  <c:v>34548</c:v>
                </c:pt>
                <c:pt idx="16711">
                  <c:v>34549</c:v>
                </c:pt>
                <c:pt idx="16712">
                  <c:v>34550</c:v>
                </c:pt>
                <c:pt idx="16713">
                  <c:v>34551</c:v>
                </c:pt>
                <c:pt idx="16714">
                  <c:v>34554</c:v>
                </c:pt>
                <c:pt idx="16715">
                  <c:v>34555</c:v>
                </c:pt>
                <c:pt idx="16716">
                  <c:v>34556</c:v>
                </c:pt>
                <c:pt idx="16717">
                  <c:v>34557</c:v>
                </c:pt>
                <c:pt idx="16718">
                  <c:v>34558</c:v>
                </c:pt>
                <c:pt idx="16719">
                  <c:v>34561</c:v>
                </c:pt>
                <c:pt idx="16720">
                  <c:v>34562</c:v>
                </c:pt>
                <c:pt idx="16721">
                  <c:v>34563</c:v>
                </c:pt>
                <c:pt idx="16722">
                  <c:v>34564</c:v>
                </c:pt>
                <c:pt idx="16723">
                  <c:v>34565</c:v>
                </c:pt>
                <c:pt idx="16724">
                  <c:v>34568</c:v>
                </c:pt>
                <c:pt idx="16725">
                  <c:v>34569</c:v>
                </c:pt>
                <c:pt idx="16726">
                  <c:v>34570</c:v>
                </c:pt>
                <c:pt idx="16727">
                  <c:v>34571</c:v>
                </c:pt>
                <c:pt idx="16728">
                  <c:v>34572</c:v>
                </c:pt>
                <c:pt idx="16729">
                  <c:v>34575</c:v>
                </c:pt>
                <c:pt idx="16730">
                  <c:v>34576</c:v>
                </c:pt>
                <c:pt idx="16731">
                  <c:v>34577</c:v>
                </c:pt>
                <c:pt idx="16732">
                  <c:v>34578</c:v>
                </c:pt>
                <c:pt idx="16733">
                  <c:v>34579</c:v>
                </c:pt>
                <c:pt idx="16734">
                  <c:v>34583</c:v>
                </c:pt>
                <c:pt idx="16735">
                  <c:v>34584</c:v>
                </c:pt>
                <c:pt idx="16736">
                  <c:v>34585</c:v>
                </c:pt>
                <c:pt idx="16737">
                  <c:v>34586</c:v>
                </c:pt>
                <c:pt idx="16738">
                  <c:v>34589</c:v>
                </c:pt>
                <c:pt idx="16739">
                  <c:v>34590</c:v>
                </c:pt>
                <c:pt idx="16740">
                  <c:v>34591</c:v>
                </c:pt>
                <c:pt idx="16741">
                  <c:v>34592</c:v>
                </c:pt>
                <c:pt idx="16742">
                  <c:v>34593</c:v>
                </c:pt>
                <c:pt idx="16743">
                  <c:v>34596</c:v>
                </c:pt>
                <c:pt idx="16744">
                  <c:v>34597</c:v>
                </c:pt>
                <c:pt idx="16745">
                  <c:v>34598</c:v>
                </c:pt>
                <c:pt idx="16746">
                  <c:v>34599</c:v>
                </c:pt>
                <c:pt idx="16747">
                  <c:v>34600</c:v>
                </c:pt>
                <c:pt idx="16748">
                  <c:v>34603</c:v>
                </c:pt>
                <c:pt idx="16749">
                  <c:v>34604</c:v>
                </c:pt>
                <c:pt idx="16750">
                  <c:v>34605</c:v>
                </c:pt>
                <c:pt idx="16751">
                  <c:v>34606</c:v>
                </c:pt>
                <c:pt idx="16752">
                  <c:v>34607</c:v>
                </c:pt>
                <c:pt idx="16753">
                  <c:v>34610</c:v>
                </c:pt>
                <c:pt idx="16754">
                  <c:v>34611</c:v>
                </c:pt>
                <c:pt idx="16755">
                  <c:v>34612</c:v>
                </c:pt>
                <c:pt idx="16756">
                  <c:v>34613</c:v>
                </c:pt>
                <c:pt idx="16757">
                  <c:v>34614</c:v>
                </c:pt>
                <c:pt idx="16758">
                  <c:v>34617</c:v>
                </c:pt>
                <c:pt idx="16759">
                  <c:v>34618</c:v>
                </c:pt>
                <c:pt idx="16760">
                  <c:v>34619</c:v>
                </c:pt>
                <c:pt idx="16761">
                  <c:v>34620</c:v>
                </c:pt>
                <c:pt idx="16762">
                  <c:v>34621</c:v>
                </c:pt>
                <c:pt idx="16763">
                  <c:v>34624</c:v>
                </c:pt>
                <c:pt idx="16764">
                  <c:v>34625</c:v>
                </c:pt>
                <c:pt idx="16765">
                  <c:v>34626</c:v>
                </c:pt>
                <c:pt idx="16766">
                  <c:v>34627</c:v>
                </c:pt>
                <c:pt idx="16767">
                  <c:v>34628</c:v>
                </c:pt>
                <c:pt idx="16768">
                  <c:v>34631</c:v>
                </c:pt>
                <c:pt idx="16769">
                  <c:v>34632</c:v>
                </c:pt>
                <c:pt idx="16770">
                  <c:v>34633</c:v>
                </c:pt>
                <c:pt idx="16771">
                  <c:v>34634</c:v>
                </c:pt>
                <c:pt idx="16772">
                  <c:v>34635</c:v>
                </c:pt>
                <c:pt idx="16773">
                  <c:v>34638</c:v>
                </c:pt>
                <c:pt idx="16774">
                  <c:v>34639</c:v>
                </c:pt>
                <c:pt idx="16775">
                  <c:v>34640</c:v>
                </c:pt>
                <c:pt idx="16776">
                  <c:v>34641</c:v>
                </c:pt>
                <c:pt idx="16777">
                  <c:v>34642</c:v>
                </c:pt>
                <c:pt idx="16778">
                  <c:v>34645</c:v>
                </c:pt>
                <c:pt idx="16779">
                  <c:v>34646</c:v>
                </c:pt>
                <c:pt idx="16780">
                  <c:v>34647</c:v>
                </c:pt>
                <c:pt idx="16781">
                  <c:v>34648</c:v>
                </c:pt>
                <c:pt idx="16782">
                  <c:v>34649</c:v>
                </c:pt>
                <c:pt idx="16783">
                  <c:v>34652</c:v>
                </c:pt>
                <c:pt idx="16784">
                  <c:v>34653</c:v>
                </c:pt>
                <c:pt idx="16785">
                  <c:v>34654</c:v>
                </c:pt>
                <c:pt idx="16786">
                  <c:v>34655</c:v>
                </c:pt>
                <c:pt idx="16787">
                  <c:v>34656</c:v>
                </c:pt>
                <c:pt idx="16788">
                  <c:v>34659</c:v>
                </c:pt>
                <c:pt idx="16789">
                  <c:v>34660</c:v>
                </c:pt>
                <c:pt idx="16790">
                  <c:v>34661</c:v>
                </c:pt>
                <c:pt idx="16791">
                  <c:v>34663</c:v>
                </c:pt>
                <c:pt idx="16792">
                  <c:v>34666</c:v>
                </c:pt>
                <c:pt idx="16793">
                  <c:v>34667</c:v>
                </c:pt>
                <c:pt idx="16794">
                  <c:v>34668</c:v>
                </c:pt>
                <c:pt idx="16795">
                  <c:v>34669</c:v>
                </c:pt>
                <c:pt idx="16796">
                  <c:v>34670</c:v>
                </c:pt>
                <c:pt idx="16797">
                  <c:v>34673</c:v>
                </c:pt>
                <c:pt idx="16798">
                  <c:v>34674</c:v>
                </c:pt>
                <c:pt idx="16799">
                  <c:v>34675</c:v>
                </c:pt>
                <c:pt idx="16800">
                  <c:v>34676</c:v>
                </c:pt>
                <c:pt idx="16801">
                  <c:v>34677</c:v>
                </c:pt>
                <c:pt idx="16802">
                  <c:v>34680</c:v>
                </c:pt>
                <c:pt idx="16803">
                  <c:v>34681</c:v>
                </c:pt>
                <c:pt idx="16804">
                  <c:v>34682</c:v>
                </c:pt>
                <c:pt idx="16805">
                  <c:v>34683</c:v>
                </c:pt>
                <c:pt idx="16806">
                  <c:v>34684</c:v>
                </c:pt>
                <c:pt idx="16807">
                  <c:v>34687</c:v>
                </c:pt>
                <c:pt idx="16808">
                  <c:v>34688</c:v>
                </c:pt>
                <c:pt idx="16809">
                  <c:v>34689</c:v>
                </c:pt>
                <c:pt idx="16810">
                  <c:v>34690</c:v>
                </c:pt>
                <c:pt idx="16811">
                  <c:v>34691</c:v>
                </c:pt>
                <c:pt idx="16812">
                  <c:v>34695</c:v>
                </c:pt>
                <c:pt idx="16813">
                  <c:v>34696</c:v>
                </c:pt>
                <c:pt idx="16814">
                  <c:v>34697</c:v>
                </c:pt>
                <c:pt idx="16815">
                  <c:v>34698</c:v>
                </c:pt>
                <c:pt idx="16816">
                  <c:v>34702</c:v>
                </c:pt>
                <c:pt idx="16817">
                  <c:v>34703</c:v>
                </c:pt>
                <c:pt idx="16818">
                  <c:v>34704</c:v>
                </c:pt>
                <c:pt idx="16819">
                  <c:v>34705</c:v>
                </c:pt>
                <c:pt idx="16820">
                  <c:v>34708</c:v>
                </c:pt>
                <c:pt idx="16821">
                  <c:v>34709</c:v>
                </c:pt>
                <c:pt idx="16822">
                  <c:v>34710</c:v>
                </c:pt>
                <c:pt idx="16823">
                  <c:v>34711</c:v>
                </c:pt>
                <c:pt idx="16824">
                  <c:v>34712</c:v>
                </c:pt>
                <c:pt idx="16825">
                  <c:v>34715</c:v>
                </c:pt>
                <c:pt idx="16826">
                  <c:v>34716</c:v>
                </c:pt>
                <c:pt idx="16827">
                  <c:v>34717</c:v>
                </c:pt>
                <c:pt idx="16828">
                  <c:v>34718</c:v>
                </c:pt>
                <c:pt idx="16829">
                  <c:v>34719</c:v>
                </c:pt>
                <c:pt idx="16830">
                  <c:v>34722</c:v>
                </c:pt>
                <c:pt idx="16831">
                  <c:v>34723</c:v>
                </c:pt>
                <c:pt idx="16832">
                  <c:v>34724</c:v>
                </c:pt>
                <c:pt idx="16833">
                  <c:v>34725</c:v>
                </c:pt>
                <c:pt idx="16834">
                  <c:v>34726</c:v>
                </c:pt>
                <c:pt idx="16835">
                  <c:v>34729</c:v>
                </c:pt>
                <c:pt idx="16836">
                  <c:v>34730</c:v>
                </c:pt>
                <c:pt idx="16837">
                  <c:v>34731</c:v>
                </c:pt>
                <c:pt idx="16838">
                  <c:v>34732</c:v>
                </c:pt>
                <c:pt idx="16839">
                  <c:v>34733</c:v>
                </c:pt>
                <c:pt idx="16840">
                  <c:v>34736</c:v>
                </c:pt>
                <c:pt idx="16841">
                  <c:v>34737</c:v>
                </c:pt>
                <c:pt idx="16842">
                  <c:v>34738</c:v>
                </c:pt>
                <c:pt idx="16843">
                  <c:v>34739</c:v>
                </c:pt>
                <c:pt idx="16844">
                  <c:v>34740</c:v>
                </c:pt>
                <c:pt idx="16845">
                  <c:v>34743</c:v>
                </c:pt>
                <c:pt idx="16846">
                  <c:v>34744</c:v>
                </c:pt>
                <c:pt idx="16847">
                  <c:v>34745</c:v>
                </c:pt>
                <c:pt idx="16848">
                  <c:v>34746</c:v>
                </c:pt>
                <c:pt idx="16849">
                  <c:v>34747</c:v>
                </c:pt>
                <c:pt idx="16850">
                  <c:v>34751</c:v>
                </c:pt>
                <c:pt idx="16851">
                  <c:v>34752</c:v>
                </c:pt>
                <c:pt idx="16852">
                  <c:v>34753</c:v>
                </c:pt>
                <c:pt idx="16853">
                  <c:v>34754</c:v>
                </c:pt>
                <c:pt idx="16854">
                  <c:v>34757</c:v>
                </c:pt>
                <c:pt idx="16855">
                  <c:v>34758</c:v>
                </c:pt>
                <c:pt idx="16856">
                  <c:v>34759</c:v>
                </c:pt>
                <c:pt idx="16857">
                  <c:v>34760</c:v>
                </c:pt>
                <c:pt idx="16858">
                  <c:v>34761</c:v>
                </c:pt>
                <c:pt idx="16859">
                  <c:v>34764</c:v>
                </c:pt>
                <c:pt idx="16860">
                  <c:v>34765</c:v>
                </c:pt>
                <c:pt idx="16861">
                  <c:v>34766</c:v>
                </c:pt>
                <c:pt idx="16862">
                  <c:v>34767</c:v>
                </c:pt>
                <c:pt idx="16863">
                  <c:v>34768</c:v>
                </c:pt>
                <c:pt idx="16864">
                  <c:v>34771</c:v>
                </c:pt>
                <c:pt idx="16865">
                  <c:v>34772</c:v>
                </c:pt>
                <c:pt idx="16866">
                  <c:v>34773</c:v>
                </c:pt>
                <c:pt idx="16867">
                  <c:v>34774</c:v>
                </c:pt>
                <c:pt idx="16868">
                  <c:v>34775</c:v>
                </c:pt>
                <c:pt idx="16869">
                  <c:v>34778</c:v>
                </c:pt>
                <c:pt idx="16870">
                  <c:v>34779</c:v>
                </c:pt>
                <c:pt idx="16871">
                  <c:v>34780</c:v>
                </c:pt>
                <c:pt idx="16872">
                  <c:v>34781</c:v>
                </c:pt>
                <c:pt idx="16873">
                  <c:v>34782</c:v>
                </c:pt>
                <c:pt idx="16874">
                  <c:v>34785</c:v>
                </c:pt>
                <c:pt idx="16875">
                  <c:v>34786</c:v>
                </c:pt>
                <c:pt idx="16876">
                  <c:v>34787</c:v>
                </c:pt>
                <c:pt idx="16877">
                  <c:v>34788</c:v>
                </c:pt>
                <c:pt idx="16878">
                  <c:v>34789</c:v>
                </c:pt>
                <c:pt idx="16879">
                  <c:v>34792</c:v>
                </c:pt>
                <c:pt idx="16880">
                  <c:v>34793</c:v>
                </c:pt>
                <c:pt idx="16881">
                  <c:v>34794</c:v>
                </c:pt>
                <c:pt idx="16882">
                  <c:v>34795</c:v>
                </c:pt>
                <c:pt idx="16883">
                  <c:v>34796</c:v>
                </c:pt>
                <c:pt idx="16884">
                  <c:v>34799</c:v>
                </c:pt>
                <c:pt idx="16885">
                  <c:v>34800</c:v>
                </c:pt>
                <c:pt idx="16886">
                  <c:v>34801</c:v>
                </c:pt>
                <c:pt idx="16887">
                  <c:v>34802</c:v>
                </c:pt>
                <c:pt idx="16888">
                  <c:v>34806</c:v>
                </c:pt>
                <c:pt idx="16889">
                  <c:v>34807</c:v>
                </c:pt>
                <c:pt idx="16890">
                  <c:v>34808</c:v>
                </c:pt>
                <c:pt idx="16891">
                  <c:v>34809</c:v>
                </c:pt>
                <c:pt idx="16892">
                  <c:v>34810</c:v>
                </c:pt>
                <c:pt idx="16893">
                  <c:v>34813</c:v>
                </c:pt>
                <c:pt idx="16894">
                  <c:v>34814</c:v>
                </c:pt>
                <c:pt idx="16895">
                  <c:v>34815</c:v>
                </c:pt>
                <c:pt idx="16896">
                  <c:v>34816</c:v>
                </c:pt>
                <c:pt idx="16897">
                  <c:v>34817</c:v>
                </c:pt>
                <c:pt idx="16898">
                  <c:v>34820</c:v>
                </c:pt>
                <c:pt idx="16899">
                  <c:v>34821</c:v>
                </c:pt>
                <c:pt idx="16900">
                  <c:v>34822</c:v>
                </c:pt>
                <c:pt idx="16901">
                  <c:v>34823</c:v>
                </c:pt>
                <c:pt idx="16902">
                  <c:v>34824</c:v>
                </c:pt>
                <c:pt idx="16903">
                  <c:v>34827</c:v>
                </c:pt>
                <c:pt idx="16904">
                  <c:v>34828</c:v>
                </c:pt>
                <c:pt idx="16905">
                  <c:v>34829</c:v>
                </c:pt>
                <c:pt idx="16906">
                  <c:v>34830</c:v>
                </c:pt>
                <c:pt idx="16907">
                  <c:v>34831</c:v>
                </c:pt>
                <c:pt idx="16908">
                  <c:v>34834</c:v>
                </c:pt>
                <c:pt idx="16909">
                  <c:v>34835</c:v>
                </c:pt>
                <c:pt idx="16910">
                  <c:v>34836</c:v>
                </c:pt>
                <c:pt idx="16911">
                  <c:v>34837</c:v>
                </c:pt>
                <c:pt idx="16912">
                  <c:v>34838</c:v>
                </c:pt>
                <c:pt idx="16913">
                  <c:v>34841</c:v>
                </c:pt>
                <c:pt idx="16914">
                  <c:v>34842</c:v>
                </c:pt>
                <c:pt idx="16915">
                  <c:v>34843</c:v>
                </c:pt>
                <c:pt idx="16916">
                  <c:v>34844</c:v>
                </c:pt>
                <c:pt idx="16917">
                  <c:v>34845</c:v>
                </c:pt>
                <c:pt idx="16918">
                  <c:v>34849</c:v>
                </c:pt>
                <c:pt idx="16919">
                  <c:v>34850</c:v>
                </c:pt>
                <c:pt idx="16920">
                  <c:v>34851</c:v>
                </c:pt>
                <c:pt idx="16921">
                  <c:v>34852</c:v>
                </c:pt>
                <c:pt idx="16922">
                  <c:v>34855</c:v>
                </c:pt>
                <c:pt idx="16923">
                  <c:v>34856</c:v>
                </c:pt>
                <c:pt idx="16924">
                  <c:v>34857</c:v>
                </c:pt>
                <c:pt idx="16925">
                  <c:v>34858</c:v>
                </c:pt>
                <c:pt idx="16926">
                  <c:v>34859</c:v>
                </c:pt>
                <c:pt idx="16927">
                  <c:v>34862</c:v>
                </c:pt>
                <c:pt idx="16928">
                  <c:v>34863</c:v>
                </c:pt>
                <c:pt idx="16929">
                  <c:v>34864</c:v>
                </c:pt>
                <c:pt idx="16930">
                  <c:v>34865</c:v>
                </c:pt>
                <c:pt idx="16931">
                  <c:v>34866</c:v>
                </c:pt>
                <c:pt idx="16932">
                  <c:v>34869</c:v>
                </c:pt>
                <c:pt idx="16933">
                  <c:v>34870</c:v>
                </c:pt>
                <c:pt idx="16934">
                  <c:v>34871</c:v>
                </c:pt>
                <c:pt idx="16935">
                  <c:v>34872</c:v>
                </c:pt>
                <c:pt idx="16936">
                  <c:v>34873</c:v>
                </c:pt>
                <c:pt idx="16937">
                  <c:v>34876</c:v>
                </c:pt>
                <c:pt idx="16938">
                  <c:v>34877</c:v>
                </c:pt>
                <c:pt idx="16939">
                  <c:v>34878</c:v>
                </c:pt>
                <c:pt idx="16940">
                  <c:v>34879</c:v>
                </c:pt>
                <c:pt idx="16941">
                  <c:v>34880</c:v>
                </c:pt>
                <c:pt idx="16942">
                  <c:v>34883</c:v>
                </c:pt>
                <c:pt idx="16943">
                  <c:v>34885</c:v>
                </c:pt>
                <c:pt idx="16944">
                  <c:v>34886</c:v>
                </c:pt>
                <c:pt idx="16945">
                  <c:v>34887</c:v>
                </c:pt>
                <c:pt idx="16946">
                  <c:v>34890</c:v>
                </c:pt>
                <c:pt idx="16947">
                  <c:v>34891</c:v>
                </c:pt>
                <c:pt idx="16948">
                  <c:v>34892</c:v>
                </c:pt>
                <c:pt idx="16949">
                  <c:v>34893</c:v>
                </c:pt>
                <c:pt idx="16950">
                  <c:v>34894</c:v>
                </c:pt>
                <c:pt idx="16951">
                  <c:v>34897</c:v>
                </c:pt>
                <c:pt idx="16952">
                  <c:v>34898</c:v>
                </c:pt>
                <c:pt idx="16953">
                  <c:v>34899</c:v>
                </c:pt>
                <c:pt idx="16954">
                  <c:v>34900</c:v>
                </c:pt>
                <c:pt idx="16955">
                  <c:v>34901</c:v>
                </c:pt>
                <c:pt idx="16956">
                  <c:v>34904</c:v>
                </c:pt>
                <c:pt idx="16957">
                  <c:v>34905</c:v>
                </c:pt>
                <c:pt idx="16958">
                  <c:v>34906</c:v>
                </c:pt>
                <c:pt idx="16959">
                  <c:v>34907</c:v>
                </c:pt>
                <c:pt idx="16960">
                  <c:v>34908</c:v>
                </c:pt>
                <c:pt idx="16961">
                  <c:v>34911</c:v>
                </c:pt>
                <c:pt idx="16962">
                  <c:v>34912</c:v>
                </c:pt>
                <c:pt idx="16963">
                  <c:v>34913</c:v>
                </c:pt>
                <c:pt idx="16964">
                  <c:v>34914</c:v>
                </c:pt>
                <c:pt idx="16965">
                  <c:v>34915</c:v>
                </c:pt>
                <c:pt idx="16966">
                  <c:v>34918</c:v>
                </c:pt>
                <c:pt idx="16967">
                  <c:v>34919</c:v>
                </c:pt>
                <c:pt idx="16968">
                  <c:v>34920</c:v>
                </c:pt>
                <c:pt idx="16969">
                  <c:v>34921</c:v>
                </c:pt>
                <c:pt idx="16970">
                  <c:v>34922</c:v>
                </c:pt>
                <c:pt idx="16971">
                  <c:v>34925</c:v>
                </c:pt>
                <c:pt idx="16972">
                  <c:v>34926</c:v>
                </c:pt>
                <c:pt idx="16973">
                  <c:v>34927</c:v>
                </c:pt>
                <c:pt idx="16974">
                  <c:v>34928</c:v>
                </c:pt>
                <c:pt idx="16975">
                  <c:v>34929</c:v>
                </c:pt>
                <c:pt idx="16976">
                  <c:v>34932</c:v>
                </c:pt>
                <c:pt idx="16977">
                  <c:v>34933</c:v>
                </c:pt>
                <c:pt idx="16978">
                  <c:v>34934</c:v>
                </c:pt>
                <c:pt idx="16979">
                  <c:v>34935</c:v>
                </c:pt>
                <c:pt idx="16980">
                  <c:v>34936</c:v>
                </c:pt>
                <c:pt idx="16981">
                  <c:v>34939</c:v>
                </c:pt>
                <c:pt idx="16982">
                  <c:v>34940</c:v>
                </c:pt>
                <c:pt idx="16983">
                  <c:v>34941</c:v>
                </c:pt>
                <c:pt idx="16984">
                  <c:v>34942</c:v>
                </c:pt>
                <c:pt idx="16985">
                  <c:v>34943</c:v>
                </c:pt>
                <c:pt idx="16986">
                  <c:v>34947</c:v>
                </c:pt>
                <c:pt idx="16987">
                  <c:v>34948</c:v>
                </c:pt>
                <c:pt idx="16988">
                  <c:v>34949</c:v>
                </c:pt>
                <c:pt idx="16989">
                  <c:v>34950</c:v>
                </c:pt>
                <c:pt idx="16990">
                  <c:v>34953</c:v>
                </c:pt>
                <c:pt idx="16991">
                  <c:v>34954</c:v>
                </c:pt>
                <c:pt idx="16992">
                  <c:v>34955</c:v>
                </c:pt>
                <c:pt idx="16993">
                  <c:v>34956</c:v>
                </c:pt>
                <c:pt idx="16994">
                  <c:v>34957</c:v>
                </c:pt>
                <c:pt idx="16995">
                  <c:v>34960</c:v>
                </c:pt>
                <c:pt idx="16996">
                  <c:v>34961</c:v>
                </c:pt>
                <c:pt idx="16997">
                  <c:v>34962</c:v>
                </c:pt>
                <c:pt idx="16998">
                  <c:v>34963</c:v>
                </c:pt>
                <c:pt idx="16999">
                  <c:v>34964</c:v>
                </c:pt>
                <c:pt idx="17000">
                  <c:v>34967</c:v>
                </c:pt>
                <c:pt idx="17001">
                  <c:v>34968</c:v>
                </c:pt>
                <c:pt idx="17002">
                  <c:v>34969</c:v>
                </c:pt>
                <c:pt idx="17003">
                  <c:v>34970</c:v>
                </c:pt>
                <c:pt idx="17004">
                  <c:v>34971</c:v>
                </c:pt>
                <c:pt idx="17005">
                  <c:v>34974</c:v>
                </c:pt>
                <c:pt idx="17006">
                  <c:v>34975</c:v>
                </c:pt>
                <c:pt idx="17007">
                  <c:v>34976</c:v>
                </c:pt>
                <c:pt idx="17008">
                  <c:v>34977</c:v>
                </c:pt>
                <c:pt idx="17009">
                  <c:v>34978</c:v>
                </c:pt>
                <c:pt idx="17010">
                  <c:v>34981</c:v>
                </c:pt>
                <c:pt idx="17011">
                  <c:v>34982</c:v>
                </c:pt>
                <c:pt idx="17012">
                  <c:v>34983</c:v>
                </c:pt>
                <c:pt idx="17013">
                  <c:v>34984</c:v>
                </c:pt>
                <c:pt idx="17014">
                  <c:v>34985</c:v>
                </c:pt>
                <c:pt idx="17015">
                  <c:v>34988</c:v>
                </c:pt>
                <c:pt idx="17016">
                  <c:v>34989</c:v>
                </c:pt>
                <c:pt idx="17017">
                  <c:v>34990</c:v>
                </c:pt>
                <c:pt idx="17018">
                  <c:v>34991</c:v>
                </c:pt>
                <c:pt idx="17019">
                  <c:v>34992</c:v>
                </c:pt>
                <c:pt idx="17020">
                  <c:v>34995</c:v>
                </c:pt>
                <c:pt idx="17021">
                  <c:v>34996</c:v>
                </c:pt>
                <c:pt idx="17022">
                  <c:v>34997</c:v>
                </c:pt>
                <c:pt idx="17023">
                  <c:v>34998</c:v>
                </c:pt>
                <c:pt idx="17024">
                  <c:v>34999</c:v>
                </c:pt>
                <c:pt idx="17025">
                  <c:v>35002</c:v>
                </c:pt>
                <c:pt idx="17026">
                  <c:v>35003</c:v>
                </c:pt>
                <c:pt idx="17027">
                  <c:v>35004</c:v>
                </c:pt>
                <c:pt idx="17028">
                  <c:v>35005</c:v>
                </c:pt>
                <c:pt idx="17029">
                  <c:v>35006</c:v>
                </c:pt>
                <c:pt idx="17030">
                  <c:v>35009</c:v>
                </c:pt>
                <c:pt idx="17031">
                  <c:v>35010</c:v>
                </c:pt>
                <c:pt idx="17032">
                  <c:v>35011</c:v>
                </c:pt>
                <c:pt idx="17033">
                  <c:v>35012</c:v>
                </c:pt>
                <c:pt idx="17034">
                  <c:v>35013</c:v>
                </c:pt>
                <c:pt idx="17035">
                  <c:v>35016</c:v>
                </c:pt>
                <c:pt idx="17036">
                  <c:v>35017</c:v>
                </c:pt>
                <c:pt idx="17037">
                  <c:v>35018</c:v>
                </c:pt>
                <c:pt idx="17038">
                  <c:v>35019</c:v>
                </c:pt>
                <c:pt idx="17039">
                  <c:v>35020</c:v>
                </c:pt>
                <c:pt idx="17040">
                  <c:v>35023</c:v>
                </c:pt>
                <c:pt idx="17041">
                  <c:v>35024</c:v>
                </c:pt>
                <c:pt idx="17042">
                  <c:v>35025</c:v>
                </c:pt>
                <c:pt idx="17043">
                  <c:v>35027</c:v>
                </c:pt>
                <c:pt idx="17044">
                  <c:v>35030</c:v>
                </c:pt>
                <c:pt idx="17045">
                  <c:v>35031</c:v>
                </c:pt>
                <c:pt idx="17046">
                  <c:v>35032</c:v>
                </c:pt>
                <c:pt idx="17047">
                  <c:v>35033</c:v>
                </c:pt>
                <c:pt idx="17048">
                  <c:v>35034</c:v>
                </c:pt>
                <c:pt idx="17049">
                  <c:v>35037</c:v>
                </c:pt>
                <c:pt idx="17050">
                  <c:v>35038</c:v>
                </c:pt>
                <c:pt idx="17051">
                  <c:v>35039</c:v>
                </c:pt>
                <c:pt idx="17052">
                  <c:v>35040</c:v>
                </c:pt>
                <c:pt idx="17053">
                  <c:v>35041</c:v>
                </c:pt>
                <c:pt idx="17054">
                  <c:v>35044</c:v>
                </c:pt>
                <c:pt idx="17055">
                  <c:v>35045</c:v>
                </c:pt>
                <c:pt idx="17056">
                  <c:v>35046</c:v>
                </c:pt>
                <c:pt idx="17057">
                  <c:v>35047</c:v>
                </c:pt>
                <c:pt idx="17058">
                  <c:v>35048</c:v>
                </c:pt>
                <c:pt idx="17059">
                  <c:v>35051</c:v>
                </c:pt>
                <c:pt idx="17060">
                  <c:v>35052</c:v>
                </c:pt>
                <c:pt idx="17061">
                  <c:v>35053</c:v>
                </c:pt>
                <c:pt idx="17062">
                  <c:v>35054</c:v>
                </c:pt>
                <c:pt idx="17063">
                  <c:v>35055</c:v>
                </c:pt>
                <c:pt idx="17064">
                  <c:v>35059</c:v>
                </c:pt>
                <c:pt idx="17065">
                  <c:v>35060</c:v>
                </c:pt>
                <c:pt idx="17066">
                  <c:v>35061</c:v>
                </c:pt>
                <c:pt idx="17067">
                  <c:v>35062</c:v>
                </c:pt>
                <c:pt idx="17068">
                  <c:v>35066</c:v>
                </c:pt>
                <c:pt idx="17069">
                  <c:v>35067</c:v>
                </c:pt>
                <c:pt idx="17070">
                  <c:v>35068</c:v>
                </c:pt>
                <c:pt idx="17071">
                  <c:v>35069</c:v>
                </c:pt>
                <c:pt idx="17072">
                  <c:v>35072</c:v>
                </c:pt>
                <c:pt idx="17073">
                  <c:v>35073</c:v>
                </c:pt>
                <c:pt idx="17074">
                  <c:v>35074</c:v>
                </c:pt>
                <c:pt idx="17075">
                  <c:v>35075</c:v>
                </c:pt>
                <c:pt idx="17076">
                  <c:v>35076</c:v>
                </c:pt>
                <c:pt idx="17077">
                  <c:v>35079</c:v>
                </c:pt>
                <c:pt idx="17078">
                  <c:v>35080</c:v>
                </c:pt>
                <c:pt idx="17079">
                  <c:v>35081</c:v>
                </c:pt>
                <c:pt idx="17080">
                  <c:v>35082</c:v>
                </c:pt>
                <c:pt idx="17081">
                  <c:v>35083</c:v>
                </c:pt>
                <c:pt idx="17082">
                  <c:v>35086</c:v>
                </c:pt>
                <c:pt idx="17083">
                  <c:v>35087</c:v>
                </c:pt>
                <c:pt idx="17084">
                  <c:v>35088</c:v>
                </c:pt>
                <c:pt idx="17085">
                  <c:v>35089</c:v>
                </c:pt>
                <c:pt idx="17086">
                  <c:v>35090</c:v>
                </c:pt>
                <c:pt idx="17087">
                  <c:v>35093</c:v>
                </c:pt>
                <c:pt idx="17088">
                  <c:v>35094</c:v>
                </c:pt>
                <c:pt idx="17089">
                  <c:v>35095</c:v>
                </c:pt>
                <c:pt idx="17090">
                  <c:v>35096</c:v>
                </c:pt>
                <c:pt idx="17091">
                  <c:v>35097</c:v>
                </c:pt>
                <c:pt idx="17092">
                  <c:v>35100</c:v>
                </c:pt>
                <c:pt idx="17093">
                  <c:v>35101</c:v>
                </c:pt>
                <c:pt idx="17094">
                  <c:v>35102</c:v>
                </c:pt>
                <c:pt idx="17095">
                  <c:v>35103</c:v>
                </c:pt>
                <c:pt idx="17096">
                  <c:v>35104</c:v>
                </c:pt>
                <c:pt idx="17097">
                  <c:v>35107</c:v>
                </c:pt>
                <c:pt idx="17098">
                  <c:v>35108</c:v>
                </c:pt>
                <c:pt idx="17099">
                  <c:v>35109</c:v>
                </c:pt>
                <c:pt idx="17100">
                  <c:v>35110</c:v>
                </c:pt>
                <c:pt idx="17101">
                  <c:v>35111</c:v>
                </c:pt>
                <c:pt idx="17102">
                  <c:v>35115</c:v>
                </c:pt>
                <c:pt idx="17103">
                  <c:v>35116</c:v>
                </c:pt>
                <c:pt idx="17104">
                  <c:v>35117</c:v>
                </c:pt>
                <c:pt idx="17105">
                  <c:v>35118</c:v>
                </c:pt>
                <c:pt idx="17106">
                  <c:v>35121</c:v>
                </c:pt>
                <c:pt idx="17107">
                  <c:v>35122</c:v>
                </c:pt>
                <c:pt idx="17108">
                  <c:v>35123</c:v>
                </c:pt>
                <c:pt idx="17109">
                  <c:v>35124</c:v>
                </c:pt>
                <c:pt idx="17110">
                  <c:v>35125</c:v>
                </c:pt>
                <c:pt idx="17111">
                  <c:v>35128</c:v>
                </c:pt>
                <c:pt idx="17112">
                  <c:v>35129</c:v>
                </c:pt>
                <c:pt idx="17113">
                  <c:v>35130</c:v>
                </c:pt>
                <c:pt idx="17114">
                  <c:v>35131</c:v>
                </c:pt>
                <c:pt idx="17115">
                  <c:v>35132</c:v>
                </c:pt>
                <c:pt idx="17116">
                  <c:v>35135</c:v>
                </c:pt>
                <c:pt idx="17117">
                  <c:v>35136</c:v>
                </c:pt>
                <c:pt idx="17118">
                  <c:v>35137</c:v>
                </c:pt>
                <c:pt idx="17119">
                  <c:v>35138</c:v>
                </c:pt>
                <c:pt idx="17120">
                  <c:v>35139</c:v>
                </c:pt>
                <c:pt idx="17121">
                  <c:v>35142</c:v>
                </c:pt>
                <c:pt idx="17122">
                  <c:v>35143</c:v>
                </c:pt>
                <c:pt idx="17123">
                  <c:v>35144</c:v>
                </c:pt>
                <c:pt idx="17124">
                  <c:v>35145</c:v>
                </c:pt>
                <c:pt idx="17125">
                  <c:v>35146</c:v>
                </c:pt>
                <c:pt idx="17126">
                  <c:v>35149</c:v>
                </c:pt>
                <c:pt idx="17127">
                  <c:v>35150</c:v>
                </c:pt>
                <c:pt idx="17128">
                  <c:v>35151</c:v>
                </c:pt>
                <c:pt idx="17129">
                  <c:v>35152</c:v>
                </c:pt>
                <c:pt idx="17130">
                  <c:v>35153</c:v>
                </c:pt>
                <c:pt idx="17131">
                  <c:v>35156</c:v>
                </c:pt>
                <c:pt idx="17132">
                  <c:v>35157</c:v>
                </c:pt>
                <c:pt idx="17133">
                  <c:v>35158</c:v>
                </c:pt>
                <c:pt idx="17134">
                  <c:v>35159</c:v>
                </c:pt>
                <c:pt idx="17135">
                  <c:v>35163</c:v>
                </c:pt>
                <c:pt idx="17136">
                  <c:v>35164</c:v>
                </c:pt>
                <c:pt idx="17137">
                  <c:v>35165</c:v>
                </c:pt>
                <c:pt idx="17138">
                  <c:v>35166</c:v>
                </c:pt>
                <c:pt idx="17139">
                  <c:v>35167</c:v>
                </c:pt>
                <c:pt idx="17140">
                  <c:v>35170</c:v>
                </c:pt>
                <c:pt idx="17141">
                  <c:v>35171</c:v>
                </c:pt>
                <c:pt idx="17142">
                  <c:v>35172</c:v>
                </c:pt>
                <c:pt idx="17143">
                  <c:v>35173</c:v>
                </c:pt>
                <c:pt idx="17144">
                  <c:v>35174</c:v>
                </c:pt>
                <c:pt idx="17145">
                  <c:v>35177</c:v>
                </c:pt>
                <c:pt idx="17146">
                  <c:v>35178</c:v>
                </c:pt>
                <c:pt idx="17147">
                  <c:v>35179</c:v>
                </c:pt>
                <c:pt idx="17148">
                  <c:v>35180</c:v>
                </c:pt>
                <c:pt idx="17149">
                  <c:v>35181</c:v>
                </c:pt>
                <c:pt idx="17150">
                  <c:v>35184</c:v>
                </c:pt>
                <c:pt idx="17151">
                  <c:v>35185</c:v>
                </c:pt>
                <c:pt idx="17152">
                  <c:v>35186</c:v>
                </c:pt>
                <c:pt idx="17153">
                  <c:v>35187</c:v>
                </c:pt>
                <c:pt idx="17154">
                  <c:v>35188</c:v>
                </c:pt>
                <c:pt idx="17155">
                  <c:v>35191</c:v>
                </c:pt>
                <c:pt idx="17156">
                  <c:v>35192</c:v>
                </c:pt>
                <c:pt idx="17157">
                  <c:v>35193</c:v>
                </c:pt>
                <c:pt idx="17158">
                  <c:v>35194</c:v>
                </c:pt>
                <c:pt idx="17159">
                  <c:v>35195</c:v>
                </c:pt>
                <c:pt idx="17160">
                  <c:v>35198</c:v>
                </c:pt>
                <c:pt idx="17161">
                  <c:v>35199</c:v>
                </c:pt>
                <c:pt idx="17162">
                  <c:v>35200</c:v>
                </c:pt>
                <c:pt idx="17163">
                  <c:v>35201</c:v>
                </c:pt>
                <c:pt idx="17164">
                  <c:v>35202</c:v>
                </c:pt>
                <c:pt idx="17165">
                  <c:v>35205</c:v>
                </c:pt>
                <c:pt idx="17166">
                  <c:v>35206</c:v>
                </c:pt>
                <c:pt idx="17167">
                  <c:v>35207</c:v>
                </c:pt>
                <c:pt idx="17168">
                  <c:v>35208</c:v>
                </c:pt>
                <c:pt idx="17169">
                  <c:v>35209</c:v>
                </c:pt>
                <c:pt idx="17170">
                  <c:v>35213</c:v>
                </c:pt>
                <c:pt idx="17171">
                  <c:v>35214</c:v>
                </c:pt>
                <c:pt idx="17172">
                  <c:v>35215</c:v>
                </c:pt>
                <c:pt idx="17173">
                  <c:v>35216</c:v>
                </c:pt>
                <c:pt idx="17174">
                  <c:v>35219</c:v>
                </c:pt>
                <c:pt idx="17175">
                  <c:v>35220</c:v>
                </c:pt>
                <c:pt idx="17176">
                  <c:v>35221</c:v>
                </c:pt>
                <c:pt idx="17177">
                  <c:v>35222</c:v>
                </c:pt>
                <c:pt idx="17178">
                  <c:v>35223</c:v>
                </c:pt>
                <c:pt idx="17179">
                  <c:v>35226</c:v>
                </c:pt>
                <c:pt idx="17180">
                  <c:v>35227</c:v>
                </c:pt>
                <c:pt idx="17181">
                  <c:v>35228</c:v>
                </c:pt>
                <c:pt idx="17182">
                  <c:v>35229</c:v>
                </c:pt>
                <c:pt idx="17183">
                  <c:v>35230</c:v>
                </c:pt>
                <c:pt idx="17184">
                  <c:v>35233</c:v>
                </c:pt>
                <c:pt idx="17185">
                  <c:v>35234</c:v>
                </c:pt>
                <c:pt idx="17186">
                  <c:v>35235</c:v>
                </c:pt>
                <c:pt idx="17187">
                  <c:v>35236</c:v>
                </c:pt>
                <c:pt idx="17188">
                  <c:v>35237</c:v>
                </c:pt>
                <c:pt idx="17189">
                  <c:v>35240</c:v>
                </c:pt>
                <c:pt idx="17190">
                  <c:v>35241</c:v>
                </c:pt>
                <c:pt idx="17191">
                  <c:v>35242</c:v>
                </c:pt>
                <c:pt idx="17192">
                  <c:v>35243</c:v>
                </c:pt>
                <c:pt idx="17193">
                  <c:v>35244</c:v>
                </c:pt>
                <c:pt idx="17194">
                  <c:v>35247</c:v>
                </c:pt>
                <c:pt idx="17195">
                  <c:v>35248</c:v>
                </c:pt>
                <c:pt idx="17196">
                  <c:v>35249</c:v>
                </c:pt>
                <c:pt idx="17197">
                  <c:v>35251</c:v>
                </c:pt>
                <c:pt idx="17198">
                  <c:v>35254</c:v>
                </c:pt>
                <c:pt idx="17199">
                  <c:v>35255</c:v>
                </c:pt>
                <c:pt idx="17200">
                  <c:v>35256</c:v>
                </c:pt>
                <c:pt idx="17201">
                  <c:v>35257</c:v>
                </c:pt>
                <c:pt idx="17202">
                  <c:v>35258</c:v>
                </c:pt>
                <c:pt idx="17203">
                  <c:v>35261</c:v>
                </c:pt>
                <c:pt idx="17204">
                  <c:v>35262</c:v>
                </c:pt>
                <c:pt idx="17205">
                  <c:v>35263</c:v>
                </c:pt>
                <c:pt idx="17206">
                  <c:v>35264</c:v>
                </c:pt>
                <c:pt idx="17207">
                  <c:v>35265</c:v>
                </c:pt>
                <c:pt idx="17208">
                  <c:v>35268</c:v>
                </c:pt>
                <c:pt idx="17209">
                  <c:v>35269</c:v>
                </c:pt>
                <c:pt idx="17210">
                  <c:v>35270</c:v>
                </c:pt>
                <c:pt idx="17211">
                  <c:v>35271</c:v>
                </c:pt>
                <c:pt idx="17212">
                  <c:v>35272</c:v>
                </c:pt>
                <c:pt idx="17213">
                  <c:v>35275</c:v>
                </c:pt>
                <c:pt idx="17214">
                  <c:v>35276</c:v>
                </c:pt>
                <c:pt idx="17215">
                  <c:v>35277</c:v>
                </c:pt>
                <c:pt idx="17216">
                  <c:v>35278</c:v>
                </c:pt>
                <c:pt idx="17217">
                  <c:v>35279</c:v>
                </c:pt>
                <c:pt idx="17218">
                  <c:v>35282</c:v>
                </c:pt>
                <c:pt idx="17219">
                  <c:v>35283</c:v>
                </c:pt>
                <c:pt idx="17220">
                  <c:v>35284</c:v>
                </c:pt>
                <c:pt idx="17221">
                  <c:v>35285</c:v>
                </c:pt>
                <c:pt idx="17222">
                  <c:v>35286</c:v>
                </c:pt>
                <c:pt idx="17223">
                  <c:v>35289</c:v>
                </c:pt>
                <c:pt idx="17224">
                  <c:v>35290</c:v>
                </c:pt>
                <c:pt idx="17225">
                  <c:v>35291</c:v>
                </c:pt>
                <c:pt idx="17226">
                  <c:v>35292</c:v>
                </c:pt>
                <c:pt idx="17227">
                  <c:v>35293</c:v>
                </c:pt>
                <c:pt idx="17228">
                  <c:v>35296</c:v>
                </c:pt>
                <c:pt idx="17229">
                  <c:v>35297</c:v>
                </c:pt>
                <c:pt idx="17230">
                  <c:v>35298</c:v>
                </c:pt>
                <c:pt idx="17231">
                  <c:v>35299</c:v>
                </c:pt>
                <c:pt idx="17232">
                  <c:v>35300</c:v>
                </c:pt>
                <c:pt idx="17233">
                  <c:v>35303</c:v>
                </c:pt>
                <c:pt idx="17234">
                  <c:v>35304</c:v>
                </c:pt>
                <c:pt idx="17235">
                  <c:v>35305</c:v>
                </c:pt>
                <c:pt idx="17236">
                  <c:v>35306</c:v>
                </c:pt>
                <c:pt idx="17237">
                  <c:v>35307</c:v>
                </c:pt>
                <c:pt idx="17238">
                  <c:v>35311</c:v>
                </c:pt>
                <c:pt idx="17239">
                  <c:v>35312</c:v>
                </c:pt>
                <c:pt idx="17240">
                  <c:v>35313</c:v>
                </c:pt>
                <c:pt idx="17241">
                  <c:v>35314</c:v>
                </c:pt>
                <c:pt idx="17242">
                  <c:v>35317</c:v>
                </c:pt>
                <c:pt idx="17243">
                  <c:v>35318</c:v>
                </c:pt>
                <c:pt idx="17244">
                  <c:v>35319</c:v>
                </c:pt>
                <c:pt idx="17245">
                  <c:v>35320</c:v>
                </c:pt>
                <c:pt idx="17246">
                  <c:v>35321</c:v>
                </c:pt>
                <c:pt idx="17247">
                  <c:v>35324</c:v>
                </c:pt>
                <c:pt idx="17248">
                  <c:v>35325</c:v>
                </c:pt>
                <c:pt idx="17249">
                  <c:v>35326</c:v>
                </c:pt>
                <c:pt idx="17250">
                  <c:v>35327</c:v>
                </c:pt>
                <c:pt idx="17251">
                  <c:v>35328</c:v>
                </c:pt>
                <c:pt idx="17252">
                  <c:v>35331</c:v>
                </c:pt>
                <c:pt idx="17253">
                  <c:v>35332</c:v>
                </c:pt>
                <c:pt idx="17254">
                  <c:v>35333</c:v>
                </c:pt>
                <c:pt idx="17255">
                  <c:v>35334</c:v>
                </c:pt>
                <c:pt idx="17256">
                  <c:v>35335</c:v>
                </c:pt>
                <c:pt idx="17257">
                  <c:v>35338</c:v>
                </c:pt>
                <c:pt idx="17258">
                  <c:v>35339</c:v>
                </c:pt>
                <c:pt idx="17259">
                  <c:v>35340</c:v>
                </c:pt>
                <c:pt idx="17260">
                  <c:v>35341</c:v>
                </c:pt>
                <c:pt idx="17261">
                  <c:v>35342</c:v>
                </c:pt>
                <c:pt idx="17262">
                  <c:v>35345</c:v>
                </c:pt>
                <c:pt idx="17263">
                  <c:v>35346</c:v>
                </c:pt>
                <c:pt idx="17264">
                  <c:v>35347</c:v>
                </c:pt>
                <c:pt idx="17265">
                  <c:v>35348</c:v>
                </c:pt>
                <c:pt idx="17266">
                  <c:v>35349</c:v>
                </c:pt>
                <c:pt idx="17267">
                  <c:v>35352</c:v>
                </c:pt>
                <c:pt idx="17268">
                  <c:v>35353</c:v>
                </c:pt>
                <c:pt idx="17269">
                  <c:v>35354</c:v>
                </c:pt>
                <c:pt idx="17270">
                  <c:v>35355</c:v>
                </c:pt>
                <c:pt idx="17271">
                  <c:v>35356</c:v>
                </c:pt>
                <c:pt idx="17272">
                  <c:v>35359</c:v>
                </c:pt>
                <c:pt idx="17273">
                  <c:v>35360</c:v>
                </c:pt>
                <c:pt idx="17274">
                  <c:v>35361</c:v>
                </c:pt>
                <c:pt idx="17275">
                  <c:v>35362</c:v>
                </c:pt>
                <c:pt idx="17276">
                  <c:v>35363</c:v>
                </c:pt>
                <c:pt idx="17277">
                  <c:v>35366</c:v>
                </c:pt>
                <c:pt idx="17278">
                  <c:v>35367</c:v>
                </c:pt>
                <c:pt idx="17279">
                  <c:v>35368</c:v>
                </c:pt>
                <c:pt idx="17280">
                  <c:v>35369</c:v>
                </c:pt>
                <c:pt idx="17281">
                  <c:v>35370</c:v>
                </c:pt>
                <c:pt idx="17282">
                  <c:v>35373</c:v>
                </c:pt>
                <c:pt idx="17283">
                  <c:v>35374</c:v>
                </c:pt>
                <c:pt idx="17284">
                  <c:v>35375</c:v>
                </c:pt>
                <c:pt idx="17285">
                  <c:v>35376</c:v>
                </c:pt>
                <c:pt idx="17286">
                  <c:v>35377</c:v>
                </c:pt>
                <c:pt idx="17287">
                  <c:v>35380</c:v>
                </c:pt>
                <c:pt idx="17288">
                  <c:v>35381</c:v>
                </c:pt>
                <c:pt idx="17289">
                  <c:v>35382</c:v>
                </c:pt>
                <c:pt idx="17290">
                  <c:v>35383</c:v>
                </c:pt>
                <c:pt idx="17291">
                  <c:v>35384</c:v>
                </c:pt>
                <c:pt idx="17292">
                  <c:v>35387</c:v>
                </c:pt>
                <c:pt idx="17293">
                  <c:v>35388</c:v>
                </c:pt>
                <c:pt idx="17294">
                  <c:v>35389</c:v>
                </c:pt>
                <c:pt idx="17295">
                  <c:v>35390</c:v>
                </c:pt>
                <c:pt idx="17296">
                  <c:v>35391</c:v>
                </c:pt>
                <c:pt idx="17297">
                  <c:v>35394</c:v>
                </c:pt>
                <c:pt idx="17298">
                  <c:v>35395</c:v>
                </c:pt>
                <c:pt idx="17299">
                  <c:v>35396</c:v>
                </c:pt>
                <c:pt idx="17300">
                  <c:v>35398</c:v>
                </c:pt>
                <c:pt idx="17301">
                  <c:v>35401</c:v>
                </c:pt>
                <c:pt idx="17302">
                  <c:v>35402</c:v>
                </c:pt>
                <c:pt idx="17303">
                  <c:v>35403</c:v>
                </c:pt>
                <c:pt idx="17304">
                  <c:v>35404</c:v>
                </c:pt>
                <c:pt idx="17305">
                  <c:v>35405</c:v>
                </c:pt>
                <c:pt idx="17306">
                  <c:v>35408</c:v>
                </c:pt>
                <c:pt idx="17307">
                  <c:v>35409</c:v>
                </c:pt>
                <c:pt idx="17308">
                  <c:v>35410</c:v>
                </c:pt>
                <c:pt idx="17309">
                  <c:v>35411</c:v>
                </c:pt>
                <c:pt idx="17310">
                  <c:v>35412</c:v>
                </c:pt>
                <c:pt idx="17311">
                  <c:v>35415</c:v>
                </c:pt>
                <c:pt idx="17312">
                  <c:v>35416</c:v>
                </c:pt>
                <c:pt idx="17313">
                  <c:v>35417</c:v>
                </c:pt>
                <c:pt idx="17314">
                  <c:v>35418</c:v>
                </c:pt>
                <c:pt idx="17315">
                  <c:v>35419</c:v>
                </c:pt>
                <c:pt idx="17316">
                  <c:v>35422</c:v>
                </c:pt>
                <c:pt idx="17317">
                  <c:v>35423</c:v>
                </c:pt>
                <c:pt idx="17318">
                  <c:v>35425</c:v>
                </c:pt>
                <c:pt idx="17319">
                  <c:v>35426</c:v>
                </c:pt>
                <c:pt idx="17320">
                  <c:v>35429</c:v>
                </c:pt>
                <c:pt idx="17321">
                  <c:v>35430</c:v>
                </c:pt>
                <c:pt idx="17322">
                  <c:v>35432</c:v>
                </c:pt>
                <c:pt idx="17323">
                  <c:v>35433</c:v>
                </c:pt>
                <c:pt idx="17324">
                  <c:v>35436</c:v>
                </c:pt>
                <c:pt idx="17325">
                  <c:v>35437</c:v>
                </c:pt>
                <c:pt idx="17326">
                  <c:v>35438</c:v>
                </c:pt>
                <c:pt idx="17327">
                  <c:v>35439</c:v>
                </c:pt>
                <c:pt idx="17328">
                  <c:v>35440</c:v>
                </c:pt>
                <c:pt idx="17329">
                  <c:v>35443</c:v>
                </c:pt>
                <c:pt idx="17330">
                  <c:v>35444</c:v>
                </c:pt>
                <c:pt idx="17331">
                  <c:v>35445</c:v>
                </c:pt>
                <c:pt idx="17332">
                  <c:v>35446</c:v>
                </c:pt>
                <c:pt idx="17333">
                  <c:v>35447</c:v>
                </c:pt>
                <c:pt idx="17334">
                  <c:v>35450</c:v>
                </c:pt>
                <c:pt idx="17335">
                  <c:v>35451</c:v>
                </c:pt>
                <c:pt idx="17336">
                  <c:v>35452</c:v>
                </c:pt>
                <c:pt idx="17337">
                  <c:v>35453</c:v>
                </c:pt>
                <c:pt idx="17338">
                  <c:v>35454</c:v>
                </c:pt>
                <c:pt idx="17339">
                  <c:v>35457</c:v>
                </c:pt>
                <c:pt idx="17340">
                  <c:v>35458</c:v>
                </c:pt>
                <c:pt idx="17341">
                  <c:v>35459</c:v>
                </c:pt>
                <c:pt idx="17342">
                  <c:v>35460</c:v>
                </c:pt>
                <c:pt idx="17343">
                  <c:v>35461</c:v>
                </c:pt>
                <c:pt idx="17344">
                  <c:v>35464</c:v>
                </c:pt>
                <c:pt idx="17345">
                  <c:v>35465</c:v>
                </c:pt>
                <c:pt idx="17346">
                  <c:v>35466</c:v>
                </c:pt>
                <c:pt idx="17347">
                  <c:v>35467</c:v>
                </c:pt>
                <c:pt idx="17348">
                  <c:v>35468</c:v>
                </c:pt>
                <c:pt idx="17349">
                  <c:v>35471</c:v>
                </c:pt>
                <c:pt idx="17350">
                  <c:v>35472</c:v>
                </c:pt>
                <c:pt idx="17351">
                  <c:v>35473</c:v>
                </c:pt>
                <c:pt idx="17352">
                  <c:v>35474</c:v>
                </c:pt>
                <c:pt idx="17353">
                  <c:v>35475</c:v>
                </c:pt>
                <c:pt idx="17354">
                  <c:v>35479</c:v>
                </c:pt>
                <c:pt idx="17355">
                  <c:v>35480</c:v>
                </c:pt>
                <c:pt idx="17356">
                  <c:v>35481</c:v>
                </c:pt>
                <c:pt idx="17357">
                  <c:v>35482</c:v>
                </c:pt>
                <c:pt idx="17358">
                  <c:v>35485</c:v>
                </c:pt>
                <c:pt idx="17359">
                  <c:v>35486</c:v>
                </c:pt>
                <c:pt idx="17360">
                  <c:v>35487</c:v>
                </c:pt>
                <c:pt idx="17361">
                  <c:v>35488</c:v>
                </c:pt>
                <c:pt idx="17362">
                  <c:v>35489</c:v>
                </c:pt>
                <c:pt idx="17363">
                  <c:v>35492</c:v>
                </c:pt>
                <c:pt idx="17364">
                  <c:v>35493</c:v>
                </c:pt>
                <c:pt idx="17365">
                  <c:v>35494</c:v>
                </c:pt>
                <c:pt idx="17366">
                  <c:v>35495</c:v>
                </c:pt>
                <c:pt idx="17367">
                  <c:v>35496</c:v>
                </c:pt>
                <c:pt idx="17368">
                  <c:v>35499</c:v>
                </c:pt>
                <c:pt idx="17369">
                  <c:v>35500</c:v>
                </c:pt>
                <c:pt idx="17370">
                  <c:v>35501</c:v>
                </c:pt>
                <c:pt idx="17371">
                  <c:v>35502</c:v>
                </c:pt>
                <c:pt idx="17372">
                  <c:v>35503</c:v>
                </c:pt>
                <c:pt idx="17373">
                  <c:v>35506</c:v>
                </c:pt>
                <c:pt idx="17374">
                  <c:v>35507</c:v>
                </c:pt>
                <c:pt idx="17375">
                  <c:v>35508</c:v>
                </c:pt>
                <c:pt idx="17376">
                  <c:v>35509</c:v>
                </c:pt>
                <c:pt idx="17377">
                  <c:v>35510</c:v>
                </c:pt>
                <c:pt idx="17378">
                  <c:v>35513</c:v>
                </c:pt>
                <c:pt idx="17379">
                  <c:v>35514</c:v>
                </c:pt>
                <c:pt idx="17380">
                  <c:v>35515</c:v>
                </c:pt>
                <c:pt idx="17381">
                  <c:v>35516</c:v>
                </c:pt>
                <c:pt idx="17382">
                  <c:v>35520</c:v>
                </c:pt>
                <c:pt idx="17383">
                  <c:v>35521</c:v>
                </c:pt>
                <c:pt idx="17384">
                  <c:v>35522</c:v>
                </c:pt>
                <c:pt idx="17385">
                  <c:v>35523</c:v>
                </c:pt>
                <c:pt idx="17386">
                  <c:v>35524</c:v>
                </c:pt>
                <c:pt idx="17387">
                  <c:v>35527</c:v>
                </c:pt>
                <c:pt idx="17388">
                  <c:v>35528</c:v>
                </c:pt>
                <c:pt idx="17389">
                  <c:v>35529</c:v>
                </c:pt>
                <c:pt idx="17390">
                  <c:v>35530</c:v>
                </c:pt>
                <c:pt idx="17391">
                  <c:v>35531</c:v>
                </c:pt>
                <c:pt idx="17392">
                  <c:v>35534</c:v>
                </c:pt>
                <c:pt idx="17393">
                  <c:v>35535</c:v>
                </c:pt>
                <c:pt idx="17394">
                  <c:v>35536</c:v>
                </c:pt>
                <c:pt idx="17395">
                  <c:v>35537</c:v>
                </c:pt>
                <c:pt idx="17396">
                  <c:v>35538</c:v>
                </c:pt>
                <c:pt idx="17397">
                  <c:v>35541</c:v>
                </c:pt>
                <c:pt idx="17398">
                  <c:v>35542</c:v>
                </c:pt>
                <c:pt idx="17399">
                  <c:v>35543</c:v>
                </c:pt>
                <c:pt idx="17400">
                  <c:v>35544</c:v>
                </c:pt>
                <c:pt idx="17401">
                  <c:v>35545</c:v>
                </c:pt>
                <c:pt idx="17402">
                  <c:v>35548</c:v>
                </c:pt>
                <c:pt idx="17403">
                  <c:v>35549</c:v>
                </c:pt>
                <c:pt idx="17404">
                  <c:v>35550</c:v>
                </c:pt>
                <c:pt idx="17405">
                  <c:v>35551</c:v>
                </c:pt>
                <c:pt idx="17406">
                  <c:v>35552</c:v>
                </c:pt>
                <c:pt idx="17407">
                  <c:v>35555</c:v>
                </c:pt>
                <c:pt idx="17408">
                  <c:v>35556</c:v>
                </c:pt>
                <c:pt idx="17409">
                  <c:v>35557</c:v>
                </c:pt>
                <c:pt idx="17410">
                  <c:v>35558</c:v>
                </c:pt>
                <c:pt idx="17411">
                  <c:v>35559</c:v>
                </c:pt>
                <c:pt idx="17412">
                  <c:v>35562</c:v>
                </c:pt>
                <c:pt idx="17413">
                  <c:v>35563</c:v>
                </c:pt>
                <c:pt idx="17414">
                  <c:v>35564</c:v>
                </c:pt>
                <c:pt idx="17415">
                  <c:v>35565</c:v>
                </c:pt>
                <c:pt idx="17416">
                  <c:v>35566</c:v>
                </c:pt>
                <c:pt idx="17417">
                  <c:v>35569</c:v>
                </c:pt>
                <c:pt idx="17418">
                  <c:v>35570</c:v>
                </c:pt>
                <c:pt idx="17419">
                  <c:v>35571</c:v>
                </c:pt>
                <c:pt idx="17420">
                  <c:v>35572</c:v>
                </c:pt>
                <c:pt idx="17421">
                  <c:v>35573</c:v>
                </c:pt>
                <c:pt idx="17422">
                  <c:v>35577</c:v>
                </c:pt>
                <c:pt idx="17423">
                  <c:v>35578</c:v>
                </c:pt>
                <c:pt idx="17424">
                  <c:v>35579</c:v>
                </c:pt>
                <c:pt idx="17425">
                  <c:v>35580</c:v>
                </c:pt>
                <c:pt idx="17426">
                  <c:v>35583</c:v>
                </c:pt>
                <c:pt idx="17427">
                  <c:v>35584</c:v>
                </c:pt>
                <c:pt idx="17428">
                  <c:v>35585</c:v>
                </c:pt>
                <c:pt idx="17429">
                  <c:v>35586</c:v>
                </c:pt>
                <c:pt idx="17430">
                  <c:v>35587</c:v>
                </c:pt>
                <c:pt idx="17431">
                  <c:v>35590</c:v>
                </c:pt>
                <c:pt idx="17432">
                  <c:v>35591</c:v>
                </c:pt>
                <c:pt idx="17433">
                  <c:v>35592</c:v>
                </c:pt>
                <c:pt idx="17434">
                  <c:v>35593</c:v>
                </c:pt>
                <c:pt idx="17435">
                  <c:v>35594</c:v>
                </c:pt>
                <c:pt idx="17436">
                  <c:v>35597</c:v>
                </c:pt>
                <c:pt idx="17437">
                  <c:v>35598</c:v>
                </c:pt>
                <c:pt idx="17438">
                  <c:v>35599</c:v>
                </c:pt>
                <c:pt idx="17439">
                  <c:v>35600</c:v>
                </c:pt>
                <c:pt idx="17440">
                  <c:v>35601</c:v>
                </c:pt>
                <c:pt idx="17441">
                  <c:v>35604</c:v>
                </c:pt>
                <c:pt idx="17442">
                  <c:v>35605</c:v>
                </c:pt>
                <c:pt idx="17443">
                  <c:v>35606</c:v>
                </c:pt>
                <c:pt idx="17444">
                  <c:v>35607</c:v>
                </c:pt>
                <c:pt idx="17445">
                  <c:v>35608</c:v>
                </c:pt>
                <c:pt idx="17446">
                  <c:v>35611</c:v>
                </c:pt>
                <c:pt idx="17447">
                  <c:v>35612</c:v>
                </c:pt>
                <c:pt idx="17448">
                  <c:v>35613</c:v>
                </c:pt>
                <c:pt idx="17449">
                  <c:v>35614</c:v>
                </c:pt>
                <c:pt idx="17450">
                  <c:v>35618</c:v>
                </c:pt>
                <c:pt idx="17451">
                  <c:v>35619</c:v>
                </c:pt>
                <c:pt idx="17452">
                  <c:v>35620</c:v>
                </c:pt>
                <c:pt idx="17453">
                  <c:v>35621</c:v>
                </c:pt>
                <c:pt idx="17454">
                  <c:v>35622</c:v>
                </c:pt>
                <c:pt idx="17455">
                  <c:v>35625</c:v>
                </c:pt>
                <c:pt idx="17456">
                  <c:v>35626</c:v>
                </c:pt>
                <c:pt idx="17457">
                  <c:v>35627</c:v>
                </c:pt>
                <c:pt idx="17458">
                  <c:v>35628</c:v>
                </c:pt>
                <c:pt idx="17459">
                  <c:v>35629</c:v>
                </c:pt>
                <c:pt idx="17460">
                  <c:v>35632</c:v>
                </c:pt>
                <c:pt idx="17461">
                  <c:v>35633</c:v>
                </c:pt>
                <c:pt idx="17462">
                  <c:v>35634</c:v>
                </c:pt>
                <c:pt idx="17463">
                  <c:v>35635</c:v>
                </c:pt>
                <c:pt idx="17464">
                  <c:v>35636</c:v>
                </c:pt>
                <c:pt idx="17465">
                  <c:v>35639</c:v>
                </c:pt>
                <c:pt idx="17466">
                  <c:v>35640</c:v>
                </c:pt>
                <c:pt idx="17467">
                  <c:v>35641</c:v>
                </c:pt>
                <c:pt idx="17468">
                  <c:v>35642</c:v>
                </c:pt>
                <c:pt idx="17469">
                  <c:v>35643</c:v>
                </c:pt>
                <c:pt idx="17470">
                  <c:v>35646</c:v>
                </c:pt>
                <c:pt idx="17471">
                  <c:v>35647</c:v>
                </c:pt>
                <c:pt idx="17472">
                  <c:v>35648</c:v>
                </c:pt>
                <c:pt idx="17473">
                  <c:v>35649</c:v>
                </c:pt>
                <c:pt idx="17474">
                  <c:v>35650</c:v>
                </c:pt>
                <c:pt idx="17475">
                  <c:v>35653</c:v>
                </c:pt>
                <c:pt idx="17476">
                  <c:v>35654</c:v>
                </c:pt>
                <c:pt idx="17477">
                  <c:v>35655</c:v>
                </c:pt>
                <c:pt idx="17478">
                  <c:v>35656</c:v>
                </c:pt>
                <c:pt idx="17479">
                  <c:v>35657</c:v>
                </c:pt>
                <c:pt idx="17480">
                  <c:v>35660</c:v>
                </c:pt>
                <c:pt idx="17481">
                  <c:v>35661</c:v>
                </c:pt>
                <c:pt idx="17482">
                  <c:v>35662</c:v>
                </c:pt>
                <c:pt idx="17483">
                  <c:v>35663</c:v>
                </c:pt>
                <c:pt idx="17484">
                  <c:v>35664</c:v>
                </c:pt>
                <c:pt idx="17485">
                  <c:v>35667</c:v>
                </c:pt>
                <c:pt idx="17486">
                  <c:v>35668</c:v>
                </c:pt>
                <c:pt idx="17487">
                  <c:v>35669</c:v>
                </c:pt>
                <c:pt idx="17488">
                  <c:v>35670</c:v>
                </c:pt>
                <c:pt idx="17489">
                  <c:v>35671</c:v>
                </c:pt>
                <c:pt idx="17490">
                  <c:v>35675</c:v>
                </c:pt>
                <c:pt idx="17491">
                  <c:v>35676</c:v>
                </c:pt>
                <c:pt idx="17492">
                  <c:v>35677</c:v>
                </c:pt>
                <c:pt idx="17493">
                  <c:v>35678</c:v>
                </c:pt>
                <c:pt idx="17494">
                  <c:v>35681</c:v>
                </c:pt>
                <c:pt idx="17495">
                  <c:v>35682</c:v>
                </c:pt>
                <c:pt idx="17496">
                  <c:v>35683</c:v>
                </c:pt>
                <c:pt idx="17497">
                  <c:v>35684</c:v>
                </c:pt>
                <c:pt idx="17498">
                  <c:v>35685</c:v>
                </c:pt>
                <c:pt idx="17499">
                  <c:v>35688</c:v>
                </c:pt>
                <c:pt idx="17500">
                  <c:v>35689</c:v>
                </c:pt>
                <c:pt idx="17501">
                  <c:v>35690</c:v>
                </c:pt>
                <c:pt idx="17502">
                  <c:v>35691</c:v>
                </c:pt>
                <c:pt idx="17503">
                  <c:v>35692</c:v>
                </c:pt>
                <c:pt idx="17504">
                  <c:v>35695</c:v>
                </c:pt>
                <c:pt idx="17505">
                  <c:v>35696</c:v>
                </c:pt>
                <c:pt idx="17506">
                  <c:v>35697</c:v>
                </c:pt>
                <c:pt idx="17507">
                  <c:v>35698</c:v>
                </c:pt>
                <c:pt idx="17508">
                  <c:v>35699</c:v>
                </c:pt>
                <c:pt idx="17509">
                  <c:v>35702</c:v>
                </c:pt>
                <c:pt idx="17510">
                  <c:v>35703</c:v>
                </c:pt>
                <c:pt idx="17511">
                  <c:v>35704</c:v>
                </c:pt>
                <c:pt idx="17512">
                  <c:v>35705</c:v>
                </c:pt>
                <c:pt idx="17513">
                  <c:v>35706</c:v>
                </c:pt>
                <c:pt idx="17514">
                  <c:v>35709</c:v>
                </c:pt>
                <c:pt idx="17515">
                  <c:v>35710</c:v>
                </c:pt>
                <c:pt idx="17516">
                  <c:v>35711</c:v>
                </c:pt>
                <c:pt idx="17517">
                  <c:v>35712</c:v>
                </c:pt>
                <c:pt idx="17518">
                  <c:v>35713</c:v>
                </c:pt>
                <c:pt idx="17519">
                  <c:v>35716</c:v>
                </c:pt>
                <c:pt idx="17520">
                  <c:v>35717</c:v>
                </c:pt>
                <c:pt idx="17521">
                  <c:v>35718</c:v>
                </c:pt>
                <c:pt idx="17522">
                  <c:v>35719</c:v>
                </c:pt>
                <c:pt idx="17523">
                  <c:v>35720</c:v>
                </c:pt>
                <c:pt idx="17524">
                  <c:v>35723</c:v>
                </c:pt>
                <c:pt idx="17525">
                  <c:v>35724</c:v>
                </c:pt>
                <c:pt idx="17526">
                  <c:v>35725</c:v>
                </c:pt>
                <c:pt idx="17527">
                  <c:v>35726</c:v>
                </c:pt>
                <c:pt idx="17528">
                  <c:v>35727</c:v>
                </c:pt>
                <c:pt idx="17529">
                  <c:v>35730</c:v>
                </c:pt>
                <c:pt idx="17530">
                  <c:v>35731</c:v>
                </c:pt>
                <c:pt idx="17531">
                  <c:v>35732</c:v>
                </c:pt>
                <c:pt idx="17532">
                  <c:v>35733</c:v>
                </c:pt>
                <c:pt idx="17533">
                  <c:v>35734</c:v>
                </c:pt>
                <c:pt idx="17534">
                  <c:v>35737</c:v>
                </c:pt>
                <c:pt idx="17535">
                  <c:v>35738</c:v>
                </c:pt>
                <c:pt idx="17536">
                  <c:v>35739</c:v>
                </c:pt>
                <c:pt idx="17537">
                  <c:v>35740</c:v>
                </c:pt>
                <c:pt idx="17538">
                  <c:v>35741</c:v>
                </c:pt>
                <c:pt idx="17539">
                  <c:v>35744</c:v>
                </c:pt>
                <c:pt idx="17540">
                  <c:v>35745</c:v>
                </c:pt>
                <c:pt idx="17541">
                  <c:v>35746</c:v>
                </c:pt>
                <c:pt idx="17542">
                  <c:v>35747</c:v>
                </c:pt>
                <c:pt idx="17543">
                  <c:v>35748</c:v>
                </c:pt>
                <c:pt idx="17544">
                  <c:v>35751</c:v>
                </c:pt>
                <c:pt idx="17545">
                  <c:v>35752</c:v>
                </c:pt>
                <c:pt idx="17546">
                  <c:v>35753</c:v>
                </c:pt>
                <c:pt idx="17547">
                  <c:v>35754</c:v>
                </c:pt>
                <c:pt idx="17548">
                  <c:v>35755</c:v>
                </c:pt>
                <c:pt idx="17549">
                  <c:v>35758</c:v>
                </c:pt>
                <c:pt idx="17550">
                  <c:v>35759</c:v>
                </c:pt>
                <c:pt idx="17551">
                  <c:v>35760</c:v>
                </c:pt>
                <c:pt idx="17552">
                  <c:v>35762</c:v>
                </c:pt>
                <c:pt idx="17553">
                  <c:v>35765</c:v>
                </c:pt>
                <c:pt idx="17554">
                  <c:v>35766</c:v>
                </c:pt>
                <c:pt idx="17555">
                  <c:v>35767</c:v>
                </c:pt>
                <c:pt idx="17556">
                  <c:v>35768</c:v>
                </c:pt>
                <c:pt idx="17557">
                  <c:v>35769</c:v>
                </c:pt>
                <c:pt idx="17558">
                  <c:v>35772</c:v>
                </c:pt>
                <c:pt idx="17559">
                  <c:v>35773</c:v>
                </c:pt>
                <c:pt idx="17560">
                  <c:v>35774</c:v>
                </c:pt>
                <c:pt idx="17561">
                  <c:v>35775</c:v>
                </c:pt>
                <c:pt idx="17562">
                  <c:v>35776</c:v>
                </c:pt>
                <c:pt idx="17563">
                  <c:v>35779</c:v>
                </c:pt>
                <c:pt idx="17564">
                  <c:v>35780</c:v>
                </c:pt>
                <c:pt idx="17565">
                  <c:v>35781</c:v>
                </c:pt>
                <c:pt idx="17566">
                  <c:v>35782</c:v>
                </c:pt>
                <c:pt idx="17567">
                  <c:v>35783</c:v>
                </c:pt>
                <c:pt idx="17568">
                  <c:v>35786</c:v>
                </c:pt>
                <c:pt idx="17569">
                  <c:v>35787</c:v>
                </c:pt>
                <c:pt idx="17570">
                  <c:v>35788</c:v>
                </c:pt>
                <c:pt idx="17571">
                  <c:v>35790</c:v>
                </c:pt>
                <c:pt idx="17572">
                  <c:v>35793</c:v>
                </c:pt>
                <c:pt idx="17573">
                  <c:v>35794</c:v>
                </c:pt>
                <c:pt idx="17574">
                  <c:v>35795</c:v>
                </c:pt>
                <c:pt idx="17575">
                  <c:v>35797</c:v>
                </c:pt>
                <c:pt idx="17576">
                  <c:v>35800</c:v>
                </c:pt>
                <c:pt idx="17577">
                  <c:v>35801</c:v>
                </c:pt>
                <c:pt idx="17578">
                  <c:v>35802</c:v>
                </c:pt>
                <c:pt idx="17579">
                  <c:v>35803</c:v>
                </c:pt>
                <c:pt idx="17580">
                  <c:v>35804</c:v>
                </c:pt>
                <c:pt idx="17581">
                  <c:v>35807</c:v>
                </c:pt>
                <c:pt idx="17582">
                  <c:v>35808</c:v>
                </c:pt>
                <c:pt idx="17583">
                  <c:v>35809</c:v>
                </c:pt>
                <c:pt idx="17584">
                  <c:v>35810</c:v>
                </c:pt>
                <c:pt idx="17585">
                  <c:v>35811</c:v>
                </c:pt>
                <c:pt idx="17586">
                  <c:v>35815</c:v>
                </c:pt>
                <c:pt idx="17587">
                  <c:v>35816</c:v>
                </c:pt>
                <c:pt idx="17588">
                  <c:v>35817</c:v>
                </c:pt>
                <c:pt idx="17589">
                  <c:v>35818</c:v>
                </c:pt>
                <c:pt idx="17590">
                  <c:v>35821</c:v>
                </c:pt>
                <c:pt idx="17591">
                  <c:v>35822</c:v>
                </c:pt>
                <c:pt idx="17592">
                  <c:v>35823</c:v>
                </c:pt>
                <c:pt idx="17593">
                  <c:v>35824</c:v>
                </c:pt>
                <c:pt idx="17594">
                  <c:v>35825</c:v>
                </c:pt>
                <c:pt idx="17595">
                  <c:v>35828</c:v>
                </c:pt>
                <c:pt idx="17596">
                  <c:v>35829</c:v>
                </c:pt>
                <c:pt idx="17597">
                  <c:v>35830</c:v>
                </c:pt>
                <c:pt idx="17598">
                  <c:v>35831</c:v>
                </c:pt>
                <c:pt idx="17599">
                  <c:v>35832</c:v>
                </c:pt>
                <c:pt idx="17600">
                  <c:v>35835</c:v>
                </c:pt>
                <c:pt idx="17601">
                  <c:v>35836</c:v>
                </c:pt>
                <c:pt idx="17602">
                  <c:v>35837</c:v>
                </c:pt>
                <c:pt idx="17603">
                  <c:v>35838</c:v>
                </c:pt>
                <c:pt idx="17604">
                  <c:v>35839</c:v>
                </c:pt>
                <c:pt idx="17605">
                  <c:v>35843</c:v>
                </c:pt>
                <c:pt idx="17606">
                  <c:v>35844</c:v>
                </c:pt>
                <c:pt idx="17607">
                  <c:v>35845</c:v>
                </c:pt>
                <c:pt idx="17608">
                  <c:v>35846</c:v>
                </c:pt>
                <c:pt idx="17609">
                  <c:v>35849</c:v>
                </c:pt>
                <c:pt idx="17610">
                  <c:v>35850</c:v>
                </c:pt>
                <c:pt idx="17611">
                  <c:v>35851</c:v>
                </c:pt>
                <c:pt idx="17612">
                  <c:v>35852</c:v>
                </c:pt>
                <c:pt idx="17613">
                  <c:v>35853</c:v>
                </c:pt>
                <c:pt idx="17614">
                  <c:v>35856</c:v>
                </c:pt>
                <c:pt idx="17615">
                  <c:v>35857</c:v>
                </c:pt>
                <c:pt idx="17616">
                  <c:v>35858</c:v>
                </c:pt>
                <c:pt idx="17617">
                  <c:v>35859</c:v>
                </c:pt>
                <c:pt idx="17618">
                  <c:v>35860</c:v>
                </c:pt>
                <c:pt idx="17619">
                  <c:v>35863</c:v>
                </c:pt>
                <c:pt idx="17620">
                  <c:v>35864</c:v>
                </c:pt>
                <c:pt idx="17621">
                  <c:v>35865</c:v>
                </c:pt>
                <c:pt idx="17622">
                  <c:v>35866</c:v>
                </c:pt>
                <c:pt idx="17623">
                  <c:v>35867</c:v>
                </c:pt>
                <c:pt idx="17624">
                  <c:v>35870</c:v>
                </c:pt>
                <c:pt idx="17625">
                  <c:v>35871</c:v>
                </c:pt>
                <c:pt idx="17626">
                  <c:v>35872</c:v>
                </c:pt>
                <c:pt idx="17627">
                  <c:v>35873</c:v>
                </c:pt>
                <c:pt idx="17628">
                  <c:v>35874</c:v>
                </c:pt>
                <c:pt idx="17629">
                  <c:v>35877</c:v>
                </c:pt>
                <c:pt idx="17630">
                  <c:v>35878</c:v>
                </c:pt>
                <c:pt idx="17631">
                  <c:v>35879</c:v>
                </c:pt>
                <c:pt idx="17632">
                  <c:v>35880</c:v>
                </c:pt>
                <c:pt idx="17633">
                  <c:v>35881</c:v>
                </c:pt>
                <c:pt idx="17634">
                  <c:v>35884</c:v>
                </c:pt>
                <c:pt idx="17635">
                  <c:v>35885</c:v>
                </c:pt>
                <c:pt idx="17636">
                  <c:v>35886</c:v>
                </c:pt>
                <c:pt idx="17637">
                  <c:v>35887</c:v>
                </c:pt>
                <c:pt idx="17638">
                  <c:v>35888</c:v>
                </c:pt>
                <c:pt idx="17639">
                  <c:v>35891</c:v>
                </c:pt>
                <c:pt idx="17640">
                  <c:v>35892</c:v>
                </c:pt>
                <c:pt idx="17641">
                  <c:v>35893</c:v>
                </c:pt>
                <c:pt idx="17642">
                  <c:v>35894</c:v>
                </c:pt>
                <c:pt idx="17643">
                  <c:v>35898</c:v>
                </c:pt>
                <c:pt idx="17644">
                  <c:v>35899</c:v>
                </c:pt>
                <c:pt idx="17645">
                  <c:v>35900</c:v>
                </c:pt>
                <c:pt idx="17646">
                  <c:v>35901</c:v>
                </c:pt>
                <c:pt idx="17647">
                  <c:v>35902</c:v>
                </c:pt>
                <c:pt idx="17648">
                  <c:v>35905</c:v>
                </c:pt>
                <c:pt idx="17649">
                  <c:v>35906</c:v>
                </c:pt>
                <c:pt idx="17650">
                  <c:v>35907</c:v>
                </c:pt>
                <c:pt idx="17651">
                  <c:v>35908</c:v>
                </c:pt>
                <c:pt idx="17652">
                  <c:v>35909</c:v>
                </c:pt>
                <c:pt idx="17653">
                  <c:v>35912</c:v>
                </c:pt>
                <c:pt idx="17654">
                  <c:v>35913</c:v>
                </c:pt>
                <c:pt idx="17655">
                  <c:v>35914</c:v>
                </c:pt>
                <c:pt idx="17656">
                  <c:v>35915</c:v>
                </c:pt>
                <c:pt idx="17657">
                  <c:v>35916</c:v>
                </c:pt>
                <c:pt idx="17658">
                  <c:v>35919</c:v>
                </c:pt>
                <c:pt idx="17659">
                  <c:v>35920</c:v>
                </c:pt>
                <c:pt idx="17660">
                  <c:v>35921</c:v>
                </c:pt>
                <c:pt idx="17661">
                  <c:v>35922</c:v>
                </c:pt>
                <c:pt idx="17662">
                  <c:v>35923</c:v>
                </c:pt>
                <c:pt idx="17663">
                  <c:v>35926</c:v>
                </c:pt>
                <c:pt idx="17664">
                  <c:v>35927</c:v>
                </c:pt>
                <c:pt idx="17665">
                  <c:v>35928</c:v>
                </c:pt>
                <c:pt idx="17666">
                  <c:v>35929</c:v>
                </c:pt>
                <c:pt idx="17667">
                  <c:v>35930</c:v>
                </c:pt>
                <c:pt idx="17668">
                  <c:v>35933</c:v>
                </c:pt>
                <c:pt idx="17669">
                  <c:v>35934</c:v>
                </c:pt>
                <c:pt idx="17670">
                  <c:v>35935</c:v>
                </c:pt>
                <c:pt idx="17671">
                  <c:v>35936</c:v>
                </c:pt>
                <c:pt idx="17672">
                  <c:v>35937</c:v>
                </c:pt>
                <c:pt idx="17673">
                  <c:v>35941</c:v>
                </c:pt>
                <c:pt idx="17674">
                  <c:v>35942</c:v>
                </c:pt>
                <c:pt idx="17675">
                  <c:v>35943</c:v>
                </c:pt>
                <c:pt idx="17676">
                  <c:v>35944</c:v>
                </c:pt>
                <c:pt idx="17677">
                  <c:v>35947</c:v>
                </c:pt>
                <c:pt idx="17678">
                  <c:v>35948</c:v>
                </c:pt>
                <c:pt idx="17679">
                  <c:v>35949</c:v>
                </c:pt>
                <c:pt idx="17680">
                  <c:v>35950</c:v>
                </c:pt>
                <c:pt idx="17681">
                  <c:v>35951</c:v>
                </c:pt>
                <c:pt idx="17682">
                  <c:v>35954</c:v>
                </c:pt>
                <c:pt idx="17683">
                  <c:v>35955</c:v>
                </c:pt>
                <c:pt idx="17684">
                  <c:v>35956</c:v>
                </c:pt>
                <c:pt idx="17685">
                  <c:v>35957</c:v>
                </c:pt>
                <c:pt idx="17686">
                  <c:v>35958</c:v>
                </c:pt>
                <c:pt idx="17687">
                  <c:v>35961</c:v>
                </c:pt>
                <c:pt idx="17688">
                  <c:v>35962</c:v>
                </c:pt>
                <c:pt idx="17689">
                  <c:v>35963</c:v>
                </c:pt>
                <c:pt idx="17690">
                  <c:v>35964</c:v>
                </c:pt>
                <c:pt idx="17691">
                  <c:v>35965</c:v>
                </c:pt>
                <c:pt idx="17692">
                  <c:v>35968</c:v>
                </c:pt>
                <c:pt idx="17693">
                  <c:v>35969</c:v>
                </c:pt>
                <c:pt idx="17694">
                  <c:v>35970</c:v>
                </c:pt>
                <c:pt idx="17695">
                  <c:v>35971</c:v>
                </c:pt>
                <c:pt idx="17696">
                  <c:v>35972</c:v>
                </c:pt>
                <c:pt idx="17697">
                  <c:v>35975</c:v>
                </c:pt>
                <c:pt idx="17698">
                  <c:v>35976</c:v>
                </c:pt>
                <c:pt idx="17699">
                  <c:v>35977</c:v>
                </c:pt>
                <c:pt idx="17700">
                  <c:v>35978</c:v>
                </c:pt>
                <c:pt idx="17701">
                  <c:v>35982</c:v>
                </c:pt>
                <c:pt idx="17702">
                  <c:v>35983</c:v>
                </c:pt>
                <c:pt idx="17703">
                  <c:v>35984</c:v>
                </c:pt>
                <c:pt idx="17704">
                  <c:v>35985</c:v>
                </c:pt>
                <c:pt idx="17705">
                  <c:v>35986</c:v>
                </c:pt>
                <c:pt idx="17706">
                  <c:v>35989</c:v>
                </c:pt>
                <c:pt idx="17707">
                  <c:v>35990</c:v>
                </c:pt>
                <c:pt idx="17708">
                  <c:v>35991</c:v>
                </c:pt>
                <c:pt idx="17709">
                  <c:v>35992</c:v>
                </c:pt>
                <c:pt idx="17710">
                  <c:v>35993</c:v>
                </c:pt>
                <c:pt idx="17711">
                  <c:v>35996</c:v>
                </c:pt>
                <c:pt idx="17712">
                  <c:v>35997</c:v>
                </c:pt>
                <c:pt idx="17713">
                  <c:v>35998</c:v>
                </c:pt>
                <c:pt idx="17714">
                  <c:v>35999</c:v>
                </c:pt>
                <c:pt idx="17715">
                  <c:v>36000</c:v>
                </c:pt>
                <c:pt idx="17716">
                  <c:v>36003</c:v>
                </c:pt>
                <c:pt idx="17717">
                  <c:v>36004</c:v>
                </c:pt>
                <c:pt idx="17718">
                  <c:v>36005</c:v>
                </c:pt>
                <c:pt idx="17719">
                  <c:v>36006</c:v>
                </c:pt>
                <c:pt idx="17720">
                  <c:v>36007</c:v>
                </c:pt>
                <c:pt idx="17721">
                  <c:v>36010</c:v>
                </c:pt>
                <c:pt idx="17722">
                  <c:v>36011</c:v>
                </c:pt>
                <c:pt idx="17723">
                  <c:v>36012</c:v>
                </c:pt>
                <c:pt idx="17724">
                  <c:v>36013</c:v>
                </c:pt>
                <c:pt idx="17725">
                  <c:v>36014</c:v>
                </c:pt>
                <c:pt idx="17726">
                  <c:v>36017</c:v>
                </c:pt>
                <c:pt idx="17727">
                  <c:v>36018</c:v>
                </c:pt>
                <c:pt idx="17728">
                  <c:v>36019</c:v>
                </c:pt>
                <c:pt idx="17729">
                  <c:v>36020</c:v>
                </c:pt>
                <c:pt idx="17730">
                  <c:v>36021</c:v>
                </c:pt>
                <c:pt idx="17731">
                  <c:v>36024</c:v>
                </c:pt>
                <c:pt idx="17732">
                  <c:v>36025</c:v>
                </c:pt>
                <c:pt idx="17733">
                  <c:v>36026</c:v>
                </c:pt>
                <c:pt idx="17734">
                  <c:v>36027</c:v>
                </c:pt>
                <c:pt idx="17735">
                  <c:v>36028</c:v>
                </c:pt>
                <c:pt idx="17736">
                  <c:v>36031</c:v>
                </c:pt>
                <c:pt idx="17737">
                  <c:v>36032</c:v>
                </c:pt>
                <c:pt idx="17738">
                  <c:v>36033</c:v>
                </c:pt>
                <c:pt idx="17739">
                  <c:v>36034</c:v>
                </c:pt>
                <c:pt idx="17740">
                  <c:v>36035</c:v>
                </c:pt>
                <c:pt idx="17741">
                  <c:v>36038</c:v>
                </c:pt>
                <c:pt idx="17742">
                  <c:v>36039</c:v>
                </c:pt>
                <c:pt idx="17743">
                  <c:v>36040</c:v>
                </c:pt>
                <c:pt idx="17744">
                  <c:v>36041</c:v>
                </c:pt>
                <c:pt idx="17745">
                  <c:v>36042</c:v>
                </c:pt>
                <c:pt idx="17746">
                  <c:v>36046</c:v>
                </c:pt>
                <c:pt idx="17747">
                  <c:v>36047</c:v>
                </c:pt>
                <c:pt idx="17748">
                  <c:v>36048</c:v>
                </c:pt>
                <c:pt idx="17749">
                  <c:v>36049</c:v>
                </c:pt>
                <c:pt idx="17750">
                  <c:v>36052</c:v>
                </c:pt>
                <c:pt idx="17751">
                  <c:v>36053</c:v>
                </c:pt>
                <c:pt idx="17752">
                  <c:v>36054</c:v>
                </c:pt>
                <c:pt idx="17753">
                  <c:v>36055</c:v>
                </c:pt>
                <c:pt idx="17754">
                  <c:v>36056</c:v>
                </c:pt>
                <c:pt idx="17755">
                  <c:v>36059</c:v>
                </c:pt>
                <c:pt idx="17756">
                  <c:v>36060</c:v>
                </c:pt>
                <c:pt idx="17757">
                  <c:v>36061</c:v>
                </c:pt>
                <c:pt idx="17758">
                  <c:v>36062</c:v>
                </c:pt>
                <c:pt idx="17759">
                  <c:v>36063</c:v>
                </c:pt>
                <c:pt idx="17760">
                  <c:v>36066</c:v>
                </c:pt>
                <c:pt idx="17761">
                  <c:v>36067</c:v>
                </c:pt>
                <c:pt idx="17762">
                  <c:v>36068</c:v>
                </c:pt>
                <c:pt idx="17763">
                  <c:v>36069</c:v>
                </c:pt>
                <c:pt idx="17764">
                  <c:v>36070</c:v>
                </c:pt>
                <c:pt idx="17765">
                  <c:v>36073</c:v>
                </c:pt>
                <c:pt idx="17766">
                  <c:v>36074</c:v>
                </c:pt>
                <c:pt idx="17767">
                  <c:v>36075</c:v>
                </c:pt>
                <c:pt idx="17768">
                  <c:v>36076</c:v>
                </c:pt>
                <c:pt idx="17769">
                  <c:v>36077</c:v>
                </c:pt>
                <c:pt idx="17770">
                  <c:v>36080</c:v>
                </c:pt>
                <c:pt idx="17771">
                  <c:v>36081</c:v>
                </c:pt>
                <c:pt idx="17772">
                  <c:v>36082</c:v>
                </c:pt>
                <c:pt idx="17773">
                  <c:v>36083</c:v>
                </c:pt>
                <c:pt idx="17774">
                  <c:v>36084</c:v>
                </c:pt>
                <c:pt idx="17775">
                  <c:v>36087</c:v>
                </c:pt>
                <c:pt idx="17776">
                  <c:v>36088</c:v>
                </c:pt>
                <c:pt idx="17777">
                  <c:v>36089</c:v>
                </c:pt>
                <c:pt idx="17778">
                  <c:v>36090</c:v>
                </c:pt>
                <c:pt idx="17779">
                  <c:v>36091</c:v>
                </c:pt>
                <c:pt idx="17780">
                  <c:v>36094</c:v>
                </c:pt>
                <c:pt idx="17781">
                  <c:v>36095</c:v>
                </c:pt>
                <c:pt idx="17782">
                  <c:v>36096</c:v>
                </c:pt>
                <c:pt idx="17783">
                  <c:v>36097</c:v>
                </c:pt>
                <c:pt idx="17784">
                  <c:v>36098</c:v>
                </c:pt>
                <c:pt idx="17785">
                  <c:v>36101</c:v>
                </c:pt>
                <c:pt idx="17786">
                  <c:v>36102</c:v>
                </c:pt>
                <c:pt idx="17787">
                  <c:v>36103</c:v>
                </c:pt>
                <c:pt idx="17788">
                  <c:v>36104</c:v>
                </c:pt>
                <c:pt idx="17789">
                  <c:v>36105</c:v>
                </c:pt>
                <c:pt idx="17790">
                  <c:v>36108</c:v>
                </c:pt>
                <c:pt idx="17791">
                  <c:v>36109</c:v>
                </c:pt>
                <c:pt idx="17792">
                  <c:v>36110</c:v>
                </c:pt>
                <c:pt idx="17793">
                  <c:v>36111</c:v>
                </c:pt>
                <c:pt idx="17794">
                  <c:v>36112</c:v>
                </c:pt>
                <c:pt idx="17795">
                  <c:v>36115</c:v>
                </c:pt>
                <c:pt idx="17796">
                  <c:v>36116</c:v>
                </c:pt>
                <c:pt idx="17797">
                  <c:v>36117</c:v>
                </c:pt>
                <c:pt idx="17798">
                  <c:v>36118</c:v>
                </c:pt>
                <c:pt idx="17799">
                  <c:v>36119</c:v>
                </c:pt>
                <c:pt idx="17800">
                  <c:v>36122</c:v>
                </c:pt>
                <c:pt idx="17801">
                  <c:v>36123</c:v>
                </c:pt>
                <c:pt idx="17802">
                  <c:v>36124</c:v>
                </c:pt>
                <c:pt idx="17803">
                  <c:v>36126</c:v>
                </c:pt>
                <c:pt idx="17804">
                  <c:v>36129</c:v>
                </c:pt>
                <c:pt idx="17805">
                  <c:v>36130</c:v>
                </c:pt>
                <c:pt idx="17806">
                  <c:v>36131</c:v>
                </c:pt>
                <c:pt idx="17807">
                  <c:v>36132</c:v>
                </c:pt>
                <c:pt idx="17808">
                  <c:v>36133</c:v>
                </c:pt>
                <c:pt idx="17809">
                  <c:v>36136</c:v>
                </c:pt>
                <c:pt idx="17810">
                  <c:v>36137</c:v>
                </c:pt>
                <c:pt idx="17811">
                  <c:v>36138</c:v>
                </c:pt>
                <c:pt idx="17812">
                  <c:v>36139</c:v>
                </c:pt>
                <c:pt idx="17813">
                  <c:v>36140</c:v>
                </c:pt>
                <c:pt idx="17814">
                  <c:v>36143</c:v>
                </c:pt>
                <c:pt idx="17815">
                  <c:v>36144</c:v>
                </c:pt>
                <c:pt idx="17816">
                  <c:v>36145</c:v>
                </c:pt>
                <c:pt idx="17817">
                  <c:v>36146</c:v>
                </c:pt>
                <c:pt idx="17818">
                  <c:v>36147</c:v>
                </c:pt>
                <c:pt idx="17819">
                  <c:v>36150</c:v>
                </c:pt>
                <c:pt idx="17820">
                  <c:v>36151</c:v>
                </c:pt>
                <c:pt idx="17821">
                  <c:v>36152</c:v>
                </c:pt>
                <c:pt idx="17822">
                  <c:v>36153</c:v>
                </c:pt>
                <c:pt idx="17823">
                  <c:v>36157</c:v>
                </c:pt>
                <c:pt idx="17824">
                  <c:v>36158</c:v>
                </c:pt>
                <c:pt idx="17825">
                  <c:v>36159</c:v>
                </c:pt>
                <c:pt idx="17826">
                  <c:v>36160</c:v>
                </c:pt>
                <c:pt idx="17827">
                  <c:v>36164</c:v>
                </c:pt>
                <c:pt idx="17828">
                  <c:v>36165</c:v>
                </c:pt>
                <c:pt idx="17829">
                  <c:v>36166</c:v>
                </c:pt>
                <c:pt idx="17830">
                  <c:v>36167</c:v>
                </c:pt>
                <c:pt idx="17831">
                  <c:v>36168</c:v>
                </c:pt>
                <c:pt idx="17832">
                  <c:v>36171</c:v>
                </c:pt>
                <c:pt idx="17833">
                  <c:v>36172</c:v>
                </c:pt>
                <c:pt idx="17834">
                  <c:v>36173</c:v>
                </c:pt>
                <c:pt idx="17835">
                  <c:v>36174</c:v>
                </c:pt>
                <c:pt idx="17836">
                  <c:v>36175</c:v>
                </c:pt>
                <c:pt idx="17837">
                  <c:v>36179</c:v>
                </c:pt>
                <c:pt idx="17838">
                  <c:v>36180</c:v>
                </c:pt>
                <c:pt idx="17839">
                  <c:v>36181</c:v>
                </c:pt>
                <c:pt idx="17840">
                  <c:v>36182</c:v>
                </c:pt>
                <c:pt idx="17841">
                  <c:v>36185</c:v>
                </c:pt>
                <c:pt idx="17842">
                  <c:v>36186</c:v>
                </c:pt>
                <c:pt idx="17843">
                  <c:v>36187</c:v>
                </c:pt>
                <c:pt idx="17844">
                  <c:v>36188</c:v>
                </c:pt>
                <c:pt idx="17845">
                  <c:v>36189</c:v>
                </c:pt>
                <c:pt idx="17846">
                  <c:v>36192</c:v>
                </c:pt>
                <c:pt idx="17847">
                  <c:v>36193</c:v>
                </c:pt>
                <c:pt idx="17848">
                  <c:v>36194</c:v>
                </c:pt>
                <c:pt idx="17849">
                  <c:v>36195</c:v>
                </c:pt>
                <c:pt idx="17850">
                  <c:v>36196</c:v>
                </c:pt>
                <c:pt idx="17851">
                  <c:v>36199</c:v>
                </c:pt>
                <c:pt idx="17852">
                  <c:v>36200</c:v>
                </c:pt>
                <c:pt idx="17853">
                  <c:v>36201</c:v>
                </c:pt>
                <c:pt idx="17854">
                  <c:v>36202</c:v>
                </c:pt>
                <c:pt idx="17855">
                  <c:v>36203</c:v>
                </c:pt>
                <c:pt idx="17856">
                  <c:v>36207</c:v>
                </c:pt>
                <c:pt idx="17857">
                  <c:v>36208</c:v>
                </c:pt>
                <c:pt idx="17858">
                  <c:v>36209</c:v>
                </c:pt>
                <c:pt idx="17859">
                  <c:v>36210</c:v>
                </c:pt>
                <c:pt idx="17860">
                  <c:v>36213</c:v>
                </c:pt>
                <c:pt idx="17861">
                  <c:v>36214</c:v>
                </c:pt>
                <c:pt idx="17862">
                  <c:v>36215</c:v>
                </c:pt>
                <c:pt idx="17863">
                  <c:v>36216</c:v>
                </c:pt>
                <c:pt idx="17864">
                  <c:v>36217</c:v>
                </c:pt>
                <c:pt idx="17865">
                  <c:v>36220</c:v>
                </c:pt>
                <c:pt idx="17866">
                  <c:v>36221</c:v>
                </c:pt>
                <c:pt idx="17867">
                  <c:v>36222</c:v>
                </c:pt>
                <c:pt idx="17868">
                  <c:v>36223</c:v>
                </c:pt>
                <c:pt idx="17869">
                  <c:v>36224</c:v>
                </c:pt>
                <c:pt idx="17870">
                  <c:v>36227</c:v>
                </c:pt>
                <c:pt idx="17871">
                  <c:v>36228</c:v>
                </c:pt>
                <c:pt idx="17872">
                  <c:v>36229</c:v>
                </c:pt>
                <c:pt idx="17873">
                  <c:v>36230</c:v>
                </c:pt>
                <c:pt idx="17874">
                  <c:v>36231</c:v>
                </c:pt>
                <c:pt idx="17875">
                  <c:v>36234</c:v>
                </c:pt>
                <c:pt idx="17876">
                  <c:v>36235</c:v>
                </c:pt>
                <c:pt idx="17877">
                  <c:v>36236</c:v>
                </c:pt>
                <c:pt idx="17878">
                  <c:v>36237</c:v>
                </c:pt>
                <c:pt idx="17879">
                  <c:v>36238</c:v>
                </c:pt>
                <c:pt idx="17880">
                  <c:v>36241</c:v>
                </c:pt>
                <c:pt idx="17881">
                  <c:v>36242</c:v>
                </c:pt>
                <c:pt idx="17882">
                  <c:v>36243</c:v>
                </c:pt>
                <c:pt idx="17883">
                  <c:v>36244</c:v>
                </c:pt>
                <c:pt idx="17884">
                  <c:v>36245</c:v>
                </c:pt>
                <c:pt idx="17885">
                  <c:v>36248</c:v>
                </c:pt>
                <c:pt idx="17886">
                  <c:v>36249</c:v>
                </c:pt>
                <c:pt idx="17887">
                  <c:v>36250</c:v>
                </c:pt>
                <c:pt idx="17888">
                  <c:v>36251</c:v>
                </c:pt>
                <c:pt idx="17889">
                  <c:v>36255</c:v>
                </c:pt>
                <c:pt idx="17890">
                  <c:v>36256</c:v>
                </c:pt>
                <c:pt idx="17891">
                  <c:v>36257</c:v>
                </c:pt>
                <c:pt idx="17892">
                  <c:v>36258</c:v>
                </c:pt>
                <c:pt idx="17893">
                  <c:v>36259</c:v>
                </c:pt>
                <c:pt idx="17894">
                  <c:v>36262</c:v>
                </c:pt>
                <c:pt idx="17895">
                  <c:v>36263</c:v>
                </c:pt>
                <c:pt idx="17896">
                  <c:v>36264</c:v>
                </c:pt>
                <c:pt idx="17897">
                  <c:v>36265</c:v>
                </c:pt>
                <c:pt idx="17898">
                  <c:v>36266</c:v>
                </c:pt>
                <c:pt idx="17899">
                  <c:v>36269</c:v>
                </c:pt>
                <c:pt idx="17900">
                  <c:v>36270</c:v>
                </c:pt>
                <c:pt idx="17901">
                  <c:v>36271</c:v>
                </c:pt>
                <c:pt idx="17902">
                  <c:v>36272</c:v>
                </c:pt>
                <c:pt idx="17903">
                  <c:v>36273</c:v>
                </c:pt>
                <c:pt idx="17904">
                  <c:v>36276</c:v>
                </c:pt>
                <c:pt idx="17905">
                  <c:v>36277</c:v>
                </c:pt>
                <c:pt idx="17906">
                  <c:v>36278</c:v>
                </c:pt>
                <c:pt idx="17907">
                  <c:v>36279</c:v>
                </c:pt>
                <c:pt idx="17908">
                  <c:v>36280</c:v>
                </c:pt>
                <c:pt idx="17909">
                  <c:v>36283</c:v>
                </c:pt>
                <c:pt idx="17910">
                  <c:v>36284</c:v>
                </c:pt>
                <c:pt idx="17911">
                  <c:v>36285</c:v>
                </c:pt>
                <c:pt idx="17912">
                  <c:v>36286</c:v>
                </c:pt>
                <c:pt idx="17913">
                  <c:v>36287</c:v>
                </c:pt>
                <c:pt idx="17914">
                  <c:v>36290</c:v>
                </c:pt>
                <c:pt idx="17915">
                  <c:v>36291</c:v>
                </c:pt>
                <c:pt idx="17916">
                  <c:v>36292</c:v>
                </c:pt>
                <c:pt idx="17917">
                  <c:v>36293</c:v>
                </c:pt>
                <c:pt idx="17918">
                  <c:v>36294</c:v>
                </c:pt>
                <c:pt idx="17919">
                  <c:v>36297</c:v>
                </c:pt>
                <c:pt idx="17920">
                  <c:v>36298</c:v>
                </c:pt>
                <c:pt idx="17921">
                  <c:v>36299</c:v>
                </c:pt>
                <c:pt idx="17922">
                  <c:v>36300</c:v>
                </c:pt>
                <c:pt idx="17923">
                  <c:v>36301</c:v>
                </c:pt>
                <c:pt idx="17924">
                  <c:v>36304</c:v>
                </c:pt>
                <c:pt idx="17925">
                  <c:v>36305</c:v>
                </c:pt>
                <c:pt idx="17926">
                  <c:v>36306</c:v>
                </c:pt>
                <c:pt idx="17927">
                  <c:v>36307</c:v>
                </c:pt>
                <c:pt idx="17928">
                  <c:v>36308</c:v>
                </c:pt>
                <c:pt idx="17929">
                  <c:v>36312</c:v>
                </c:pt>
                <c:pt idx="17930">
                  <c:v>36313</c:v>
                </c:pt>
                <c:pt idx="17931">
                  <c:v>36314</c:v>
                </c:pt>
                <c:pt idx="17932">
                  <c:v>36315</c:v>
                </c:pt>
                <c:pt idx="17933">
                  <c:v>36318</c:v>
                </c:pt>
                <c:pt idx="17934">
                  <c:v>36319</c:v>
                </c:pt>
                <c:pt idx="17935">
                  <c:v>36320</c:v>
                </c:pt>
                <c:pt idx="17936">
                  <c:v>36321</c:v>
                </c:pt>
                <c:pt idx="17937">
                  <c:v>36322</c:v>
                </c:pt>
                <c:pt idx="17938">
                  <c:v>36325</c:v>
                </c:pt>
                <c:pt idx="17939">
                  <c:v>36326</c:v>
                </c:pt>
                <c:pt idx="17940">
                  <c:v>36327</c:v>
                </c:pt>
                <c:pt idx="17941">
                  <c:v>36328</c:v>
                </c:pt>
                <c:pt idx="17942">
                  <c:v>36329</c:v>
                </c:pt>
                <c:pt idx="17943">
                  <c:v>36332</c:v>
                </c:pt>
                <c:pt idx="17944">
                  <c:v>36333</c:v>
                </c:pt>
                <c:pt idx="17945">
                  <c:v>36334</c:v>
                </c:pt>
                <c:pt idx="17946">
                  <c:v>36335</c:v>
                </c:pt>
                <c:pt idx="17947">
                  <c:v>36336</c:v>
                </c:pt>
                <c:pt idx="17948">
                  <c:v>36339</c:v>
                </c:pt>
                <c:pt idx="17949">
                  <c:v>36340</c:v>
                </c:pt>
                <c:pt idx="17950">
                  <c:v>36341</c:v>
                </c:pt>
                <c:pt idx="17951">
                  <c:v>36342</c:v>
                </c:pt>
                <c:pt idx="17952">
                  <c:v>36343</c:v>
                </c:pt>
                <c:pt idx="17953">
                  <c:v>36347</c:v>
                </c:pt>
                <c:pt idx="17954">
                  <c:v>36348</c:v>
                </c:pt>
                <c:pt idx="17955">
                  <c:v>36349</c:v>
                </c:pt>
                <c:pt idx="17956">
                  <c:v>36350</c:v>
                </c:pt>
                <c:pt idx="17957">
                  <c:v>36353</c:v>
                </c:pt>
                <c:pt idx="17958">
                  <c:v>36354</c:v>
                </c:pt>
                <c:pt idx="17959">
                  <c:v>36355</c:v>
                </c:pt>
                <c:pt idx="17960">
                  <c:v>36356</c:v>
                </c:pt>
                <c:pt idx="17961">
                  <c:v>36357</c:v>
                </c:pt>
                <c:pt idx="17962">
                  <c:v>36360</c:v>
                </c:pt>
                <c:pt idx="17963">
                  <c:v>36361</c:v>
                </c:pt>
                <c:pt idx="17964">
                  <c:v>36362</c:v>
                </c:pt>
                <c:pt idx="17965">
                  <c:v>36363</c:v>
                </c:pt>
                <c:pt idx="17966">
                  <c:v>36364</c:v>
                </c:pt>
                <c:pt idx="17967">
                  <c:v>36367</c:v>
                </c:pt>
                <c:pt idx="17968">
                  <c:v>36368</c:v>
                </c:pt>
                <c:pt idx="17969">
                  <c:v>36369</c:v>
                </c:pt>
                <c:pt idx="17970">
                  <c:v>36370</c:v>
                </c:pt>
                <c:pt idx="17971">
                  <c:v>36371</c:v>
                </c:pt>
                <c:pt idx="17972">
                  <c:v>36374</c:v>
                </c:pt>
                <c:pt idx="17973">
                  <c:v>36375</c:v>
                </c:pt>
                <c:pt idx="17974">
                  <c:v>36376</c:v>
                </c:pt>
                <c:pt idx="17975">
                  <c:v>36377</c:v>
                </c:pt>
                <c:pt idx="17976">
                  <c:v>36378</c:v>
                </c:pt>
                <c:pt idx="17977">
                  <c:v>36381</c:v>
                </c:pt>
                <c:pt idx="17978">
                  <c:v>36382</c:v>
                </c:pt>
                <c:pt idx="17979">
                  <c:v>36383</c:v>
                </c:pt>
                <c:pt idx="17980">
                  <c:v>36384</c:v>
                </c:pt>
                <c:pt idx="17981">
                  <c:v>36385</c:v>
                </c:pt>
                <c:pt idx="17982">
                  <c:v>36388</c:v>
                </c:pt>
                <c:pt idx="17983">
                  <c:v>36389</c:v>
                </c:pt>
                <c:pt idx="17984">
                  <c:v>36390</c:v>
                </c:pt>
                <c:pt idx="17985">
                  <c:v>36391</c:v>
                </c:pt>
                <c:pt idx="17986">
                  <c:v>36392</c:v>
                </c:pt>
                <c:pt idx="17987">
                  <c:v>36395</c:v>
                </c:pt>
                <c:pt idx="17988">
                  <c:v>36396</c:v>
                </c:pt>
                <c:pt idx="17989">
                  <c:v>36397</c:v>
                </c:pt>
                <c:pt idx="17990">
                  <c:v>36398</c:v>
                </c:pt>
                <c:pt idx="17991">
                  <c:v>36399</c:v>
                </c:pt>
                <c:pt idx="17992">
                  <c:v>36402</c:v>
                </c:pt>
                <c:pt idx="17993">
                  <c:v>36403</c:v>
                </c:pt>
                <c:pt idx="17994">
                  <c:v>36404</c:v>
                </c:pt>
                <c:pt idx="17995">
                  <c:v>36405</c:v>
                </c:pt>
                <c:pt idx="17996">
                  <c:v>36406</c:v>
                </c:pt>
                <c:pt idx="17997">
                  <c:v>36410</c:v>
                </c:pt>
                <c:pt idx="17998">
                  <c:v>36411</c:v>
                </c:pt>
                <c:pt idx="17999">
                  <c:v>36412</c:v>
                </c:pt>
                <c:pt idx="18000">
                  <c:v>36413</c:v>
                </c:pt>
                <c:pt idx="18001">
                  <c:v>36416</c:v>
                </c:pt>
                <c:pt idx="18002">
                  <c:v>36417</c:v>
                </c:pt>
                <c:pt idx="18003">
                  <c:v>36418</c:v>
                </c:pt>
                <c:pt idx="18004">
                  <c:v>36419</c:v>
                </c:pt>
                <c:pt idx="18005">
                  <c:v>36420</c:v>
                </c:pt>
                <c:pt idx="18006">
                  <c:v>36423</c:v>
                </c:pt>
                <c:pt idx="18007">
                  <c:v>36424</c:v>
                </c:pt>
                <c:pt idx="18008">
                  <c:v>36425</c:v>
                </c:pt>
                <c:pt idx="18009">
                  <c:v>36426</c:v>
                </c:pt>
                <c:pt idx="18010">
                  <c:v>36427</c:v>
                </c:pt>
                <c:pt idx="18011">
                  <c:v>36430</c:v>
                </c:pt>
                <c:pt idx="18012">
                  <c:v>36431</c:v>
                </c:pt>
                <c:pt idx="18013">
                  <c:v>36432</c:v>
                </c:pt>
                <c:pt idx="18014">
                  <c:v>36433</c:v>
                </c:pt>
                <c:pt idx="18015">
                  <c:v>36434</c:v>
                </c:pt>
                <c:pt idx="18016">
                  <c:v>36437</c:v>
                </c:pt>
                <c:pt idx="18017">
                  <c:v>36438</c:v>
                </c:pt>
                <c:pt idx="18018">
                  <c:v>36439</c:v>
                </c:pt>
                <c:pt idx="18019">
                  <c:v>36440</c:v>
                </c:pt>
                <c:pt idx="18020">
                  <c:v>36441</c:v>
                </c:pt>
                <c:pt idx="18021">
                  <c:v>36444</c:v>
                </c:pt>
                <c:pt idx="18022">
                  <c:v>36445</c:v>
                </c:pt>
                <c:pt idx="18023">
                  <c:v>36446</c:v>
                </c:pt>
                <c:pt idx="18024">
                  <c:v>36447</c:v>
                </c:pt>
                <c:pt idx="18025">
                  <c:v>36448</c:v>
                </c:pt>
                <c:pt idx="18026">
                  <c:v>36451</c:v>
                </c:pt>
                <c:pt idx="18027">
                  <c:v>36452</c:v>
                </c:pt>
                <c:pt idx="18028">
                  <c:v>36453</c:v>
                </c:pt>
                <c:pt idx="18029">
                  <c:v>36454</c:v>
                </c:pt>
                <c:pt idx="18030">
                  <c:v>36455</c:v>
                </c:pt>
                <c:pt idx="18031">
                  <c:v>36458</c:v>
                </c:pt>
                <c:pt idx="18032">
                  <c:v>36459</c:v>
                </c:pt>
                <c:pt idx="18033">
                  <c:v>36460</c:v>
                </c:pt>
                <c:pt idx="18034">
                  <c:v>36461</c:v>
                </c:pt>
                <c:pt idx="18035">
                  <c:v>36462</c:v>
                </c:pt>
                <c:pt idx="18036">
                  <c:v>36465</c:v>
                </c:pt>
                <c:pt idx="18037">
                  <c:v>36466</c:v>
                </c:pt>
                <c:pt idx="18038">
                  <c:v>36467</c:v>
                </c:pt>
                <c:pt idx="18039">
                  <c:v>36468</c:v>
                </c:pt>
                <c:pt idx="18040">
                  <c:v>36469</c:v>
                </c:pt>
                <c:pt idx="18041">
                  <c:v>36472</c:v>
                </c:pt>
                <c:pt idx="18042">
                  <c:v>36473</c:v>
                </c:pt>
                <c:pt idx="18043">
                  <c:v>36474</c:v>
                </c:pt>
                <c:pt idx="18044">
                  <c:v>36475</c:v>
                </c:pt>
                <c:pt idx="18045">
                  <c:v>36476</c:v>
                </c:pt>
                <c:pt idx="18046">
                  <c:v>36479</c:v>
                </c:pt>
                <c:pt idx="18047">
                  <c:v>36480</c:v>
                </c:pt>
                <c:pt idx="18048">
                  <c:v>36481</c:v>
                </c:pt>
                <c:pt idx="18049">
                  <c:v>36482</c:v>
                </c:pt>
                <c:pt idx="18050">
                  <c:v>36483</c:v>
                </c:pt>
                <c:pt idx="18051">
                  <c:v>36486</c:v>
                </c:pt>
                <c:pt idx="18052">
                  <c:v>36487</c:v>
                </c:pt>
                <c:pt idx="18053">
                  <c:v>36488</c:v>
                </c:pt>
                <c:pt idx="18054">
                  <c:v>36490</c:v>
                </c:pt>
                <c:pt idx="18055">
                  <c:v>36493</c:v>
                </c:pt>
                <c:pt idx="18056">
                  <c:v>36494</c:v>
                </c:pt>
                <c:pt idx="18057">
                  <c:v>36495</c:v>
                </c:pt>
                <c:pt idx="18058">
                  <c:v>36496</c:v>
                </c:pt>
                <c:pt idx="18059">
                  <c:v>36497</c:v>
                </c:pt>
                <c:pt idx="18060">
                  <c:v>36500</c:v>
                </c:pt>
                <c:pt idx="18061">
                  <c:v>36501</c:v>
                </c:pt>
                <c:pt idx="18062">
                  <c:v>36502</c:v>
                </c:pt>
                <c:pt idx="18063">
                  <c:v>36503</c:v>
                </c:pt>
                <c:pt idx="18064">
                  <c:v>36504</c:v>
                </c:pt>
                <c:pt idx="18065">
                  <c:v>36507</c:v>
                </c:pt>
                <c:pt idx="18066">
                  <c:v>36508</c:v>
                </c:pt>
                <c:pt idx="18067">
                  <c:v>36509</c:v>
                </c:pt>
                <c:pt idx="18068">
                  <c:v>36510</c:v>
                </c:pt>
                <c:pt idx="18069">
                  <c:v>36511</c:v>
                </c:pt>
                <c:pt idx="18070">
                  <c:v>36514</c:v>
                </c:pt>
                <c:pt idx="18071">
                  <c:v>36515</c:v>
                </c:pt>
                <c:pt idx="18072">
                  <c:v>36516</c:v>
                </c:pt>
                <c:pt idx="18073">
                  <c:v>36517</c:v>
                </c:pt>
                <c:pt idx="18074">
                  <c:v>36521</c:v>
                </c:pt>
                <c:pt idx="18075">
                  <c:v>36522</c:v>
                </c:pt>
                <c:pt idx="18076">
                  <c:v>36523</c:v>
                </c:pt>
                <c:pt idx="18077">
                  <c:v>36524</c:v>
                </c:pt>
                <c:pt idx="18078">
                  <c:v>36525</c:v>
                </c:pt>
                <c:pt idx="18079">
                  <c:v>36528</c:v>
                </c:pt>
                <c:pt idx="18080">
                  <c:v>36529</c:v>
                </c:pt>
                <c:pt idx="18081">
                  <c:v>36530</c:v>
                </c:pt>
                <c:pt idx="18082">
                  <c:v>36531</c:v>
                </c:pt>
                <c:pt idx="18083">
                  <c:v>36532</c:v>
                </c:pt>
                <c:pt idx="18084">
                  <c:v>36535</c:v>
                </c:pt>
                <c:pt idx="18085">
                  <c:v>36536</c:v>
                </c:pt>
                <c:pt idx="18086">
                  <c:v>36537</c:v>
                </c:pt>
                <c:pt idx="18087">
                  <c:v>36538</c:v>
                </c:pt>
                <c:pt idx="18088">
                  <c:v>36539</c:v>
                </c:pt>
                <c:pt idx="18089">
                  <c:v>36543</c:v>
                </c:pt>
                <c:pt idx="18090">
                  <c:v>36544</c:v>
                </c:pt>
                <c:pt idx="18091">
                  <c:v>36545</c:v>
                </c:pt>
                <c:pt idx="18092">
                  <c:v>36546</c:v>
                </c:pt>
                <c:pt idx="18093">
                  <c:v>36549</c:v>
                </c:pt>
                <c:pt idx="18094">
                  <c:v>36550</c:v>
                </c:pt>
                <c:pt idx="18095">
                  <c:v>36551</c:v>
                </c:pt>
                <c:pt idx="18096">
                  <c:v>36552</c:v>
                </c:pt>
                <c:pt idx="18097">
                  <c:v>36553</c:v>
                </c:pt>
                <c:pt idx="18098">
                  <c:v>36556</c:v>
                </c:pt>
                <c:pt idx="18099">
                  <c:v>36557</c:v>
                </c:pt>
                <c:pt idx="18100">
                  <c:v>36558</c:v>
                </c:pt>
                <c:pt idx="18101">
                  <c:v>36559</c:v>
                </c:pt>
                <c:pt idx="18102">
                  <c:v>36560</c:v>
                </c:pt>
                <c:pt idx="18103">
                  <c:v>36563</c:v>
                </c:pt>
                <c:pt idx="18104">
                  <c:v>36564</c:v>
                </c:pt>
                <c:pt idx="18105">
                  <c:v>36565</c:v>
                </c:pt>
                <c:pt idx="18106">
                  <c:v>36566</c:v>
                </c:pt>
                <c:pt idx="18107">
                  <c:v>36567</c:v>
                </c:pt>
                <c:pt idx="18108">
                  <c:v>36570</c:v>
                </c:pt>
                <c:pt idx="18109">
                  <c:v>36571</c:v>
                </c:pt>
                <c:pt idx="18110">
                  <c:v>36572</c:v>
                </c:pt>
                <c:pt idx="18111">
                  <c:v>36573</c:v>
                </c:pt>
                <c:pt idx="18112">
                  <c:v>36574</c:v>
                </c:pt>
                <c:pt idx="18113">
                  <c:v>36578</c:v>
                </c:pt>
                <c:pt idx="18114">
                  <c:v>36579</c:v>
                </c:pt>
                <c:pt idx="18115">
                  <c:v>36580</c:v>
                </c:pt>
                <c:pt idx="18116">
                  <c:v>36581</c:v>
                </c:pt>
                <c:pt idx="18117">
                  <c:v>36584</c:v>
                </c:pt>
                <c:pt idx="18118">
                  <c:v>36585</c:v>
                </c:pt>
                <c:pt idx="18119">
                  <c:v>36586</c:v>
                </c:pt>
                <c:pt idx="18120">
                  <c:v>36587</c:v>
                </c:pt>
                <c:pt idx="18121">
                  <c:v>36588</c:v>
                </c:pt>
                <c:pt idx="18122">
                  <c:v>36591</c:v>
                </c:pt>
                <c:pt idx="18123">
                  <c:v>36592</c:v>
                </c:pt>
                <c:pt idx="18124">
                  <c:v>36593</c:v>
                </c:pt>
                <c:pt idx="18125">
                  <c:v>36594</c:v>
                </c:pt>
                <c:pt idx="18126">
                  <c:v>36595</c:v>
                </c:pt>
                <c:pt idx="18127">
                  <c:v>36598</c:v>
                </c:pt>
                <c:pt idx="18128">
                  <c:v>36599</c:v>
                </c:pt>
                <c:pt idx="18129">
                  <c:v>36600</c:v>
                </c:pt>
                <c:pt idx="18130">
                  <c:v>36601</c:v>
                </c:pt>
                <c:pt idx="18131">
                  <c:v>36602</c:v>
                </c:pt>
                <c:pt idx="18132">
                  <c:v>36605</c:v>
                </c:pt>
                <c:pt idx="18133">
                  <c:v>36606</c:v>
                </c:pt>
                <c:pt idx="18134">
                  <c:v>36607</c:v>
                </c:pt>
                <c:pt idx="18135">
                  <c:v>36608</c:v>
                </c:pt>
                <c:pt idx="18136">
                  <c:v>36609</c:v>
                </c:pt>
                <c:pt idx="18137">
                  <c:v>36612</c:v>
                </c:pt>
                <c:pt idx="18138">
                  <c:v>36613</c:v>
                </c:pt>
                <c:pt idx="18139">
                  <c:v>36614</c:v>
                </c:pt>
                <c:pt idx="18140">
                  <c:v>36615</c:v>
                </c:pt>
                <c:pt idx="18141">
                  <c:v>36616</c:v>
                </c:pt>
                <c:pt idx="18142">
                  <c:v>36619</c:v>
                </c:pt>
                <c:pt idx="18143">
                  <c:v>36620</c:v>
                </c:pt>
                <c:pt idx="18144">
                  <c:v>36621</c:v>
                </c:pt>
                <c:pt idx="18145">
                  <c:v>36622</c:v>
                </c:pt>
                <c:pt idx="18146">
                  <c:v>36623</c:v>
                </c:pt>
                <c:pt idx="18147">
                  <c:v>36626</c:v>
                </c:pt>
                <c:pt idx="18148">
                  <c:v>36627</c:v>
                </c:pt>
                <c:pt idx="18149">
                  <c:v>36628</c:v>
                </c:pt>
                <c:pt idx="18150">
                  <c:v>36629</c:v>
                </c:pt>
                <c:pt idx="18151">
                  <c:v>36630</c:v>
                </c:pt>
                <c:pt idx="18152">
                  <c:v>36633</c:v>
                </c:pt>
                <c:pt idx="18153">
                  <c:v>36634</c:v>
                </c:pt>
                <c:pt idx="18154">
                  <c:v>36635</c:v>
                </c:pt>
                <c:pt idx="18155">
                  <c:v>36636</c:v>
                </c:pt>
                <c:pt idx="18156">
                  <c:v>36640</c:v>
                </c:pt>
                <c:pt idx="18157">
                  <c:v>36641</c:v>
                </c:pt>
                <c:pt idx="18158">
                  <c:v>36642</c:v>
                </c:pt>
                <c:pt idx="18159">
                  <c:v>36643</c:v>
                </c:pt>
                <c:pt idx="18160">
                  <c:v>36644</c:v>
                </c:pt>
                <c:pt idx="18161">
                  <c:v>36647</c:v>
                </c:pt>
                <c:pt idx="18162">
                  <c:v>36648</c:v>
                </c:pt>
                <c:pt idx="18163">
                  <c:v>36649</c:v>
                </c:pt>
                <c:pt idx="18164">
                  <c:v>36650</c:v>
                </c:pt>
                <c:pt idx="18165">
                  <c:v>36651</c:v>
                </c:pt>
                <c:pt idx="18166">
                  <c:v>36654</c:v>
                </c:pt>
                <c:pt idx="18167">
                  <c:v>36655</c:v>
                </c:pt>
                <c:pt idx="18168">
                  <c:v>36656</c:v>
                </c:pt>
                <c:pt idx="18169">
                  <c:v>36657</c:v>
                </c:pt>
                <c:pt idx="18170">
                  <c:v>36658</c:v>
                </c:pt>
                <c:pt idx="18171">
                  <c:v>36661</c:v>
                </c:pt>
                <c:pt idx="18172">
                  <c:v>36662</c:v>
                </c:pt>
                <c:pt idx="18173">
                  <c:v>36663</c:v>
                </c:pt>
                <c:pt idx="18174">
                  <c:v>36664</c:v>
                </c:pt>
                <c:pt idx="18175">
                  <c:v>36665</c:v>
                </c:pt>
                <c:pt idx="18176">
                  <c:v>36668</c:v>
                </c:pt>
                <c:pt idx="18177">
                  <c:v>36669</c:v>
                </c:pt>
                <c:pt idx="18178">
                  <c:v>36670</c:v>
                </c:pt>
                <c:pt idx="18179">
                  <c:v>36671</c:v>
                </c:pt>
                <c:pt idx="18180">
                  <c:v>36672</c:v>
                </c:pt>
                <c:pt idx="18181">
                  <c:v>36676</c:v>
                </c:pt>
                <c:pt idx="18182">
                  <c:v>36677</c:v>
                </c:pt>
                <c:pt idx="18183">
                  <c:v>36678</c:v>
                </c:pt>
                <c:pt idx="18184">
                  <c:v>36679</c:v>
                </c:pt>
                <c:pt idx="18185">
                  <c:v>36682</c:v>
                </c:pt>
                <c:pt idx="18186">
                  <c:v>36683</c:v>
                </c:pt>
                <c:pt idx="18187">
                  <c:v>36684</c:v>
                </c:pt>
                <c:pt idx="18188">
                  <c:v>36685</c:v>
                </c:pt>
                <c:pt idx="18189">
                  <c:v>36686</c:v>
                </c:pt>
                <c:pt idx="18190">
                  <c:v>36689</c:v>
                </c:pt>
                <c:pt idx="18191">
                  <c:v>36690</c:v>
                </c:pt>
                <c:pt idx="18192">
                  <c:v>36691</c:v>
                </c:pt>
                <c:pt idx="18193">
                  <c:v>36692</c:v>
                </c:pt>
                <c:pt idx="18194">
                  <c:v>36693</c:v>
                </c:pt>
                <c:pt idx="18195">
                  <c:v>36696</c:v>
                </c:pt>
                <c:pt idx="18196">
                  <c:v>36697</c:v>
                </c:pt>
                <c:pt idx="18197">
                  <c:v>36698</c:v>
                </c:pt>
                <c:pt idx="18198">
                  <c:v>36699</c:v>
                </c:pt>
                <c:pt idx="18199">
                  <c:v>36700</c:v>
                </c:pt>
                <c:pt idx="18200">
                  <c:v>36703</c:v>
                </c:pt>
                <c:pt idx="18201">
                  <c:v>36704</c:v>
                </c:pt>
                <c:pt idx="18202">
                  <c:v>36705</c:v>
                </c:pt>
                <c:pt idx="18203">
                  <c:v>36706</c:v>
                </c:pt>
                <c:pt idx="18204">
                  <c:v>36707</c:v>
                </c:pt>
                <c:pt idx="18205">
                  <c:v>36710</c:v>
                </c:pt>
                <c:pt idx="18206">
                  <c:v>36712</c:v>
                </c:pt>
                <c:pt idx="18207">
                  <c:v>36713</c:v>
                </c:pt>
                <c:pt idx="18208">
                  <c:v>36714</c:v>
                </c:pt>
                <c:pt idx="18209">
                  <c:v>36717</c:v>
                </c:pt>
                <c:pt idx="18210">
                  <c:v>36718</c:v>
                </c:pt>
                <c:pt idx="18211">
                  <c:v>36719</c:v>
                </c:pt>
                <c:pt idx="18212">
                  <c:v>36720</c:v>
                </c:pt>
                <c:pt idx="18213">
                  <c:v>36721</c:v>
                </c:pt>
                <c:pt idx="18214">
                  <c:v>36724</c:v>
                </c:pt>
                <c:pt idx="18215">
                  <c:v>36725</c:v>
                </c:pt>
                <c:pt idx="18216">
                  <c:v>36726</c:v>
                </c:pt>
                <c:pt idx="18217">
                  <c:v>36727</c:v>
                </c:pt>
                <c:pt idx="18218">
                  <c:v>36728</c:v>
                </c:pt>
                <c:pt idx="18219">
                  <c:v>36731</c:v>
                </c:pt>
                <c:pt idx="18220">
                  <c:v>36732</c:v>
                </c:pt>
                <c:pt idx="18221">
                  <c:v>36733</c:v>
                </c:pt>
                <c:pt idx="18222">
                  <c:v>36734</c:v>
                </c:pt>
                <c:pt idx="18223">
                  <c:v>36735</c:v>
                </c:pt>
                <c:pt idx="18224">
                  <c:v>36738</c:v>
                </c:pt>
                <c:pt idx="18225">
                  <c:v>36739</c:v>
                </c:pt>
                <c:pt idx="18226">
                  <c:v>36740</c:v>
                </c:pt>
                <c:pt idx="18227">
                  <c:v>36741</c:v>
                </c:pt>
                <c:pt idx="18228">
                  <c:v>36742</c:v>
                </c:pt>
                <c:pt idx="18229">
                  <c:v>36745</c:v>
                </c:pt>
                <c:pt idx="18230">
                  <c:v>36746</c:v>
                </c:pt>
                <c:pt idx="18231">
                  <c:v>36747</c:v>
                </c:pt>
                <c:pt idx="18232">
                  <c:v>36748</c:v>
                </c:pt>
                <c:pt idx="18233">
                  <c:v>36749</c:v>
                </c:pt>
                <c:pt idx="18234">
                  <c:v>36752</c:v>
                </c:pt>
                <c:pt idx="18235">
                  <c:v>36753</c:v>
                </c:pt>
                <c:pt idx="18236">
                  <c:v>36754</c:v>
                </c:pt>
                <c:pt idx="18237">
                  <c:v>36755</c:v>
                </c:pt>
                <c:pt idx="18238">
                  <c:v>36756</c:v>
                </c:pt>
                <c:pt idx="18239">
                  <c:v>36759</c:v>
                </c:pt>
                <c:pt idx="18240">
                  <c:v>36760</c:v>
                </c:pt>
                <c:pt idx="18241">
                  <c:v>36761</c:v>
                </c:pt>
                <c:pt idx="18242">
                  <c:v>36762</c:v>
                </c:pt>
                <c:pt idx="18243">
                  <c:v>36763</c:v>
                </c:pt>
                <c:pt idx="18244">
                  <c:v>36766</c:v>
                </c:pt>
                <c:pt idx="18245">
                  <c:v>36767</c:v>
                </c:pt>
                <c:pt idx="18246">
                  <c:v>36768</c:v>
                </c:pt>
                <c:pt idx="18247">
                  <c:v>36769</c:v>
                </c:pt>
                <c:pt idx="18248">
                  <c:v>36770</c:v>
                </c:pt>
                <c:pt idx="18249">
                  <c:v>36774</c:v>
                </c:pt>
                <c:pt idx="18250">
                  <c:v>36775</c:v>
                </c:pt>
                <c:pt idx="18251">
                  <c:v>36776</c:v>
                </c:pt>
                <c:pt idx="18252">
                  <c:v>36777</c:v>
                </c:pt>
                <c:pt idx="18253">
                  <c:v>36780</c:v>
                </c:pt>
                <c:pt idx="18254">
                  <c:v>36781</c:v>
                </c:pt>
                <c:pt idx="18255">
                  <c:v>36782</c:v>
                </c:pt>
                <c:pt idx="18256">
                  <c:v>36783</c:v>
                </c:pt>
                <c:pt idx="18257">
                  <c:v>36784</c:v>
                </c:pt>
                <c:pt idx="18258">
                  <c:v>36787</c:v>
                </c:pt>
                <c:pt idx="18259">
                  <c:v>36788</c:v>
                </c:pt>
                <c:pt idx="18260">
                  <c:v>36789</c:v>
                </c:pt>
                <c:pt idx="18261">
                  <c:v>36790</c:v>
                </c:pt>
                <c:pt idx="18262">
                  <c:v>36791</c:v>
                </c:pt>
                <c:pt idx="18263">
                  <c:v>36794</c:v>
                </c:pt>
                <c:pt idx="18264">
                  <c:v>36795</c:v>
                </c:pt>
                <c:pt idx="18265">
                  <c:v>36796</c:v>
                </c:pt>
                <c:pt idx="18266">
                  <c:v>36797</c:v>
                </c:pt>
                <c:pt idx="18267">
                  <c:v>36798</c:v>
                </c:pt>
                <c:pt idx="18268">
                  <c:v>36801</c:v>
                </c:pt>
                <c:pt idx="18269">
                  <c:v>36802</c:v>
                </c:pt>
                <c:pt idx="18270">
                  <c:v>36803</c:v>
                </c:pt>
                <c:pt idx="18271">
                  <c:v>36804</c:v>
                </c:pt>
                <c:pt idx="18272">
                  <c:v>36805</c:v>
                </c:pt>
                <c:pt idx="18273">
                  <c:v>36808</c:v>
                </c:pt>
                <c:pt idx="18274">
                  <c:v>36809</c:v>
                </c:pt>
                <c:pt idx="18275">
                  <c:v>36810</c:v>
                </c:pt>
                <c:pt idx="18276">
                  <c:v>36811</c:v>
                </c:pt>
                <c:pt idx="18277">
                  <c:v>36812</c:v>
                </c:pt>
                <c:pt idx="18278">
                  <c:v>36815</c:v>
                </c:pt>
                <c:pt idx="18279">
                  <c:v>36816</c:v>
                </c:pt>
                <c:pt idx="18280">
                  <c:v>36817</c:v>
                </c:pt>
                <c:pt idx="18281">
                  <c:v>36818</c:v>
                </c:pt>
                <c:pt idx="18282">
                  <c:v>36819</c:v>
                </c:pt>
                <c:pt idx="18283">
                  <c:v>36822</c:v>
                </c:pt>
                <c:pt idx="18284">
                  <c:v>36823</c:v>
                </c:pt>
                <c:pt idx="18285">
                  <c:v>36824</c:v>
                </c:pt>
                <c:pt idx="18286">
                  <c:v>36825</c:v>
                </c:pt>
                <c:pt idx="18287">
                  <c:v>36826</c:v>
                </c:pt>
                <c:pt idx="18288">
                  <c:v>36829</c:v>
                </c:pt>
                <c:pt idx="18289">
                  <c:v>36830</c:v>
                </c:pt>
                <c:pt idx="18290">
                  <c:v>36831</c:v>
                </c:pt>
                <c:pt idx="18291">
                  <c:v>36832</c:v>
                </c:pt>
                <c:pt idx="18292">
                  <c:v>36833</c:v>
                </c:pt>
                <c:pt idx="18293">
                  <c:v>36836</c:v>
                </c:pt>
                <c:pt idx="18294">
                  <c:v>36837</c:v>
                </c:pt>
                <c:pt idx="18295">
                  <c:v>36838</c:v>
                </c:pt>
                <c:pt idx="18296">
                  <c:v>36839</c:v>
                </c:pt>
                <c:pt idx="18297">
                  <c:v>36840</c:v>
                </c:pt>
                <c:pt idx="18298">
                  <c:v>36843</c:v>
                </c:pt>
                <c:pt idx="18299">
                  <c:v>36844</c:v>
                </c:pt>
                <c:pt idx="18300">
                  <c:v>36845</c:v>
                </c:pt>
                <c:pt idx="18301">
                  <c:v>36846</c:v>
                </c:pt>
                <c:pt idx="18302">
                  <c:v>36847</c:v>
                </c:pt>
                <c:pt idx="18303">
                  <c:v>36850</c:v>
                </c:pt>
                <c:pt idx="18304">
                  <c:v>36851</c:v>
                </c:pt>
                <c:pt idx="18305">
                  <c:v>36852</c:v>
                </c:pt>
                <c:pt idx="18306">
                  <c:v>36854</c:v>
                </c:pt>
                <c:pt idx="18307">
                  <c:v>36857</c:v>
                </c:pt>
                <c:pt idx="18308">
                  <c:v>36858</c:v>
                </c:pt>
                <c:pt idx="18309">
                  <c:v>36859</c:v>
                </c:pt>
                <c:pt idx="18310">
                  <c:v>36860</c:v>
                </c:pt>
                <c:pt idx="18311">
                  <c:v>36861</c:v>
                </c:pt>
                <c:pt idx="18312">
                  <c:v>36864</c:v>
                </c:pt>
                <c:pt idx="18313">
                  <c:v>36865</c:v>
                </c:pt>
                <c:pt idx="18314">
                  <c:v>36866</c:v>
                </c:pt>
                <c:pt idx="18315">
                  <c:v>36867</c:v>
                </c:pt>
                <c:pt idx="18316">
                  <c:v>36868</c:v>
                </c:pt>
                <c:pt idx="18317">
                  <c:v>36871</c:v>
                </c:pt>
                <c:pt idx="18318">
                  <c:v>36872</c:v>
                </c:pt>
                <c:pt idx="18319">
                  <c:v>36873</c:v>
                </c:pt>
                <c:pt idx="18320">
                  <c:v>36874</c:v>
                </c:pt>
                <c:pt idx="18321">
                  <c:v>36875</c:v>
                </c:pt>
                <c:pt idx="18322">
                  <c:v>36878</c:v>
                </c:pt>
                <c:pt idx="18323">
                  <c:v>36879</c:v>
                </c:pt>
                <c:pt idx="18324">
                  <c:v>36880</c:v>
                </c:pt>
                <c:pt idx="18325">
                  <c:v>36881</c:v>
                </c:pt>
                <c:pt idx="18326">
                  <c:v>36882</c:v>
                </c:pt>
                <c:pt idx="18327">
                  <c:v>36886</c:v>
                </c:pt>
                <c:pt idx="18328">
                  <c:v>36887</c:v>
                </c:pt>
                <c:pt idx="18329">
                  <c:v>36888</c:v>
                </c:pt>
                <c:pt idx="18330">
                  <c:v>36889</c:v>
                </c:pt>
                <c:pt idx="18331">
                  <c:v>36893</c:v>
                </c:pt>
                <c:pt idx="18332">
                  <c:v>36894</c:v>
                </c:pt>
                <c:pt idx="18333">
                  <c:v>36895</c:v>
                </c:pt>
                <c:pt idx="18334">
                  <c:v>36896</c:v>
                </c:pt>
                <c:pt idx="18335">
                  <c:v>36899</c:v>
                </c:pt>
                <c:pt idx="18336">
                  <c:v>36900</c:v>
                </c:pt>
                <c:pt idx="18337">
                  <c:v>36901</c:v>
                </c:pt>
                <c:pt idx="18338">
                  <c:v>36902</c:v>
                </c:pt>
                <c:pt idx="18339">
                  <c:v>36903</c:v>
                </c:pt>
                <c:pt idx="18340">
                  <c:v>36907</c:v>
                </c:pt>
                <c:pt idx="18341">
                  <c:v>36908</c:v>
                </c:pt>
                <c:pt idx="18342">
                  <c:v>36909</c:v>
                </c:pt>
                <c:pt idx="18343">
                  <c:v>36910</c:v>
                </c:pt>
                <c:pt idx="18344">
                  <c:v>36913</c:v>
                </c:pt>
                <c:pt idx="18345">
                  <c:v>36914</c:v>
                </c:pt>
                <c:pt idx="18346">
                  <c:v>36915</c:v>
                </c:pt>
                <c:pt idx="18347">
                  <c:v>36916</c:v>
                </c:pt>
                <c:pt idx="18348">
                  <c:v>36917</c:v>
                </c:pt>
                <c:pt idx="18349">
                  <c:v>36920</c:v>
                </c:pt>
                <c:pt idx="18350">
                  <c:v>36921</c:v>
                </c:pt>
                <c:pt idx="18351">
                  <c:v>36922</c:v>
                </c:pt>
                <c:pt idx="18352">
                  <c:v>36923</c:v>
                </c:pt>
                <c:pt idx="18353">
                  <c:v>36924</c:v>
                </c:pt>
                <c:pt idx="18354">
                  <c:v>36927</c:v>
                </c:pt>
                <c:pt idx="18355">
                  <c:v>36928</c:v>
                </c:pt>
                <c:pt idx="18356">
                  <c:v>36929</c:v>
                </c:pt>
                <c:pt idx="18357">
                  <c:v>36930</c:v>
                </c:pt>
                <c:pt idx="18358">
                  <c:v>36931</c:v>
                </c:pt>
                <c:pt idx="18359">
                  <c:v>36934</c:v>
                </c:pt>
                <c:pt idx="18360">
                  <c:v>36935</c:v>
                </c:pt>
                <c:pt idx="18361">
                  <c:v>36936</c:v>
                </c:pt>
                <c:pt idx="18362">
                  <c:v>36937</c:v>
                </c:pt>
                <c:pt idx="18363">
                  <c:v>36938</c:v>
                </c:pt>
                <c:pt idx="18364">
                  <c:v>36942</c:v>
                </c:pt>
                <c:pt idx="18365">
                  <c:v>36943</c:v>
                </c:pt>
                <c:pt idx="18366">
                  <c:v>36944</c:v>
                </c:pt>
                <c:pt idx="18367">
                  <c:v>36945</c:v>
                </c:pt>
                <c:pt idx="18368">
                  <c:v>36948</c:v>
                </c:pt>
                <c:pt idx="18369">
                  <c:v>36949</c:v>
                </c:pt>
                <c:pt idx="18370">
                  <c:v>36950</c:v>
                </c:pt>
                <c:pt idx="18371">
                  <c:v>36951</c:v>
                </c:pt>
                <c:pt idx="18372">
                  <c:v>36952</c:v>
                </c:pt>
                <c:pt idx="18373">
                  <c:v>36955</c:v>
                </c:pt>
                <c:pt idx="18374">
                  <c:v>36956</c:v>
                </c:pt>
                <c:pt idx="18375">
                  <c:v>36957</c:v>
                </c:pt>
                <c:pt idx="18376">
                  <c:v>36958</c:v>
                </c:pt>
                <c:pt idx="18377">
                  <c:v>36959</c:v>
                </c:pt>
                <c:pt idx="18378">
                  <c:v>36962</c:v>
                </c:pt>
                <c:pt idx="18379">
                  <c:v>36963</c:v>
                </c:pt>
                <c:pt idx="18380">
                  <c:v>36964</c:v>
                </c:pt>
                <c:pt idx="18381">
                  <c:v>36965</c:v>
                </c:pt>
                <c:pt idx="18382">
                  <c:v>36966</c:v>
                </c:pt>
                <c:pt idx="18383">
                  <c:v>36969</c:v>
                </c:pt>
                <c:pt idx="18384">
                  <c:v>36970</c:v>
                </c:pt>
                <c:pt idx="18385">
                  <c:v>36971</c:v>
                </c:pt>
                <c:pt idx="18386">
                  <c:v>36972</c:v>
                </c:pt>
                <c:pt idx="18387">
                  <c:v>36973</c:v>
                </c:pt>
                <c:pt idx="18388">
                  <c:v>36976</c:v>
                </c:pt>
                <c:pt idx="18389">
                  <c:v>36977</c:v>
                </c:pt>
                <c:pt idx="18390">
                  <c:v>36978</c:v>
                </c:pt>
                <c:pt idx="18391">
                  <c:v>36979</c:v>
                </c:pt>
                <c:pt idx="18392">
                  <c:v>36980</c:v>
                </c:pt>
                <c:pt idx="18393">
                  <c:v>36983</c:v>
                </c:pt>
                <c:pt idx="18394">
                  <c:v>36984</c:v>
                </c:pt>
                <c:pt idx="18395">
                  <c:v>36985</c:v>
                </c:pt>
                <c:pt idx="18396">
                  <c:v>36986</c:v>
                </c:pt>
                <c:pt idx="18397">
                  <c:v>36987</c:v>
                </c:pt>
                <c:pt idx="18398">
                  <c:v>36990</c:v>
                </c:pt>
                <c:pt idx="18399">
                  <c:v>36991</c:v>
                </c:pt>
                <c:pt idx="18400">
                  <c:v>36992</c:v>
                </c:pt>
                <c:pt idx="18401">
                  <c:v>36993</c:v>
                </c:pt>
                <c:pt idx="18402">
                  <c:v>36997</c:v>
                </c:pt>
                <c:pt idx="18403">
                  <c:v>36998</c:v>
                </c:pt>
                <c:pt idx="18404">
                  <c:v>36999</c:v>
                </c:pt>
                <c:pt idx="18405">
                  <c:v>37000</c:v>
                </c:pt>
                <c:pt idx="18406">
                  <c:v>37001</c:v>
                </c:pt>
                <c:pt idx="18407">
                  <c:v>37004</c:v>
                </c:pt>
                <c:pt idx="18408">
                  <c:v>37005</c:v>
                </c:pt>
                <c:pt idx="18409">
                  <c:v>37006</c:v>
                </c:pt>
                <c:pt idx="18410">
                  <c:v>37007</c:v>
                </c:pt>
                <c:pt idx="18411">
                  <c:v>37008</c:v>
                </c:pt>
                <c:pt idx="18412">
                  <c:v>37011</c:v>
                </c:pt>
                <c:pt idx="18413">
                  <c:v>37012</c:v>
                </c:pt>
                <c:pt idx="18414">
                  <c:v>37013</c:v>
                </c:pt>
                <c:pt idx="18415">
                  <c:v>37014</c:v>
                </c:pt>
                <c:pt idx="18416">
                  <c:v>37015</c:v>
                </c:pt>
                <c:pt idx="18417">
                  <c:v>37018</c:v>
                </c:pt>
                <c:pt idx="18418">
                  <c:v>37019</c:v>
                </c:pt>
                <c:pt idx="18419">
                  <c:v>37020</c:v>
                </c:pt>
                <c:pt idx="18420">
                  <c:v>37021</c:v>
                </c:pt>
                <c:pt idx="18421">
                  <c:v>37022</c:v>
                </c:pt>
                <c:pt idx="18422">
                  <c:v>37025</c:v>
                </c:pt>
                <c:pt idx="18423">
                  <c:v>37026</c:v>
                </c:pt>
                <c:pt idx="18424">
                  <c:v>37027</c:v>
                </c:pt>
                <c:pt idx="18425">
                  <c:v>37028</c:v>
                </c:pt>
                <c:pt idx="18426">
                  <c:v>37029</c:v>
                </c:pt>
                <c:pt idx="18427">
                  <c:v>37032</c:v>
                </c:pt>
                <c:pt idx="18428">
                  <c:v>37033</c:v>
                </c:pt>
                <c:pt idx="18429">
                  <c:v>37034</c:v>
                </c:pt>
                <c:pt idx="18430">
                  <c:v>37035</c:v>
                </c:pt>
                <c:pt idx="18431">
                  <c:v>37036</c:v>
                </c:pt>
                <c:pt idx="18432">
                  <c:v>37040</c:v>
                </c:pt>
                <c:pt idx="18433">
                  <c:v>37041</c:v>
                </c:pt>
                <c:pt idx="18434">
                  <c:v>37042</c:v>
                </c:pt>
                <c:pt idx="18435">
                  <c:v>37043</c:v>
                </c:pt>
                <c:pt idx="18436">
                  <c:v>37046</c:v>
                </c:pt>
                <c:pt idx="18437">
                  <c:v>37047</c:v>
                </c:pt>
                <c:pt idx="18438">
                  <c:v>37048</c:v>
                </c:pt>
                <c:pt idx="18439">
                  <c:v>37049</c:v>
                </c:pt>
                <c:pt idx="18440">
                  <c:v>37050</c:v>
                </c:pt>
                <c:pt idx="18441">
                  <c:v>37053</c:v>
                </c:pt>
                <c:pt idx="18442">
                  <c:v>37054</c:v>
                </c:pt>
                <c:pt idx="18443">
                  <c:v>37055</c:v>
                </c:pt>
                <c:pt idx="18444">
                  <c:v>37056</c:v>
                </c:pt>
                <c:pt idx="18445">
                  <c:v>37057</c:v>
                </c:pt>
                <c:pt idx="18446">
                  <c:v>37060</c:v>
                </c:pt>
                <c:pt idx="18447">
                  <c:v>37061</c:v>
                </c:pt>
                <c:pt idx="18448">
                  <c:v>37062</c:v>
                </c:pt>
                <c:pt idx="18449">
                  <c:v>37063</c:v>
                </c:pt>
                <c:pt idx="18450">
                  <c:v>37064</c:v>
                </c:pt>
                <c:pt idx="18451">
                  <c:v>37067</c:v>
                </c:pt>
                <c:pt idx="18452">
                  <c:v>37068</c:v>
                </c:pt>
                <c:pt idx="18453">
                  <c:v>37069</c:v>
                </c:pt>
                <c:pt idx="18454">
                  <c:v>37070</c:v>
                </c:pt>
                <c:pt idx="18455">
                  <c:v>37071</c:v>
                </c:pt>
                <c:pt idx="18456">
                  <c:v>37074</c:v>
                </c:pt>
                <c:pt idx="18457">
                  <c:v>37075</c:v>
                </c:pt>
                <c:pt idx="18458">
                  <c:v>37077</c:v>
                </c:pt>
                <c:pt idx="18459">
                  <c:v>37078</c:v>
                </c:pt>
                <c:pt idx="18460">
                  <c:v>37081</c:v>
                </c:pt>
                <c:pt idx="18461">
                  <c:v>37082</c:v>
                </c:pt>
                <c:pt idx="18462">
                  <c:v>37083</c:v>
                </c:pt>
                <c:pt idx="18463">
                  <c:v>37084</c:v>
                </c:pt>
                <c:pt idx="18464">
                  <c:v>37085</c:v>
                </c:pt>
                <c:pt idx="18465">
                  <c:v>37088</c:v>
                </c:pt>
                <c:pt idx="18466">
                  <c:v>37089</c:v>
                </c:pt>
                <c:pt idx="18467">
                  <c:v>37090</c:v>
                </c:pt>
                <c:pt idx="18468">
                  <c:v>37091</c:v>
                </c:pt>
                <c:pt idx="18469">
                  <c:v>37092</c:v>
                </c:pt>
                <c:pt idx="18470">
                  <c:v>37095</c:v>
                </c:pt>
                <c:pt idx="18471">
                  <c:v>37096</c:v>
                </c:pt>
                <c:pt idx="18472">
                  <c:v>37097</c:v>
                </c:pt>
                <c:pt idx="18473">
                  <c:v>37098</c:v>
                </c:pt>
                <c:pt idx="18474">
                  <c:v>37099</c:v>
                </c:pt>
                <c:pt idx="18475">
                  <c:v>37102</c:v>
                </c:pt>
                <c:pt idx="18476">
                  <c:v>37103</c:v>
                </c:pt>
                <c:pt idx="18477">
                  <c:v>37104</c:v>
                </c:pt>
                <c:pt idx="18478">
                  <c:v>37105</c:v>
                </c:pt>
                <c:pt idx="18479">
                  <c:v>37106</c:v>
                </c:pt>
                <c:pt idx="18480">
                  <c:v>37109</c:v>
                </c:pt>
                <c:pt idx="18481">
                  <c:v>37110</c:v>
                </c:pt>
                <c:pt idx="18482">
                  <c:v>37111</c:v>
                </c:pt>
                <c:pt idx="18483">
                  <c:v>37112</c:v>
                </c:pt>
                <c:pt idx="18484">
                  <c:v>37113</c:v>
                </c:pt>
                <c:pt idx="18485">
                  <c:v>37116</c:v>
                </c:pt>
                <c:pt idx="18486">
                  <c:v>37117</c:v>
                </c:pt>
                <c:pt idx="18487">
                  <c:v>37118</c:v>
                </c:pt>
                <c:pt idx="18488">
                  <c:v>37119</c:v>
                </c:pt>
                <c:pt idx="18489">
                  <c:v>37120</c:v>
                </c:pt>
                <c:pt idx="18490">
                  <c:v>37123</c:v>
                </c:pt>
                <c:pt idx="18491">
                  <c:v>37124</c:v>
                </c:pt>
                <c:pt idx="18492">
                  <c:v>37125</c:v>
                </c:pt>
                <c:pt idx="18493">
                  <c:v>37126</c:v>
                </c:pt>
                <c:pt idx="18494">
                  <c:v>37127</c:v>
                </c:pt>
                <c:pt idx="18495">
                  <c:v>37130</c:v>
                </c:pt>
                <c:pt idx="18496">
                  <c:v>37131</c:v>
                </c:pt>
                <c:pt idx="18497">
                  <c:v>37132</c:v>
                </c:pt>
                <c:pt idx="18498">
                  <c:v>37133</c:v>
                </c:pt>
                <c:pt idx="18499">
                  <c:v>37134</c:v>
                </c:pt>
                <c:pt idx="18500">
                  <c:v>37138</c:v>
                </c:pt>
                <c:pt idx="18501">
                  <c:v>37139</c:v>
                </c:pt>
                <c:pt idx="18502">
                  <c:v>37140</c:v>
                </c:pt>
                <c:pt idx="18503">
                  <c:v>37141</c:v>
                </c:pt>
                <c:pt idx="18504">
                  <c:v>37144</c:v>
                </c:pt>
                <c:pt idx="18505">
                  <c:v>37151</c:v>
                </c:pt>
                <c:pt idx="18506">
                  <c:v>37152</c:v>
                </c:pt>
                <c:pt idx="18507">
                  <c:v>37153</c:v>
                </c:pt>
                <c:pt idx="18508">
                  <c:v>37154</c:v>
                </c:pt>
                <c:pt idx="18509">
                  <c:v>37155</c:v>
                </c:pt>
                <c:pt idx="18510">
                  <c:v>37158</c:v>
                </c:pt>
                <c:pt idx="18511">
                  <c:v>37159</c:v>
                </c:pt>
                <c:pt idx="18512">
                  <c:v>37160</c:v>
                </c:pt>
                <c:pt idx="18513">
                  <c:v>37161</c:v>
                </c:pt>
                <c:pt idx="18514">
                  <c:v>37162</c:v>
                </c:pt>
                <c:pt idx="18515">
                  <c:v>37165</c:v>
                </c:pt>
                <c:pt idx="18516">
                  <c:v>37166</c:v>
                </c:pt>
                <c:pt idx="18517">
                  <c:v>37167</c:v>
                </c:pt>
                <c:pt idx="18518">
                  <c:v>37168</c:v>
                </c:pt>
                <c:pt idx="18519">
                  <c:v>37169</c:v>
                </c:pt>
                <c:pt idx="18520">
                  <c:v>37172</c:v>
                </c:pt>
                <c:pt idx="18521">
                  <c:v>37173</c:v>
                </c:pt>
                <c:pt idx="18522">
                  <c:v>37174</c:v>
                </c:pt>
                <c:pt idx="18523">
                  <c:v>37175</c:v>
                </c:pt>
                <c:pt idx="18524">
                  <c:v>37176</c:v>
                </c:pt>
                <c:pt idx="18525">
                  <c:v>37179</c:v>
                </c:pt>
                <c:pt idx="18526">
                  <c:v>37180</c:v>
                </c:pt>
                <c:pt idx="18527">
                  <c:v>37181</c:v>
                </c:pt>
                <c:pt idx="18528">
                  <c:v>37182</c:v>
                </c:pt>
                <c:pt idx="18529">
                  <c:v>37183</c:v>
                </c:pt>
                <c:pt idx="18530">
                  <c:v>37186</c:v>
                </c:pt>
                <c:pt idx="18531">
                  <c:v>37187</c:v>
                </c:pt>
                <c:pt idx="18532">
                  <c:v>37188</c:v>
                </c:pt>
                <c:pt idx="18533">
                  <c:v>37189</c:v>
                </c:pt>
                <c:pt idx="18534">
                  <c:v>37190</c:v>
                </c:pt>
                <c:pt idx="18535">
                  <c:v>37193</c:v>
                </c:pt>
                <c:pt idx="18536">
                  <c:v>37194</c:v>
                </c:pt>
                <c:pt idx="18537">
                  <c:v>37195</c:v>
                </c:pt>
                <c:pt idx="18538">
                  <c:v>37196</c:v>
                </c:pt>
                <c:pt idx="18539">
                  <c:v>37197</c:v>
                </c:pt>
                <c:pt idx="18540">
                  <c:v>37200</c:v>
                </c:pt>
                <c:pt idx="18541">
                  <c:v>37201</c:v>
                </c:pt>
                <c:pt idx="18542">
                  <c:v>37202</c:v>
                </c:pt>
                <c:pt idx="18543">
                  <c:v>37203</c:v>
                </c:pt>
                <c:pt idx="18544">
                  <c:v>37204</c:v>
                </c:pt>
                <c:pt idx="18545">
                  <c:v>37207</c:v>
                </c:pt>
                <c:pt idx="18546">
                  <c:v>37208</c:v>
                </c:pt>
                <c:pt idx="18547">
                  <c:v>37209</c:v>
                </c:pt>
                <c:pt idx="18548">
                  <c:v>37210</c:v>
                </c:pt>
                <c:pt idx="18549">
                  <c:v>37211</c:v>
                </c:pt>
                <c:pt idx="18550">
                  <c:v>37214</c:v>
                </c:pt>
                <c:pt idx="18551">
                  <c:v>37215</c:v>
                </c:pt>
                <c:pt idx="18552">
                  <c:v>37216</c:v>
                </c:pt>
                <c:pt idx="18553">
                  <c:v>37218</c:v>
                </c:pt>
                <c:pt idx="18554">
                  <c:v>37221</c:v>
                </c:pt>
                <c:pt idx="18555">
                  <c:v>37222</c:v>
                </c:pt>
                <c:pt idx="18556">
                  <c:v>37223</c:v>
                </c:pt>
                <c:pt idx="18557">
                  <c:v>37224</c:v>
                </c:pt>
                <c:pt idx="18558">
                  <c:v>37225</c:v>
                </c:pt>
                <c:pt idx="18559">
                  <c:v>37228</c:v>
                </c:pt>
                <c:pt idx="18560">
                  <c:v>37229</c:v>
                </c:pt>
                <c:pt idx="18561">
                  <c:v>37230</c:v>
                </c:pt>
                <c:pt idx="18562">
                  <c:v>37231</c:v>
                </c:pt>
                <c:pt idx="18563">
                  <c:v>37232</c:v>
                </c:pt>
                <c:pt idx="18564">
                  <c:v>37235</c:v>
                </c:pt>
                <c:pt idx="18565">
                  <c:v>37236</c:v>
                </c:pt>
                <c:pt idx="18566">
                  <c:v>37237</c:v>
                </c:pt>
                <c:pt idx="18567">
                  <c:v>37238</c:v>
                </c:pt>
                <c:pt idx="18568">
                  <c:v>37239</c:v>
                </c:pt>
                <c:pt idx="18569">
                  <c:v>37242</c:v>
                </c:pt>
                <c:pt idx="18570">
                  <c:v>37243</c:v>
                </c:pt>
                <c:pt idx="18571">
                  <c:v>37244</c:v>
                </c:pt>
                <c:pt idx="18572">
                  <c:v>37245</c:v>
                </c:pt>
                <c:pt idx="18573">
                  <c:v>37246</c:v>
                </c:pt>
                <c:pt idx="18574">
                  <c:v>37249</c:v>
                </c:pt>
                <c:pt idx="18575">
                  <c:v>37251</c:v>
                </c:pt>
                <c:pt idx="18576">
                  <c:v>37252</c:v>
                </c:pt>
                <c:pt idx="18577">
                  <c:v>37253</c:v>
                </c:pt>
                <c:pt idx="18578">
                  <c:v>37256</c:v>
                </c:pt>
                <c:pt idx="18579">
                  <c:v>37258</c:v>
                </c:pt>
                <c:pt idx="18580">
                  <c:v>37259</c:v>
                </c:pt>
                <c:pt idx="18581">
                  <c:v>37260</c:v>
                </c:pt>
                <c:pt idx="18582">
                  <c:v>37263</c:v>
                </c:pt>
                <c:pt idx="18583">
                  <c:v>37264</c:v>
                </c:pt>
                <c:pt idx="18584">
                  <c:v>37265</c:v>
                </c:pt>
                <c:pt idx="18585">
                  <c:v>37266</c:v>
                </c:pt>
                <c:pt idx="18586">
                  <c:v>37267</c:v>
                </c:pt>
                <c:pt idx="18587">
                  <c:v>37270</c:v>
                </c:pt>
                <c:pt idx="18588">
                  <c:v>37271</c:v>
                </c:pt>
                <c:pt idx="18589">
                  <c:v>37272</c:v>
                </c:pt>
                <c:pt idx="18590">
                  <c:v>37273</c:v>
                </c:pt>
                <c:pt idx="18591">
                  <c:v>37274</c:v>
                </c:pt>
                <c:pt idx="18592">
                  <c:v>37278</c:v>
                </c:pt>
                <c:pt idx="18593">
                  <c:v>37279</c:v>
                </c:pt>
                <c:pt idx="18594">
                  <c:v>37280</c:v>
                </c:pt>
                <c:pt idx="18595">
                  <c:v>37281</c:v>
                </c:pt>
                <c:pt idx="18596">
                  <c:v>37284</c:v>
                </c:pt>
                <c:pt idx="18597">
                  <c:v>37285</c:v>
                </c:pt>
                <c:pt idx="18598">
                  <c:v>37286</c:v>
                </c:pt>
                <c:pt idx="18599">
                  <c:v>37287</c:v>
                </c:pt>
                <c:pt idx="18600">
                  <c:v>37288</c:v>
                </c:pt>
                <c:pt idx="18601">
                  <c:v>37291</c:v>
                </c:pt>
                <c:pt idx="18602">
                  <c:v>37292</c:v>
                </c:pt>
                <c:pt idx="18603">
                  <c:v>37293</c:v>
                </c:pt>
                <c:pt idx="18604">
                  <c:v>37294</c:v>
                </c:pt>
                <c:pt idx="18605">
                  <c:v>37295</c:v>
                </c:pt>
                <c:pt idx="18606">
                  <c:v>37298</c:v>
                </c:pt>
                <c:pt idx="18607">
                  <c:v>37299</c:v>
                </c:pt>
                <c:pt idx="18608">
                  <c:v>37300</c:v>
                </c:pt>
                <c:pt idx="18609">
                  <c:v>37301</c:v>
                </c:pt>
                <c:pt idx="18610">
                  <c:v>37302</c:v>
                </c:pt>
                <c:pt idx="18611">
                  <c:v>37306</c:v>
                </c:pt>
                <c:pt idx="18612">
                  <c:v>37307</c:v>
                </c:pt>
                <c:pt idx="18613">
                  <c:v>37308</c:v>
                </c:pt>
                <c:pt idx="18614">
                  <c:v>37309</c:v>
                </c:pt>
                <c:pt idx="18615">
                  <c:v>37312</c:v>
                </c:pt>
                <c:pt idx="18616">
                  <c:v>37313</c:v>
                </c:pt>
                <c:pt idx="18617">
                  <c:v>37314</c:v>
                </c:pt>
                <c:pt idx="18618">
                  <c:v>37315</c:v>
                </c:pt>
                <c:pt idx="18619">
                  <c:v>37316</c:v>
                </c:pt>
                <c:pt idx="18620">
                  <c:v>37319</c:v>
                </c:pt>
                <c:pt idx="18621">
                  <c:v>37320</c:v>
                </c:pt>
                <c:pt idx="18622">
                  <c:v>37321</c:v>
                </c:pt>
                <c:pt idx="18623">
                  <c:v>37322</c:v>
                </c:pt>
                <c:pt idx="18624">
                  <c:v>37323</c:v>
                </c:pt>
                <c:pt idx="18625">
                  <c:v>37326</c:v>
                </c:pt>
                <c:pt idx="18626">
                  <c:v>37327</c:v>
                </c:pt>
                <c:pt idx="18627">
                  <c:v>37328</c:v>
                </c:pt>
                <c:pt idx="18628">
                  <c:v>37329</c:v>
                </c:pt>
                <c:pt idx="18629">
                  <c:v>37330</c:v>
                </c:pt>
                <c:pt idx="18630">
                  <c:v>37333</c:v>
                </c:pt>
                <c:pt idx="18631">
                  <c:v>37334</c:v>
                </c:pt>
                <c:pt idx="18632">
                  <c:v>37335</c:v>
                </c:pt>
                <c:pt idx="18633">
                  <c:v>37336</c:v>
                </c:pt>
                <c:pt idx="18634">
                  <c:v>37337</c:v>
                </c:pt>
                <c:pt idx="18635">
                  <c:v>37340</c:v>
                </c:pt>
                <c:pt idx="18636">
                  <c:v>37341</c:v>
                </c:pt>
                <c:pt idx="18637">
                  <c:v>37342</c:v>
                </c:pt>
                <c:pt idx="18638">
                  <c:v>37343</c:v>
                </c:pt>
                <c:pt idx="18639">
                  <c:v>37347</c:v>
                </c:pt>
                <c:pt idx="18640">
                  <c:v>37348</c:v>
                </c:pt>
                <c:pt idx="18641">
                  <c:v>37349</c:v>
                </c:pt>
                <c:pt idx="18642">
                  <c:v>37350</c:v>
                </c:pt>
                <c:pt idx="18643">
                  <c:v>37351</c:v>
                </c:pt>
                <c:pt idx="18644">
                  <c:v>37354</c:v>
                </c:pt>
                <c:pt idx="18645">
                  <c:v>37355</c:v>
                </c:pt>
                <c:pt idx="18646">
                  <c:v>37356</c:v>
                </c:pt>
                <c:pt idx="18647">
                  <c:v>37357</c:v>
                </c:pt>
                <c:pt idx="18648">
                  <c:v>37358</c:v>
                </c:pt>
                <c:pt idx="18649">
                  <c:v>37361</c:v>
                </c:pt>
                <c:pt idx="18650">
                  <c:v>37362</c:v>
                </c:pt>
                <c:pt idx="18651">
                  <c:v>37363</c:v>
                </c:pt>
                <c:pt idx="18652">
                  <c:v>37364</c:v>
                </c:pt>
                <c:pt idx="18653">
                  <c:v>37365</c:v>
                </c:pt>
                <c:pt idx="18654">
                  <c:v>37368</c:v>
                </c:pt>
                <c:pt idx="18655">
                  <c:v>37369</c:v>
                </c:pt>
                <c:pt idx="18656">
                  <c:v>37370</c:v>
                </c:pt>
                <c:pt idx="18657">
                  <c:v>37371</c:v>
                </c:pt>
                <c:pt idx="18658">
                  <c:v>37372</c:v>
                </c:pt>
                <c:pt idx="18659">
                  <c:v>37375</c:v>
                </c:pt>
                <c:pt idx="18660">
                  <c:v>37376</c:v>
                </c:pt>
                <c:pt idx="18661">
                  <c:v>37377</c:v>
                </c:pt>
                <c:pt idx="18662">
                  <c:v>37378</c:v>
                </c:pt>
                <c:pt idx="18663">
                  <c:v>37379</c:v>
                </c:pt>
                <c:pt idx="18664">
                  <c:v>37382</c:v>
                </c:pt>
                <c:pt idx="18665">
                  <c:v>37383</c:v>
                </c:pt>
                <c:pt idx="18666">
                  <c:v>37384</c:v>
                </c:pt>
                <c:pt idx="18667">
                  <c:v>37385</c:v>
                </c:pt>
                <c:pt idx="18668">
                  <c:v>37386</c:v>
                </c:pt>
                <c:pt idx="18669">
                  <c:v>37389</c:v>
                </c:pt>
                <c:pt idx="18670">
                  <c:v>37390</c:v>
                </c:pt>
                <c:pt idx="18671">
                  <c:v>37391</c:v>
                </c:pt>
                <c:pt idx="18672">
                  <c:v>37392</c:v>
                </c:pt>
                <c:pt idx="18673">
                  <c:v>37393</c:v>
                </c:pt>
                <c:pt idx="18674">
                  <c:v>37396</c:v>
                </c:pt>
                <c:pt idx="18675">
                  <c:v>37397</c:v>
                </c:pt>
                <c:pt idx="18676">
                  <c:v>37398</c:v>
                </c:pt>
                <c:pt idx="18677">
                  <c:v>37399</c:v>
                </c:pt>
                <c:pt idx="18678">
                  <c:v>37400</c:v>
                </c:pt>
                <c:pt idx="18679">
                  <c:v>37404</c:v>
                </c:pt>
                <c:pt idx="18680">
                  <c:v>37405</c:v>
                </c:pt>
                <c:pt idx="18681">
                  <c:v>37406</c:v>
                </c:pt>
                <c:pt idx="18682">
                  <c:v>37407</c:v>
                </c:pt>
                <c:pt idx="18683">
                  <c:v>37410</c:v>
                </c:pt>
                <c:pt idx="18684">
                  <c:v>37411</c:v>
                </c:pt>
                <c:pt idx="18685">
                  <c:v>37412</c:v>
                </c:pt>
                <c:pt idx="18686">
                  <c:v>37413</c:v>
                </c:pt>
                <c:pt idx="18687">
                  <c:v>37414</c:v>
                </c:pt>
                <c:pt idx="18688">
                  <c:v>37417</c:v>
                </c:pt>
                <c:pt idx="18689">
                  <c:v>37418</c:v>
                </c:pt>
                <c:pt idx="18690">
                  <c:v>37419</c:v>
                </c:pt>
                <c:pt idx="18691">
                  <c:v>37420</c:v>
                </c:pt>
                <c:pt idx="18692">
                  <c:v>37421</c:v>
                </c:pt>
                <c:pt idx="18693">
                  <c:v>37424</c:v>
                </c:pt>
                <c:pt idx="18694">
                  <c:v>37425</c:v>
                </c:pt>
                <c:pt idx="18695">
                  <c:v>37426</c:v>
                </c:pt>
                <c:pt idx="18696">
                  <c:v>37427</c:v>
                </c:pt>
                <c:pt idx="18697">
                  <c:v>37428</c:v>
                </c:pt>
                <c:pt idx="18698">
                  <c:v>37431</c:v>
                </c:pt>
                <c:pt idx="18699">
                  <c:v>37432</c:v>
                </c:pt>
                <c:pt idx="18700">
                  <c:v>37433</c:v>
                </c:pt>
                <c:pt idx="18701">
                  <c:v>37434</c:v>
                </c:pt>
                <c:pt idx="18702">
                  <c:v>37435</c:v>
                </c:pt>
                <c:pt idx="18703">
                  <c:v>37438</c:v>
                </c:pt>
                <c:pt idx="18704">
                  <c:v>37439</c:v>
                </c:pt>
                <c:pt idx="18705">
                  <c:v>37440</c:v>
                </c:pt>
                <c:pt idx="18706">
                  <c:v>37442</c:v>
                </c:pt>
                <c:pt idx="18707">
                  <c:v>37445</c:v>
                </c:pt>
                <c:pt idx="18708">
                  <c:v>37446</c:v>
                </c:pt>
                <c:pt idx="18709">
                  <c:v>37447</c:v>
                </c:pt>
                <c:pt idx="18710">
                  <c:v>37448</c:v>
                </c:pt>
                <c:pt idx="18711">
                  <c:v>37449</c:v>
                </c:pt>
                <c:pt idx="18712">
                  <c:v>37452</c:v>
                </c:pt>
                <c:pt idx="18713">
                  <c:v>37453</c:v>
                </c:pt>
                <c:pt idx="18714">
                  <c:v>37454</c:v>
                </c:pt>
                <c:pt idx="18715">
                  <c:v>37455</c:v>
                </c:pt>
                <c:pt idx="18716">
                  <c:v>37456</c:v>
                </c:pt>
                <c:pt idx="18717">
                  <c:v>37459</c:v>
                </c:pt>
                <c:pt idx="18718">
                  <c:v>37460</c:v>
                </c:pt>
                <c:pt idx="18719">
                  <c:v>37461</c:v>
                </c:pt>
                <c:pt idx="18720">
                  <c:v>37462</c:v>
                </c:pt>
                <c:pt idx="18721">
                  <c:v>37463</c:v>
                </c:pt>
                <c:pt idx="18722">
                  <c:v>37466</c:v>
                </c:pt>
                <c:pt idx="18723">
                  <c:v>37467</c:v>
                </c:pt>
                <c:pt idx="18724">
                  <c:v>37468</c:v>
                </c:pt>
                <c:pt idx="18725">
                  <c:v>37469</c:v>
                </c:pt>
                <c:pt idx="18726">
                  <c:v>37470</c:v>
                </c:pt>
                <c:pt idx="18727">
                  <c:v>37473</c:v>
                </c:pt>
                <c:pt idx="18728">
                  <c:v>37474</c:v>
                </c:pt>
                <c:pt idx="18729">
                  <c:v>37475</c:v>
                </c:pt>
                <c:pt idx="18730">
                  <c:v>37476</c:v>
                </c:pt>
                <c:pt idx="18731">
                  <c:v>37477</c:v>
                </c:pt>
                <c:pt idx="18732">
                  <c:v>37480</c:v>
                </c:pt>
                <c:pt idx="18733">
                  <c:v>37481</c:v>
                </c:pt>
                <c:pt idx="18734">
                  <c:v>37482</c:v>
                </c:pt>
                <c:pt idx="18735">
                  <c:v>37483</c:v>
                </c:pt>
                <c:pt idx="18736">
                  <c:v>37484</c:v>
                </c:pt>
                <c:pt idx="18737">
                  <c:v>37487</c:v>
                </c:pt>
                <c:pt idx="18738">
                  <c:v>37488</c:v>
                </c:pt>
                <c:pt idx="18739">
                  <c:v>37489</c:v>
                </c:pt>
                <c:pt idx="18740">
                  <c:v>37490</c:v>
                </c:pt>
                <c:pt idx="18741">
                  <c:v>37491</c:v>
                </c:pt>
                <c:pt idx="18742">
                  <c:v>37494</c:v>
                </c:pt>
                <c:pt idx="18743">
                  <c:v>37495</c:v>
                </c:pt>
                <c:pt idx="18744">
                  <c:v>37496</c:v>
                </c:pt>
                <c:pt idx="18745">
                  <c:v>37497</c:v>
                </c:pt>
                <c:pt idx="18746">
                  <c:v>37498</c:v>
                </c:pt>
                <c:pt idx="18747">
                  <c:v>37502</c:v>
                </c:pt>
                <c:pt idx="18748">
                  <c:v>37503</c:v>
                </c:pt>
                <c:pt idx="18749">
                  <c:v>37504</c:v>
                </c:pt>
                <c:pt idx="18750">
                  <c:v>37505</c:v>
                </c:pt>
                <c:pt idx="18751">
                  <c:v>37508</c:v>
                </c:pt>
                <c:pt idx="18752">
                  <c:v>37509</c:v>
                </c:pt>
                <c:pt idx="18753">
                  <c:v>37510</c:v>
                </c:pt>
                <c:pt idx="18754">
                  <c:v>37511</c:v>
                </c:pt>
                <c:pt idx="18755">
                  <c:v>37512</c:v>
                </c:pt>
                <c:pt idx="18756">
                  <c:v>37515</c:v>
                </c:pt>
                <c:pt idx="18757">
                  <c:v>37516</c:v>
                </c:pt>
                <c:pt idx="18758">
                  <c:v>37517</c:v>
                </c:pt>
                <c:pt idx="18759">
                  <c:v>37518</c:v>
                </c:pt>
                <c:pt idx="18760">
                  <c:v>37519</c:v>
                </c:pt>
                <c:pt idx="18761">
                  <c:v>37522</c:v>
                </c:pt>
                <c:pt idx="18762">
                  <c:v>37523</c:v>
                </c:pt>
                <c:pt idx="18763">
                  <c:v>37524</c:v>
                </c:pt>
                <c:pt idx="18764">
                  <c:v>37525</c:v>
                </c:pt>
                <c:pt idx="18765">
                  <c:v>37526</c:v>
                </c:pt>
                <c:pt idx="18766">
                  <c:v>37529</c:v>
                </c:pt>
                <c:pt idx="18767">
                  <c:v>37530</c:v>
                </c:pt>
                <c:pt idx="18768">
                  <c:v>37531</c:v>
                </c:pt>
                <c:pt idx="18769">
                  <c:v>37532</c:v>
                </c:pt>
                <c:pt idx="18770">
                  <c:v>37533</c:v>
                </c:pt>
                <c:pt idx="18771">
                  <c:v>37536</c:v>
                </c:pt>
                <c:pt idx="18772">
                  <c:v>37537</c:v>
                </c:pt>
                <c:pt idx="18773">
                  <c:v>37538</c:v>
                </c:pt>
                <c:pt idx="18774">
                  <c:v>37539</c:v>
                </c:pt>
                <c:pt idx="18775">
                  <c:v>37540</c:v>
                </c:pt>
                <c:pt idx="18776">
                  <c:v>37543</c:v>
                </c:pt>
                <c:pt idx="18777">
                  <c:v>37544</c:v>
                </c:pt>
                <c:pt idx="18778">
                  <c:v>37545</c:v>
                </c:pt>
                <c:pt idx="18779">
                  <c:v>37546</c:v>
                </c:pt>
                <c:pt idx="18780">
                  <c:v>37547</c:v>
                </c:pt>
                <c:pt idx="18781">
                  <c:v>37550</c:v>
                </c:pt>
                <c:pt idx="18782">
                  <c:v>37551</c:v>
                </c:pt>
                <c:pt idx="18783">
                  <c:v>37552</c:v>
                </c:pt>
                <c:pt idx="18784">
                  <c:v>37553</c:v>
                </c:pt>
                <c:pt idx="18785">
                  <c:v>37554</c:v>
                </c:pt>
                <c:pt idx="18786">
                  <c:v>37557</c:v>
                </c:pt>
                <c:pt idx="18787">
                  <c:v>37558</c:v>
                </c:pt>
                <c:pt idx="18788">
                  <c:v>37559</c:v>
                </c:pt>
                <c:pt idx="18789">
                  <c:v>37560</c:v>
                </c:pt>
                <c:pt idx="18790">
                  <c:v>37561</c:v>
                </c:pt>
                <c:pt idx="18791">
                  <c:v>37564</c:v>
                </c:pt>
                <c:pt idx="18792">
                  <c:v>37565</c:v>
                </c:pt>
                <c:pt idx="18793">
                  <c:v>37566</c:v>
                </c:pt>
                <c:pt idx="18794">
                  <c:v>37567</c:v>
                </c:pt>
                <c:pt idx="18795">
                  <c:v>37568</c:v>
                </c:pt>
                <c:pt idx="18796">
                  <c:v>37571</c:v>
                </c:pt>
                <c:pt idx="18797">
                  <c:v>37572</c:v>
                </c:pt>
                <c:pt idx="18798">
                  <c:v>37573</c:v>
                </c:pt>
                <c:pt idx="18799">
                  <c:v>37574</c:v>
                </c:pt>
                <c:pt idx="18800">
                  <c:v>37575</c:v>
                </c:pt>
                <c:pt idx="18801">
                  <c:v>37578</c:v>
                </c:pt>
                <c:pt idx="18802">
                  <c:v>37579</c:v>
                </c:pt>
                <c:pt idx="18803">
                  <c:v>37580</c:v>
                </c:pt>
                <c:pt idx="18804">
                  <c:v>37581</c:v>
                </c:pt>
                <c:pt idx="18805">
                  <c:v>37582</c:v>
                </c:pt>
                <c:pt idx="18806">
                  <c:v>37585</c:v>
                </c:pt>
                <c:pt idx="18807">
                  <c:v>37586</c:v>
                </c:pt>
                <c:pt idx="18808">
                  <c:v>37587</c:v>
                </c:pt>
                <c:pt idx="18809">
                  <c:v>37589</c:v>
                </c:pt>
                <c:pt idx="18810">
                  <c:v>37592</c:v>
                </c:pt>
                <c:pt idx="18811">
                  <c:v>37593</c:v>
                </c:pt>
                <c:pt idx="18812">
                  <c:v>37594</c:v>
                </c:pt>
                <c:pt idx="18813">
                  <c:v>37595</c:v>
                </c:pt>
                <c:pt idx="18814">
                  <c:v>37596</c:v>
                </c:pt>
                <c:pt idx="18815">
                  <c:v>37599</c:v>
                </c:pt>
                <c:pt idx="18816">
                  <c:v>37600</c:v>
                </c:pt>
                <c:pt idx="18817">
                  <c:v>37601</c:v>
                </c:pt>
                <c:pt idx="18818">
                  <c:v>37602</c:v>
                </c:pt>
                <c:pt idx="18819">
                  <c:v>37603</c:v>
                </c:pt>
                <c:pt idx="18820">
                  <c:v>37606</c:v>
                </c:pt>
                <c:pt idx="18821">
                  <c:v>37607</c:v>
                </c:pt>
                <c:pt idx="18822">
                  <c:v>37608</c:v>
                </c:pt>
                <c:pt idx="18823">
                  <c:v>37609</c:v>
                </c:pt>
                <c:pt idx="18824">
                  <c:v>37610</c:v>
                </c:pt>
                <c:pt idx="18825">
                  <c:v>37613</c:v>
                </c:pt>
                <c:pt idx="18826">
                  <c:v>37614</c:v>
                </c:pt>
                <c:pt idx="18827">
                  <c:v>37616</c:v>
                </c:pt>
                <c:pt idx="18828">
                  <c:v>37617</c:v>
                </c:pt>
                <c:pt idx="18829">
                  <c:v>37620</c:v>
                </c:pt>
                <c:pt idx="18830">
                  <c:v>37621</c:v>
                </c:pt>
                <c:pt idx="18831">
                  <c:v>37623</c:v>
                </c:pt>
                <c:pt idx="18832">
                  <c:v>37624</c:v>
                </c:pt>
                <c:pt idx="18833">
                  <c:v>37627</c:v>
                </c:pt>
                <c:pt idx="18834">
                  <c:v>37628</c:v>
                </c:pt>
                <c:pt idx="18835">
                  <c:v>37629</c:v>
                </c:pt>
                <c:pt idx="18836">
                  <c:v>37630</c:v>
                </c:pt>
                <c:pt idx="18837">
                  <c:v>37631</c:v>
                </c:pt>
                <c:pt idx="18838">
                  <c:v>37634</c:v>
                </c:pt>
                <c:pt idx="18839">
                  <c:v>37635</c:v>
                </c:pt>
                <c:pt idx="18840">
                  <c:v>37636</c:v>
                </c:pt>
                <c:pt idx="18841">
                  <c:v>37637</c:v>
                </c:pt>
                <c:pt idx="18842">
                  <c:v>37638</c:v>
                </c:pt>
                <c:pt idx="18843">
                  <c:v>37642</c:v>
                </c:pt>
                <c:pt idx="18844">
                  <c:v>37643</c:v>
                </c:pt>
                <c:pt idx="18845">
                  <c:v>37644</c:v>
                </c:pt>
                <c:pt idx="18846">
                  <c:v>37645</c:v>
                </c:pt>
                <c:pt idx="18847">
                  <c:v>37648</c:v>
                </c:pt>
                <c:pt idx="18848">
                  <c:v>37649</c:v>
                </c:pt>
                <c:pt idx="18849">
                  <c:v>37650</c:v>
                </c:pt>
                <c:pt idx="18850">
                  <c:v>37651</c:v>
                </c:pt>
                <c:pt idx="18851">
                  <c:v>37652</c:v>
                </c:pt>
                <c:pt idx="18852">
                  <c:v>37655</c:v>
                </c:pt>
                <c:pt idx="18853">
                  <c:v>37656</c:v>
                </c:pt>
                <c:pt idx="18854">
                  <c:v>37657</c:v>
                </c:pt>
                <c:pt idx="18855">
                  <c:v>37658</c:v>
                </c:pt>
                <c:pt idx="18856">
                  <c:v>37659</c:v>
                </c:pt>
                <c:pt idx="18857">
                  <c:v>37662</c:v>
                </c:pt>
                <c:pt idx="18858">
                  <c:v>37663</c:v>
                </c:pt>
                <c:pt idx="18859">
                  <c:v>37664</c:v>
                </c:pt>
                <c:pt idx="18860">
                  <c:v>37665</c:v>
                </c:pt>
                <c:pt idx="18861">
                  <c:v>37666</c:v>
                </c:pt>
                <c:pt idx="18862">
                  <c:v>37670</c:v>
                </c:pt>
                <c:pt idx="18863">
                  <c:v>37671</c:v>
                </c:pt>
                <c:pt idx="18864">
                  <c:v>37672</c:v>
                </c:pt>
                <c:pt idx="18865">
                  <c:v>37673</c:v>
                </c:pt>
                <c:pt idx="18866">
                  <c:v>37676</c:v>
                </c:pt>
                <c:pt idx="18867">
                  <c:v>37677</c:v>
                </c:pt>
                <c:pt idx="18868">
                  <c:v>37678</c:v>
                </c:pt>
                <c:pt idx="18869">
                  <c:v>37679</c:v>
                </c:pt>
                <c:pt idx="18870">
                  <c:v>37680</c:v>
                </c:pt>
                <c:pt idx="18871">
                  <c:v>37683</c:v>
                </c:pt>
                <c:pt idx="18872">
                  <c:v>37684</c:v>
                </c:pt>
                <c:pt idx="18873">
                  <c:v>37685</c:v>
                </c:pt>
                <c:pt idx="18874">
                  <c:v>37686</c:v>
                </c:pt>
                <c:pt idx="18875">
                  <c:v>37687</c:v>
                </c:pt>
                <c:pt idx="18876">
                  <c:v>37690</c:v>
                </c:pt>
                <c:pt idx="18877">
                  <c:v>37691</c:v>
                </c:pt>
                <c:pt idx="18878">
                  <c:v>37692</c:v>
                </c:pt>
                <c:pt idx="18879">
                  <c:v>37693</c:v>
                </c:pt>
                <c:pt idx="18880">
                  <c:v>37694</c:v>
                </c:pt>
                <c:pt idx="18881">
                  <c:v>37697</c:v>
                </c:pt>
                <c:pt idx="18882">
                  <c:v>37698</c:v>
                </c:pt>
                <c:pt idx="18883">
                  <c:v>37699</c:v>
                </c:pt>
                <c:pt idx="18884">
                  <c:v>37700</c:v>
                </c:pt>
                <c:pt idx="18885">
                  <c:v>37701</c:v>
                </c:pt>
                <c:pt idx="18886">
                  <c:v>37704</c:v>
                </c:pt>
                <c:pt idx="18887">
                  <c:v>37705</c:v>
                </c:pt>
                <c:pt idx="18888">
                  <c:v>37706</c:v>
                </c:pt>
                <c:pt idx="18889">
                  <c:v>37707</c:v>
                </c:pt>
                <c:pt idx="18890">
                  <c:v>37708</c:v>
                </c:pt>
                <c:pt idx="18891">
                  <c:v>37711</c:v>
                </c:pt>
                <c:pt idx="18892">
                  <c:v>37712</c:v>
                </c:pt>
                <c:pt idx="18893">
                  <c:v>37713</c:v>
                </c:pt>
                <c:pt idx="18894">
                  <c:v>37714</c:v>
                </c:pt>
                <c:pt idx="18895">
                  <c:v>37715</c:v>
                </c:pt>
                <c:pt idx="18896">
                  <c:v>37718</c:v>
                </c:pt>
                <c:pt idx="18897">
                  <c:v>37719</c:v>
                </c:pt>
                <c:pt idx="18898">
                  <c:v>37720</c:v>
                </c:pt>
                <c:pt idx="18899">
                  <c:v>37721</c:v>
                </c:pt>
                <c:pt idx="18900">
                  <c:v>37722</c:v>
                </c:pt>
                <c:pt idx="18901">
                  <c:v>37725</c:v>
                </c:pt>
                <c:pt idx="18902">
                  <c:v>37726</c:v>
                </c:pt>
                <c:pt idx="18903">
                  <c:v>37727</c:v>
                </c:pt>
                <c:pt idx="18904">
                  <c:v>37728</c:v>
                </c:pt>
                <c:pt idx="18905">
                  <c:v>37732</c:v>
                </c:pt>
                <c:pt idx="18906">
                  <c:v>37733</c:v>
                </c:pt>
                <c:pt idx="18907">
                  <c:v>37734</c:v>
                </c:pt>
                <c:pt idx="18908">
                  <c:v>37735</c:v>
                </c:pt>
                <c:pt idx="18909">
                  <c:v>37736</c:v>
                </c:pt>
                <c:pt idx="18910">
                  <c:v>37739</c:v>
                </c:pt>
                <c:pt idx="18911">
                  <c:v>37740</c:v>
                </c:pt>
                <c:pt idx="18912">
                  <c:v>37741</c:v>
                </c:pt>
                <c:pt idx="18913">
                  <c:v>37742</c:v>
                </c:pt>
                <c:pt idx="18914">
                  <c:v>37743</c:v>
                </c:pt>
                <c:pt idx="18915">
                  <c:v>37746</c:v>
                </c:pt>
                <c:pt idx="18916">
                  <c:v>37747</c:v>
                </c:pt>
                <c:pt idx="18917">
                  <c:v>37748</c:v>
                </c:pt>
                <c:pt idx="18918">
                  <c:v>37749</c:v>
                </c:pt>
                <c:pt idx="18919">
                  <c:v>37750</c:v>
                </c:pt>
                <c:pt idx="18920">
                  <c:v>37753</c:v>
                </c:pt>
                <c:pt idx="18921">
                  <c:v>37754</c:v>
                </c:pt>
                <c:pt idx="18922">
                  <c:v>37755</c:v>
                </c:pt>
                <c:pt idx="18923">
                  <c:v>37756</c:v>
                </c:pt>
                <c:pt idx="18924">
                  <c:v>37757</c:v>
                </c:pt>
                <c:pt idx="18925">
                  <c:v>37760</c:v>
                </c:pt>
                <c:pt idx="18926">
                  <c:v>37761</c:v>
                </c:pt>
                <c:pt idx="18927">
                  <c:v>37762</c:v>
                </c:pt>
                <c:pt idx="18928">
                  <c:v>37763</c:v>
                </c:pt>
                <c:pt idx="18929">
                  <c:v>37764</c:v>
                </c:pt>
                <c:pt idx="18930">
                  <c:v>37768</c:v>
                </c:pt>
                <c:pt idx="18931">
                  <c:v>37769</c:v>
                </c:pt>
                <c:pt idx="18932">
                  <c:v>37770</c:v>
                </c:pt>
                <c:pt idx="18933">
                  <c:v>37771</c:v>
                </c:pt>
                <c:pt idx="18934">
                  <c:v>37774</c:v>
                </c:pt>
                <c:pt idx="18935">
                  <c:v>37775</c:v>
                </c:pt>
                <c:pt idx="18936">
                  <c:v>37776</c:v>
                </c:pt>
                <c:pt idx="18937">
                  <c:v>37777</c:v>
                </c:pt>
                <c:pt idx="18938">
                  <c:v>37778</c:v>
                </c:pt>
                <c:pt idx="18939">
                  <c:v>37781</c:v>
                </c:pt>
                <c:pt idx="18940">
                  <c:v>37782</c:v>
                </c:pt>
                <c:pt idx="18941">
                  <c:v>37783</c:v>
                </c:pt>
                <c:pt idx="18942">
                  <c:v>37784</c:v>
                </c:pt>
                <c:pt idx="18943">
                  <c:v>37785</c:v>
                </c:pt>
                <c:pt idx="18944">
                  <c:v>37788</c:v>
                </c:pt>
                <c:pt idx="18945">
                  <c:v>37789</c:v>
                </c:pt>
                <c:pt idx="18946">
                  <c:v>37790</c:v>
                </c:pt>
                <c:pt idx="18947">
                  <c:v>37791</c:v>
                </c:pt>
                <c:pt idx="18948">
                  <c:v>37792</c:v>
                </c:pt>
                <c:pt idx="18949">
                  <c:v>37795</c:v>
                </c:pt>
                <c:pt idx="18950">
                  <c:v>37796</c:v>
                </c:pt>
                <c:pt idx="18951">
                  <c:v>37797</c:v>
                </c:pt>
                <c:pt idx="18952">
                  <c:v>37798</c:v>
                </c:pt>
                <c:pt idx="18953">
                  <c:v>37799</c:v>
                </c:pt>
                <c:pt idx="18954">
                  <c:v>37802</c:v>
                </c:pt>
                <c:pt idx="18955">
                  <c:v>37803</c:v>
                </c:pt>
                <c:pt idx="18956">
                  <c:v>37804</c:v>
                </c:pt>
                <c:pt idx="18957">
                  <c:v>37805</c:v>
                </c:pt>
                <c:pt idx="18958">
                  <c:v>37809</c:v>
                </c:pt>
                <c:pt idx="18959">
                  <c:v>37810</c:v>
                </c:pt>
                <c:pt idx="18960">
                  <c:v>37811</c:v>
                </c:pt>
                <c:pt idx="18961">
                  <c:v>37812</c:v>
                </c:pt>
                <c:pt idx="18962">
                  <c:v>37813</c:v>
                </c:pt>
                <c:pt idx="18963">
                  <c:v>37816</c:v>
                </c:pt>
                <c:pt idx="18964">
                  <c:v>37817</c:v>
                </c:pt>
                <c:pt idx="18965">
                  <c:v>37818</c:v>
                </c:pt>
                <c:pt idx="18966">
                  <c:v>37819</c:v>
                </c:pt>
                <c:pt idx="18967">
                  <c:v>37820</c:v>
                </c:pt>
                <c:pt idx="18968">
                  <c:v>37823</c:v>
                </c:pt>
                <c:pt idx="18969">
                  <c:v>37824</c:v>
                </c:pt>
                <c:pt idx="18970">
                  <c:v>37825</c:v>
                </c:pt>
                <c:pt idx="18971">
                  <c:v>37826</c:v>
                </c:pt>
                <c:pt idx="18972">
                  <c:v>37827</c:v>
                </c:pt>
                <c:pt idx="18973">
                  <c:v>37830</c:v>
                </c:pt>
                <c:pt idx="18974">
                  <c:v>37831</c:v>
                </c:pt>
                <c:pt idx="18975">
                  <c:v>37832</c:v>
                </c:pt>
                <c:pt idx="18976">
                  <c:v>37833</c:v>
                </c:pt>
                <c:pt idx="18977">
                  <c:v>37834</c:v>
                </c:pt>
                <c:pt idx="18978">
                  <c:v>37837</c:v>
                </c:pt>
                <c:pt idx="18979">
                  <c:v>37838</c:v>
                </c:pt>
                <c:pt idx="18980">
                  <c:v>37839</c:v>
                </c:pt>
                <c:pt idx="18981">
                  <c:v>37840</c:v>
                </c:pt>
                <c:pt idx="18982">
                  <c:v>37841</c:v>
                </c:pt>
                <c:pt idx="18983">
                  <c:v>37844</c:v>
                </c:pt>
                <c:pt idx="18984">
                  <c:v>37845</c:v>
                </c:pt>
                <c:pt idx="18985">
                  <c:v>37846</c:v>
                </c:pt>
                <c:pt idx="18986">
                  <c:v>37847</c:v>
                </c:pt>
                <c:pt idx="18987">
                  <c:v>37848</c:v>
                </c:pt>
                <c:pt idx="18988">
                  <c:v>37851</c:v>
                </c:pt>
                <c:pt idx="18989">
                  <c:v>37852</c:v>
                </c:pt>
                <c:pt idx="18990">
                  <c:v>37853</c:v>
                </c:pt>
                <c:pt idx="18991">
                  <c:v>37854</c:v>
                </c:pt>
                <c:pt idx="18992">
                  <c:v>37855</c:v>
                </c:pt>
                <c:pt idx="18993">
                  <c:v>37858</c:v>
                </c:pt>
                <c:pt idx="18994">
                  <c:v>37859</c:v>
                </c:pt>
                <c:pt idx="18995">
                  <c:v>37860</c:v>
                </c:pt>
                <c:pt idx="18996">
                  <c:v>37861</c:v>
                </c:pt>
                <c:pt idx="18997">
                  <c:v>37862</c:v>
                </c:pt>
                <c:pt idx="18998">
                  <c:v>37866</c:v>
                </c:pt>
                <c:pt idx="18999">
                  <c:v>37867</c:v>
                </c:pt>
                <c:pt idx="19000">
                  <c:v>37868</c:v>
                </c:pt>
                <c:pt idx="19001">
                  <c:v>37869</c:v>
                </c:pt>
                <c:pt idx="19002">
                  <c:v>37872</c:v>
                </c:pt>
                <c:pt idx="19003">
                  <c:v>37873</c:v>
                </c:pt>
                <c:pt idx="19004">
                  <c:v>37874</c:v>
                </c:pt>
                <c:pt idx="19005">
                  <c:v>37875</c:v>
                </c:pt>
                <c:pt idx="19006">
                  <c:v>37876</c:v>
                </c:pt>
                <c:pt idx="19007">
                  <c:v>37879</c:v>
                </c:pt>
                <c:pt idx="19008">
                  <c:v>37880</c:v>
                </c:pt>
                <c:pt idx="19009">
                  <c:v>37881</c:v>
                </c:pt>
                <c:pt idx="19010">
                  <c:v>37882</c:v>
                </c:pt>
                <c:pt idx="19011">
                  <c:v>37883</c:v>
                </c:pt>
                <c:pt idx="19012">
                  <c:v>37886</c:v>
                </c:pt>
                <c:pt idx="19013">
                  <c:v>37887</c:v>
                </c:pt>
                <c:pt idx="19014">
                  <c:v>37888</c:v>
                </c:pt>
                <c:pt idx="19015">
                  <c:v>37889</c:v>
                </c:pt>
                <c:pt idx="19016">
                  <c:v>37890</c:v>
                </c:pt>
                <c:pt idx="19017">
                  <c:v>37893</c:v>
                </c:pt>
                <c:pt idx="19018">
                  <c:v>37894</c:v>
                </c:pt>
                <c:pt idx="19019">
                  <c:v>37895</c:v>
                </c:pt>
                <c:pt idx="19020">
                  <c:v>37896</c:v>
                </c:pt>
                <c:pt idx="19021">
                  <c:v>37897</c:v>
                </c:pt>
                <c:pt idx="19022">
                  <c:v>37900</c:v>
                </c:pt>
                <c:pt idx="19023">
                  <c:v>37901</c:v>
                </c:pt>
                <c:pt idx="19024">
                  <c:v>37902</c:v>
                </c:pt>
                <c:pt idx="19025">
                  <c:v>37903</c:v>
                </c:pt>
                <c:pt idx="19026">
                  <c:v>37904</c:v>
                </c:pt>
                <c:pt idx="19027">
                  <c:v>37907</c:v>
                </c:pt>
                <c:pt idx="19028">
                  <c:v>37908</c:v>
                </c:pt>
                <c:pt idx="19029">
                  <c:v>37909</c:v>
                </c:pt>
                <c:pt idx="19030">
                  <c:v>37910</c:v>
                </c:pt>
                <c:pt idx="19031">
                  <c:v>37911</c:v>
                </c:pt>
                <c:pt idx="19032">
                  <c:v>37914</c:v>
                </c:pt>
                <c:pt idx="19033">
                  <c:v>37915</c:v>
                </c:pt>
                <c:pt idx="19034">
                  <c:v>37916</c:v>
                </c:pt>
                <c:pt idx="19035">
                  <c:v>37917</c:v>
                </c:pt>
                <c:pt idx="19036">
                  <c:v>37918</c:v>
                </c:pt>
                <c:pt idx="19037">
                  <c:v>37921</c:v>
                </c:pt>
                <c:pt idx="19038">
                  <c:v>37922</c:v>
                </c:pt>
                <c:pt idx="19039">
                  <c:v>37923</c:v>
                </c:pt>
                <c:pt idx="19040">
                  <c:v>37924</c:v>
                </c:pt>
                <c:pt idx="19041">
                  <c:v>37925</c:v>
                </c:pt>
                <c:pt idx="19042">
                  <c:v>37928</c:v>
                </c:pt>
                <c:pt idx="19043">
                  <c:v>37929</c:v>
                </c:pt>
                <c:pt idx="19044">
                  <c:v>37930</c:v>
                </c:pt>
                <c:pt idx="19045">
                  <c:v>37931</c:v>
                </c:pt>
                <c:pt idx="19046">
                  <c:v>37932</c:v>
                </c:pt>
                <c:pt idx="19047">
                  <c:v>37935</c:v>
                </c:pt>
                <c:pt idx="19048">
                  <c:v>37936</c:v>
                </c:pt>
                <c:pt idx="19049">
                  <c:v>37937</c:v>
                </c:pt>
                <c:pt idx="19050">
                  <c:v>37938</c:v>
                </c:pt>
                <c:pt idx="19051">
                  <c:v>37939</c:v>
                </c:pt>
                <c:pt idx="19052">
                  <c:v>37942</c:v>
                </c:pt>
                <c:pt idx="19053">
                  <c:v>37943</c:v>
                </c:pt>
                <c:pt idx="19054">
                  <c:v>37944</c:v>
                </c:pt>
                <c:pt idx="19055">
                  <c:v>37945</c:v>
                </c:pt>
                <c:pt idx="19056">
                  <c:v>37946</c:v>
                </c:pt>
                <c:pt idx="19057">
                  <c:v>37949</c:v>
                </c:pt>
                <c:pt idx="19058">
                  <c:v>37950</c:v>
                </c:pt>
                <c:pt idx="19059">
                  <c:v>37951</c:v>
                </c:pt>
                <c:pt idx="19060">
                  <c:v>37953</c:v>
                </c:pt>
                <c:pt idx="19061">
                  <c:v>37956</c:v>
                </c:pt>
                <c:pt idx="19062">
                  <c:v>37957</c:v>
                </c:pt>
                <c:pt idx="19063">
                  <c:v>37958</c:v>
                </c:pt>
                <c:pt idx="19064">
                  <c:v>37959</c:v>
                </c:pt>
                <c:pt idx="19065">
                  <c:v>37960</c:v>
                </c:pt>
                <c:pt idx="19066">
                  <c:v>37963</c:v>
                </c:pt>
                <c:pt idx="19067">
                  <c:v>37964</c:v>
                </c:pt>
                <c:pt idx="19068">
                  <c:v>37965</c:v>
                </c:pt>
                <c:pt idx="19069">
                  <c:v>37966</c:v>
                </c:pt>
                <c:pt idx="19070">
                  <c:v>37967</c:v>
                </c:pt>
                <c:pt idx="19071">
                  <c:v>37970</c:v>
                </c:pt>
                <c:pt idx="19072">
                  <c:v>37971</c:v>
                </c:pt>
                <c:pt idx="19073">
                  <c:v>37972</c:v>
                </c:pt>
                <c:pt idx="19074">
                  <c:v>37973</c:v>
                </c:pt>
                <c:pt idx="19075">
                  <c:v>37974</c:v>
                </c:pt>
                <c:pt idx="19076">
                  <c:v>37977</c:v>
                </c:pt>
                <c:pt idx="19077">
                  <c:v>37978</c:v>
                </c:pt>
                <c:pt idx="19078">
                  <c:v>37979</c:v>
                </c:pt>
                <c:pt idx="19079">
                  <c:v>37981</c:v>
                </c:pt>
                <c:pt idx="19080">
                  <c:v>37984</c:v>
                </c:pt>
                <c:pt idx="19081">
                  <c:v>37985</c:v>
                </c:pt>
                <c:pt idx="19082">
                  <c:v>37986</c:v>
                </c:pt>
                <c:pt idx="19083">
                  <c:v>37988</c:v>
                </c:pt>
                <c:pt idx="19084">
                  <c:v>37991</c:v>
                </c:pt>
                <c:pt idx="19085">
                  <c:v>37992</c:v>
                </c:pt>
                <c:pt idx="19086">
                  <c:v>37993</c:v>
                </c:pt>
                <c:pt idx="19087">
                  <c:v>37994</c:v>
                </c:pt>
                <c:pt idx="19088">
                  <c:v>37995</c:v>
                </c:pt>
                <c:pt idx="19089">
                  <c:v>37998</c:v>
                </c:pt>
                <c:pt idx="19090">
                  <c:v>37999</c:v>
                </c:pt>
                <c:pt idx="19091">
                  <c:v>38000</c:v>
                </c:pt>
                <c:pt idx="19092">
                  <c:v>38001</c:v>
                </c:pt>
                <c:pt idx="19093">
                  <c:v>38002</c:v>
                </c:pt>
                <c:pt idx="19094">
                  <c:v>38006</c:v>
                </c:pt>
                <c:pt idx="19095">
                  <c:v>38007</c:v>
                </c:pt>
                <c:pt idx="19096">
                  <c:v>38008</c:v>
                </c:pt>
                <c:pt idx="19097">
                  <c:v>38009</c:v>
                </c:pt>
                <c:pt idx="19098">
                  <c:v>38012</c:v>
                </c:pt>
                <c:pt idx="19099">
                  <c:v>38013</c:v>
                </c:pt>
                <c:pt idx="19100">
                  <c:v>38014</c:v>
                </c:pt>
                <c:pt idx="19101">
                  <c:v>38015</c:v>
                </c:pt>
                <c:pt idx="19102">
                  <c:v>38016</c:v>
                </c:pt>
                <c:pt idx="19103">
                  <c:v>38019</c:v>
                </c:pt>
                <c:pt idx="19104">
                  <c:v>38020</c:v>
                </c:pt>
                <c:pt idx="19105">
                  <c:v>38021</c:v>
                </c:pt>
                <c:pt idx="19106">
                  <c:v>38022</c:v>
                </c:pt>
                <c:pt idx="19107">
                  <c:v>38023</c:v>
                </c:pt>
                <c:pt idx="19108">
                  <c:v>38026</c:v>
                </c:pt>
                <c:pt idx="19109">
                  <c:v>38027</c:v>
                </c:pt>
                <c:pt idx="19110">
                  <c:v>38028</c:v>
                </c:pt>
                <c:pt idx="19111">
                  <c:v>38029</c:v>
                </c:pt>
                <c:pt idx="19112">
                  <c:v>38030</c:v>
                </c:pt>
                <c:pt idx="19113">
                  <c:v>38034</c:v>
                </c:pt>
                <c:pt idx="19114">
                  <c:v>38035</c:v>
                </c:pt>
                <c:pt idx="19115">
                  <c:v>38036</c:v>
                </c:pt>
                <c:pt idx="19116">
                  <c:v>38037</c:v>
                </c:pt>
                <c:pt idx="19117">
                  <c:v>38040</c:v>
                </c:pt>
                <c:pt idx="19118">
                  <c:v>38041</c:v>
                </c:pt>
                <c:pt idx="19119">
                  <c:v>38042</c:v>
                </c:pt>
                <c:pt idx="19120">
                  <c:v>38043</c:v>
                </c:pt>
                <c:pt idx="19121">
                  <c:v>38044</c:v>
                </c:pt>
                <c:pt idx="19122">
                  <c:v>38047</c:v>
                </c:pt>
                <c:pt idx="19123">
                  <c:v>38048</c:v>
                </c:pt>
                <c:pt idx="19124">
                  <c:v>38049</c:v>
                </c:pt>
                <c:pt idx="19125">
                  <c:v>38050</c:v>
                </c:pt>
                <c:pt idx="19126">
                  <c:v>38051</c:v>
                </c:pt>
                <c:pt idx="19127">
                  <c:v>38054</c:v>
                </c:pt>
                <c:pt idx="19128">
                  <c:v>38055</c:v>
                </c:pt>
                <c:pt idx="19129">
                  <c:v>38056</c:v>
                </c:pt>
                <c:pt idx="19130">
                  <c:v>38057</c:v>
                </c:pt>
                <c:pt idx="19131">
                  <c:v>38058</c:v>
                </c:pt>
                <c:pt idx="19132">
                  <c:v>38061</c:v>
                </c:pt>
                <c:pt idx="19133">
                  <c:v>38062</c:v>
                </c:pt>
                <c:pt idx="19134">
                  <c:v>38063</c:v>
                </c:pt>
                <c:pt idx="19135">
                  <c:v>38064</c:v>
                </c:pt>
                <c:pt idx="19136">
                  <c:v>38065</c:v>
                </c:pt>
                <c:pt idx="19137">
                  <c:v>38068</c:v>
                </c:pt>
                <c:pt idx="19138">
                  <c:v>38069</c:v>
                </c:pt>
                <c:pt idx="19139">
                  <c:v>38070</c:v>
                </c:pt>
                <c:pt idx="19140">
                  <c:v>38071</c:v>
                </c:pt>
                <c:pt idx="19141">
                  <c:v>38072</c:v>
                </c:pt>
                <c:pt idx="19142">
                  <c:v>38075</c:v>
                </c:pt>
                <c:pt idx="19143">
                  <c:v>38076</c:v>
                </c:pt>
                <c:pt idx="19144">
                  <c:v>38077</c:v>
                </c:pt>
                <c:pt idx="19145">
                  <c:v>38078</c:v>
                </c:pt>
                <c:pt idx="19146">
                  <c:v>38079</c:v>
                </c:pt>
                <c:pt idx="19147">
                  <c:v>38082</c:v>
                </c:pt>
                <c:pt idx="19148">
                  <c:v>38083</c:v>
                </c:pt>
                <c:pt idx="19149">
                  <c:v>38084</c:v>
                </c:pt>
                <c:pt idx="19150">
                  <c:v>38085</c:v>
                </c:pt>
                <c:pt idx="19151">
                  <c:v>38089</c:v>
                </c:pt>
                <c:pt idx="19152">
                  <c:v>38090</c:v>
                </c:pt>
                <c:pt idx="19153">
                  <c:v>38091</c:v>
                </c:pt>
                <c:pt idx="19154">
                  <c:v>38092</c:v>
                </c:pt>
                <c:pt idx="19155">
                  <c:v>38093</c:v>
                </c:pt>
                <c:pt idx="19156">
                  <c:v>38096</c:v>
                </c:pt>
                <c:pt idx="19157">
                  <c:v>38097</c:v>
                </c:pt>
                <c:pt idx="19158">
                  <c:v>38098</c:v>
                </c:pt>
                <c:pt idx="19159">
                  <c:v>38099</c:v>
                </c:pt>
                <c:pt idx="19160">
                  <c:v>38100</c:v>
                </c:pt>
                <c:pt idx="19161">
                  <c:v>38103</c:v>
                </c:pt>
                <c:pt idx="19162">
                  <c:v>38104</c:v>
                </c:pt>
                <c:pt idx="19163">
                  <c:v>38105</c:v>
                </c:pt>
                <c:pt idx="19164">
                  <c:v>38106</c:v>
                </c:pt>
                <c:pt idx="19165">
                  <c:v>38107</c:v>
                </c:pt>
                <c:pt idx="19166">
                  <c:v>38110</c:v>
                </c:pt>
                <c:pt idx="19167">
                  <c:v>38111</c:v>
                </c:pt>
                <c:pt idx="19168">
                  <c:v>38112</c:v>
                </c:pt>
                <c:pt idx="19169">
                  <c:v>38113</c:v>
                </c:pt>
                <c:pt idx="19170">
                  <c:v>38114</c:v>
                </c:pt>
                <c:pt idx="19171">
                  <c:v>38117</c:v>
                </c:pt>
                <c:pt idx="19172">
                  <c:v>38118</c:v>
                </c:pt>
                <c:pt idx="19173">
                  <c:v>38119</c:v>
                </c:pt>
                <c:pt idx="19174">
                  <c:v>38120</c:v>
                </c:pt>
                <c:pt idx="19175">
                  <c:v>38121</c:v>
                </c:pt>
                <c:pt idx="19176">
                  <c:v>38124</c:v>
                </c:pt>
                <c:pt idx="19177">
                  <c:v>38125</c:v>
                </c:pt>
                <c:pt idx="19178">
                  <c:v>38126</c:v>
                </c:pt>
                <c:pt idx="19179">
                  <c:v>38127</c:v>
                </c:pt>
                <c:pt idx="19180">
                  <c:v>38128</c:v>
                </c:pt>
                <c:pt idx="19181">
                  <c:v>38131</c:v>
                </c:pt>
                <c:pt idx="19182">
                  <c:v>38132</c:v>
                </c:pt>
                <c:pt idx="19183">
                  <c:v>38133</c:v>
                </c:pt>
                <c:pt idx="19184">
                  <c:v>38134</c:v>
                </c:pt>
                <c:pt idx="19185">
                  <c:v>38135</c:v>
                </c:pt>
                <c:pt idx="19186">
                  <c:v>38139</c:v>
                </c:pt>
                <c:pt idx="19187">
                  <c:v>38140</c:v>
                </c:pt>
                <c:pt idx="19188">
                  <c:v>38141</c:v>
                </c:pt>
                <c:pt idx="19189">
                  <c:v>38142</c:v>
                </c:pt>
                <c:pt idx="19190">
                  <c:v>38145</c:v>
                </c:pt>
                <c:pt idx="19191">
                  <c:v>38146</c:v>
                </c:pt>
                <c:pt idx="19192">
                  <c:v>38147</c:v>
                </c:pt>
                <c:pt idx="19193">
                  <c:v>38148</c:v>
                </c:pt>
                <c:pt idx="19194">
                  <c:v>38152</c:v>
                </c:pt>
                <c:pt idx="19195">
                  <c:v>38153</c:v>
                </c:pt>
                <c:pt idx="19196">
                  <c:v>38154</c:v>
                </c:pt>
                <c:pt idx="19197">
                  <c:v>38155</c:v>
                </c:pt>
                <c:pt idx="19198">
                  <c:v>38156</c:v>
                </c:pt>
                <c:pt idx="19199">
                  <c:v>38159</c:v>
                </c:pt>
                <c:pt idx="19200">
                  <c:v>38160</c:v>
                </c:pt>
                <c:pt idx="19201">
                  <c:v>38161</c:v>
                </c:pt>
                <c:pt idx="19202">
                  <c:v>38162</c:v>
                </c:pt>
                <c:pt idx="19203">
                  <c:v>38163</c:v>
                </c:pt>
                <c:pt idx="19204">
                  <c:v>38166</c:v>
                </c:pt>
                <c:pt idx="19205">
                  <c:v>38167</c:v>
                </c:pt>
                <c:pt idx="19206">
                  <c:v>38168</c:v>
                </c:pt>
                <c:pt idx="19207">
                  <c:v>38169</c:v>
                </c:pt>
                <c:pt idx="19208">
                  <c:v>38170</c:v>
                </c:pt>
                <c:pt idx="19209">
                  <c:v>38174</c:v>
                </c:pt>
                <c:pt idx="19210">
                  <c:v>38175</c:v>
                </c:pt>
                <c:pt idx="19211">
                  <c:v>38176</c:v>
                </c:pt>
                <c:pt idx="19212">
                  <c:v>38177</c:v>
                </c:pt>
                <c:pt idx="19213">
                  <c:v>38180</c:v>
                </c:pt>
                <c:pt idx="19214">
                  <c:v>38181</c:v>
                </c:pt>
                <c:pt idx="19215">
                  <c:v>38182</c:v>
                </c:pt>
                <c:pt idx="19216">
                  <c:v>38183</c:v>
                </c:pt>
                <c:pt idx="19217">
                  <c:v>38184</c:v>
                </c:pt>
                <c:pt idx="19218">
                  <c:v>38187</c:v>
                </c:pt>
                <c:pt idx="19219">
                  <c:v>38188</c:v>
                </c:pt>
                <c:pt idx="19220">
                  <c:v>38189</c:v>
                </c:pt>
                <c:pt idx="19221">
                  <c:v>38190</c:v>
                </c:pt>
                <c:pt idx="19222">
                  <c:v>38191</c:v>
                </c:pt>
                <c:pt idx="19223">
                  <c:v>38194</c:v>
                </c:pt>
                <c:pt idx="19224">
                  <c:v>38195</c:v>
                </c:pt>
                <c:pt idx="19225">
                  <c:v>38196</c:v>
                </c:pt>
                <c:pt idx="19226">
                  <c:v>38197</c:v>
                </c:pt>
                <c:pt idx="19227">
                  <c:v>38198</c:v>
                </c:pt>
                <c:pt idx="19228">
                  <c:v>38201</c:v>
                </c:pt>
                <c:pt idx="19229">
                  <c:v>38202</c:v>
                </c:pt>
                <c:pt idx="19230">
                  <c:v>38203</c:v>
                </c:pt>
                <c:pt idx="19231">
                  <c:v>38204</c:v>
                </c:pt>
                <c:pt idx="19232">
                  <c:v>38205</c:v>
                </c:pt>
                <c:pt idx="19233">
                  <c:v>38208</c:v>
                </c:pt>
                <c:pt idx="19234">
                  <c:v>38209</c:v>
                </c:pt>
                <c:pt idx="19235">
                  <c:v>38210</c:v>
                </c:pt>
                <c:pt idx="19236">
                  <c:v>38211</c:v>
                </c:pt>
                <c:pt idx="19237">
                  <c:v>38212</c:v>
                </c:pt>
                <c:pt idx="19238">
                  <c:v>38215</c:v>
                </c:pt>
                <c:pt idx="19239">
                  <c:v>38216</c:v>
                </c:pt>
                <c:pt idx="19240">
                  <c:v>38217</c:v>
                </c:pt>
                <c:pt idx="19241">
                  <c:v>38218</c:v>
                </c:pt>
                <c:pt idx="19242">
                  <c:v>38219</c:v>
                </c:pt>
                <c:pt idx="19243">
                  <c:v>38222</c:v>
                </c:pt>
                <c:pt idx="19244">
                  <c:v>38223</c:v>
                </c:pt>
                <c:pt idx="19245">
                  <c:v>38224</c:v>
                </c:pt>
                <c:pt idx="19246">
                  <c:v>38225</c:v>
                </c:pt>
                <c:pt idx="19247">
                  <c:v>38226</c:v>
                </c:pt>
                <c:pt idx="19248">
                  <c:v>38229</c:v>
                </c:pt>
                <c:pt idx="19249">
                  <c:v>38230</c:v>
                </c:pt>
                <c:pt idx="19250">
                  <c:v>38231</c:v>
                </c:pt>
                <c:pt idx="19251">
                  <c:v>38232</c:v>
                </c:pt>
                <c:pt idx="19252">
                  <c:v>38233</c:v>
                </c:pt>
                <c:pt idx="19253">
                  <c:v>38237</c:v>
                </c:pt>
                <c:pt idx="19254">
                  <c:v>38238</c:v>
                </c:pt>
                <c:pt idx="19255">
                  <c:v>38239</c:v>
                </c:pt>
                <c:pt idx="19256">
                  <c:v>38240</c:v>
                </c:pt>
                <c:pt idx="19257">
                  <c:v>38243</c:v>
                </c:pt>
                <c:pt idx="19258">
                  <c:v>38244</c:v>
                </c:pt>
                <c:pt idx="19259">
                  <c:v>38245</c:v>
                </c:pt>
                <c:pt idx="19260">
                  <c:v>38246</c:v>
                </c:pt>
                <c:pt idx="19261">
                  <c:v>38247</c:v>
                </c:pt>
                <c:pt idx="19262">
                  <c:v>38250</c:v>
                </c:pt>
                <c:pt idx="19263">
                  <c:v>38251</c:v>
                </c:pt>
                <c:pt idx="19264">
                  <c:v>38252</c:v>
                </c:pt>
                <c:pt idx="19265">
                  <c:v>38253</c:v>
                </c:pt>
                <c:pt idx="19266">
                  <c:v>38254</c:v>
                </c:pt>
                <c:pt idx="19267">
                  <c:v>38257</c:v>
                </c:pt>
                <c:pt idx="19268">
                  <c:v>38258</c:v>
                </c:pt>
                <c:pt idx="19269">
                  <c:v>38259</c:v>
                </c:pt>
                <c:pt idx="19270">
                  <c:v>38260</c:v>
                </c:pt>
                <c:pt idx="19271">
                  <c:v>38261</c:v>
                </c:pt>
                <c:pt idx="19272">
                  <c:v>38264</c:v>
                </c:pt>
                <c:pt idx="19273">
                  <c:v>38265</c:v>
                </c:pt>
                <c:pt idx="19274">
                  <c:v>38266</c:v>
                </c:pt>
                <c:pt idx="19275">
                  <c:v>38267</c:v>
                </c:pt>
                <c:pt idx="19276">
                  <c:v>38268</c:v>
                </c:pt>
                <c:pt idx="19277">
                  <c:v>38271</c:v>
                </c:pt>
                <c:pt idx="19278">
                  <c:v>38272</c:v>
                </c:pt>
                <c:pt idx="19279">
                  <c:v>38273</c:v>
                </c:pt>
                <c:pt idx="19280">
                  <c:v>38274</c:v>
                </c:pt>
                <c:pt idx="19281">
                  <c:v>38275</c:v>
                </c:pt>
                <c:pt idx="19282">
                  <c:v>38278</c:v>
                </c:pt>
                <c:pt idx="19283">
                  <c:v>38279</c:v>
                </c:pt>
                <c:pt idx="19284">
                  <c:v>38280</c:v>
                </c:pt>
                <c:pt idx="19285">
                  <c:v>38281</c:v>
                </c:pt>
                <c:pt idx="19286">
                  <c:v>38282</c:v>
                </c:pt>
                <c:pt idx="19287">
                  <c:v>38285</c:v>
                </c:pt>
                <c:pt idx="19288">
                  <c:v>38286</c:v>
                </c:pt>
                <c:pt idx="19289">
                  <c:v>38287</c:v>
                </c:pt>
                <c:pt idx="19290">
                  <c:v>38288</c:v>
                </c:pt>
                <c:pt idx="19291">
                  <c:v>38289</c:v>
                </c:pt>
                <c:pt idx="19292">
                  <c:v>38292</c:v>
                </c:pt>
                <c:pt idx="19293">
                  <c:v>38293</c:v>
                </c:pt>
                <c:pt idx="19294">
                  <c:v>38294</c:v>
                </c:pt>
                <c:pt idx="19295">
                  <c:v>38295</c:v>
                </c:pt>
                <c:pt idx="19296">
                  <c:v>38296</c:v>
                </c:pt>
                <c:pt idx="19297">
                  <c:v>38299</c:v>
                </c:pt>
                <c:pt idx="19298">
                  <c:v>38300</c:v>
                </c:pt>
                <c:pt idx="19299">
                  <c:v>38301</c:v>
                </c:pt>
                <c:pt idx="19300">
                  <c:v>38302</c:v>
                </c:pt>
                <c:pt idx="19301">
                  <c:v>38303</c:v>
                </c:pt>
                <c:pt idx="19302">
                  <c:v>38306</c:v>
                </c:pt>
                <c:pt idx="19303">
                  <c:v>38307</c:v>
                </c:pt>
                <c:pt idx="19304">
                  <c:v>38308</c:v>
                </c:pt>
                <c:pt idx="19305">
                  <c:v>38309</c:v>
                </c:pt>
                <c:pt idx="19306">
                  <c:v>38310</c:v>
                </c:pt>
                <c:pt idx="19307">
                  <c:v>38313</c:v>
                </c:pt>
                <c:pt idx="19308">
                  <c:v>38314</c:v>
                </c:pt>
                <c:pt idx="19309">
                  <c:v>38315</c:v>
                </c:pt>
                <c:pt idx="19310">
                  <c:v>38317</c:v>
                </c:pt>
                <c:pt idx="19311">
                  <c:v>38320</c:v>
                </c:pt>
                <c:pt idx="19312">
                  <c:v>38321</c:v>
                </c:pt>
                <c:pt idx="19313">
                  <c:v>38322</c:v>
                </c:pt>
                <c:pt idx="19314">
                  <c:v>38323</c:v>
                </c:pt>
                <c:pt idx="19315">
                  <c:v>38324</c:v>
                </c:pt>
                <c:pt idx="19316">
                  <c:v>38327</c:v>
                </c:pt>
                <c:pt idx="19317">
                  <c:v>38328</c:v>
                </c:pt>
                <c:pt idx="19318">
                  <c:v>38329</c:v>
                </c:pt>
                <c:pt idx="19319">
                  <c:v>38330</c:v>
                </c:pt>
                <c:pt idx="19320">
                  <c:v>38331</c:v>
                </c:pt>
                <c:pt idx="19321">
                  <c:v>38334</c:v>
                </c:pt>
                <c:pt idx="19322">
                  <c:v>38335</c:v>
                </c:pt>
                <c:pt idx="19323">
                  <c:v>38336</c:v>
                </c:pt>
                <c:pt idx="19324">
                  <c:v>38337</c:v>
                </c:pt>
                <c:pt idx="19325">
                  <c:v>38338</c:v>
                </c:pt>
                <c:pt idx="19326">
                  <c:v>38341</c:v>
                </c:pt>
                <c:pt idx="19327">
                  <c:v>38342</c:v>
                </c:pt>
                <c:pt idx="19328">
                  <c:v>38343</c:v>
                </c:pt>
                <c:pt idx="19329">
                  <c:v>38344</c:v>
                </c:pt>
                <c:pt idx="19330">
                  <c:v>38348</c:v>
                </c:pt>
                <c:pt idx="19331">
                  <c:v>38349</c:v>
                </c:pt>
                <c:pt idx="19332">
                  <c:v>38350</c:v>
                </c:pt>
                <c:pt idx="19333">
                  <c:v>38351</c:v>
                </c:pt>
                <c:pt idx="19334">
                  <c:v>38352</c:v>
                </c:pt>
                <c:pt idx="19335">
                  <c:v>38355</c:v>
                </c:pt>
                <c:pt idx="19336">
                  <c:v>38356</c:v>
                </c:pt>
                <c:pt idx="19337">
                  <c:v>38357</c:v>
                </c:pt>
                <c:pt idx="19338">
                  <c:v>38358</c:v>
                </c:pt>
                <c:pt idx="19339">
                  <c:v>38359</c:v>
                </c:pt>
                <c:pt idx="19340">
                  <c:v>38362</c:v>
                </c:pt>
                <c:pt idx="19341">
                  <c:v>38363</c:v>
                </c:pt>
                <c:pt idx="19342">
                  <c:v>38364</c:v>
                </c:pt>
                <c:pt idx="19343">
                  <c:v>38365</c:v>
                </c:pt>
                <c:pt idx="19344">
                  <c:v>38366</c:v>
                </c:pt>
                <c:pt idx="19345">
                  <c:v>38370</c:v>
                </c:pt>
                <c:pt idx="19346">
                  <c:v>38371</c:v>
                </c:pt>
                <c:pt idx="19347">
                  <c:v>38372</c:v>
                </c:pt>
                <c:pt idx="19348">
                  <c:v>38373</c:v>
                </c:pt>
                <c:pt idx="19349">
                  <c:v>38376</c:v>
                </c:pt>
                <c:pt idx="19350">
                  <c:v>38377</c:v>
                </c:pt>
                <c:pt idx="19351">
                  <c:v>38378</c:v>
                </c:pt>
                <c:pt idx="19352">
                  <c:v>38379</c:v>
                </c:pt>
                <c:pt idx="19353">
                  <c:v>38380</c:v>
                </c:pt>
                <c:pt idx="19354">
                  <c:v>38383</c:v>
                </c:pt>
                <c:pt idx="19355">
                  <c:v>38384</c:v>
                </c:pt>
                <c:pt idx="19356">
                  <c:v>38385</c:v>
                </c:pt>
                <c:pt idx="19357">
                  <c:v>38386</c:v>
                </c:pt>
                <c:pt idx="19358">
                  <c:v>38387</c:v>
                </c:pt>
                <c:pt idx="19359">
                  <c:v>38390</c:v>
                </c:pt>
                <c:pt idx="19360">
                  <c:v>38391</c:v>
                </c:pt>
                <c:pt idx="19361">
                  <c:v>38392</c:v>
                </c:pt>
                <c:pt idx="19362">
                  <c:v>38393</c:v>
                </c:pt>
                <c:pt idx="19363">
                  <c:v>38394</c:v>
                </c:pt>
                <c:pt idx="19364">
                  <c:v>38397</c:v>
                </c:pt>
                <c:pt idx="19365">
                  <c:v>38398</c:v>
                </c:pt>
                <c:pt idx="19366">
                  <c:v>38399</c:v>
                </c:pt>
                <c:pt idx="19367">
                  <c:v>38400</c:v>
                </c:pt>
                <c:pt idx="19368">
                  <c:v>38401</c:v>
                </c:pt>
                <c:pt idx="19369">
                  <c:v>38405</c:v>
                </c:pt>
                <c:pt idx="19370">
                  <c:v>38406</c:v>
                </c:pt>
                <c:pt idx="19371">
                  <c:v>38407</c:v>
                </c:pt>
                <c:pt idx="19372">
                  <c:v>38408</c:v>
                </c:pt>
                <c:pt idx="19373">
                  <c:v>38411</c:v>
                </c:pt>
                <c:pt idx="19374">
                  <c:v>38412</c:v>
                </c:pt>
                <c:pt idx="19375">
                  <c:v>38413</c:v>
                </c:pt>
                <c:pt idx="19376">
                  <c:v>38414</c:v>
                </c:pt>
                <c:pt idx="19377">
                  <c:v>38415</c:v>
                </c:pt>
                <c:pt idx="19378">
                  <c:v>38418</c:v>
                </c:pt>
                <c:pt idx="19379">
                  <c:v>38419</c:v>
                </c:pt>
                <c:pt idx="19380">
                  <c:v>38420</c:v>
                </c:pt>
                <c:pt idx="19381">
                  <c:v>38421</c:v>
                </c:pt>
                <c:pt idx="19382">
                  <c:v>38422</c:v>
                </c:pt>
                <c:pt idx="19383">
                  <c:v>38425</c:v>
                </c:pt>
                <c:pt idx="19384">
                  <c:v>38426</c:v>
                </c:pt>
                <c:pt idx="19385">
                  <c:v>38427</c:v>
                </c:pt>
                <c:pt idx="19386">
                  <c:v>38428</c:v>
                </c:pt>
                <c:pt idx="19387">
                  <c:v>38429</c:v>
                </c:pt>
                <c:pt idx="19388">
                  <c:v>38432</c:v>
                </c:pt>
                <c:pt idx="19389">
                  <c:v>38433</c:v>
                </c:pt>
                <c:pt idx="19390">
                  <c:v>38434</c:v>
                </c:pt>
                <c:pt idx="19391">
                  <c:v>38435</c:v>
                </c:pt>
                <c:pt idx="19392">
                  <c:v>38439</c:v>
                </c:pt>
                <c:pt idx="19393">
                  <c:v>38440</c:v>
                </c:pt>
                <c:pt idx="19394">
                  <c:v>38441</c:v>
                </c:pt>
                <c:pt idx="19395">
                  <c:v>38442</c:v>
                </c:pt>
                <c:pt idx="19396">
                  <c:v>38443</c:v>
                </c:pt>
                <c:pt idx="19397">
                  <c:v>38446</c:v>
                </c:pt>
                <c:pt idx="19398">
                  <c:v>38447</c:v>
                </c:pt>
                <c:pt idx="19399">
                  <c:v>38448</c:v>
                </c:pt>
                <c:pt idx="19400">
                  <c:v>38449</c:v>
                </c:pt>
                <c:pt idx="19401">
                  <c:v>38450</c:v>
                </c:pt>
                <c:pt idx="19402">
                  <c:v>38453</c:v>
                </c:pt>
                <c:pt idx="19403">
                  <c:v>38454</c:v>
                </c:pt>
                <c:pt idx="19404">
                  <c:v>38455</c:v>
                </c:pt>
                <c:pt idx="19405">
                  <c:v>38456</c:v>
                </c:pt>
                <c:pt idx="19406">
                  <c:v>38457</c:v>
                </c:pt>
                <c:pt idx="19407">
                  <c:v>38460</c:v>
                </c:pt>
                <c:pt idx="19408">
                  <c:v>38461</c:v>
                </c:pt>
                <c:pt idx="19409">
                  <c:v>38462</c:v>
                </c:pt>
                <c:pt idx="19410">
                  <c:v>38463</c:v>
                </c:pt>
                <c:pt idx="19411">
                  <c:v>38464</c:v>
                </c:pt>
                <c:pt idx="19412">
                  <c:v>38467</c:v>
                </c:pt>
                <c:pt idx="19413">
                  <c:v>38468</c:v>
                </c:pt>
                <c:pt idx="19414">
                  <c:v>38469</c:v>
                </c:pt>
                <c:pt idx="19415">
                  <c:v>38470</c:v>
                </c:pt>
                <c:pt idx="19416">
                  <c:v>38471</c:v>
                </c:pt>
                <c:pt idx="19417">
                  <c:v>38474</c:v>
                </c:pt>
                <c:pt idx="19418">
                  <c:v>38475</c:v>
                </c:pt>
                <c:pt idx="19419">
                  <c:v>38476</c:v>
                </c:pt>
                <c:pt idx="19420">
                  <c:v>38477</c:v>
                </c:pt>
                <c:pt idx="19421">
                  <c:v>38478</c:v>
                </c:pt>
                <c:pt idx="19422">
                  <c:v>38481</c:v>
                </c:pt>
                <c:pt idx="19423">
                  <c:v>38482</c:v>
                </c:pt>
                <c:pt idx="19424">
                  <c:v>38483</c:v>
                </c:pt>
                <c:pt idx="19425">
                  <c:v>38484</c:v>
                </c:pt>
                <c:pt idx="19426">
                  <c:v>38485</c:v>
                </c:pt>
                <c:pt idx="19427">
                  <c:v>38488</c:v>
                </c:pt>
                <c:pt idx="19428">
                  <c:v>38489</c:v>
                </c:pt>
                <c:pt idx="19429">
                  <c:v>38490</c:v>
                </c:pt>
                <c:pt idx="19430">
                  <c:v>38491</c:v>
                </c:pt>
                <c:pt idx="19431">
                  <c:v>38492</c:v>
                </c:pt>
                <c:pt idx="19432">
                  <c:v>38495</c:v>
                </c:pt>
                <c:pt idx="19433">
                  <c:v>38496</c:v>
                </c:pt>
                <c:pt idx="19434">
                  <c:v>38497</c:v>
                </c:pt>
                <c:pt idx="19435">
                  <c:v>38498</c:v>
                </c:pt>
                <c:pt idx="19436">
                  <c:v>38499</c:v>
                </c:pt>
                <c:pt idx="19437">
                  <c:v>38503</c:v>
                </c:pt>
                <c:pt idx="19438">
                  <c:v>38504</c:v>
                </c:pt>
                <c:pt idx="19439">
                  <c:v>38505</c:v>
                </c:pt>
                <c:pt idx="19440">
                  <c:v>38506</c:v>
                </c:pt>
                <c:pt idx="19441">
                  <c:v>38509</c:v>
                </c:pt>
                <c:pt idx="19442">
                  <c:v>38510</c:v>
                </c:pt>
                <c:pt idx="19443">
                  <c:v>38511</c:v>
                </c:pt>
                <c:pt idx="19444">
                  <c:v>38512</c:v>
                </c:pt>
                <c:pt idx="19445">
                  <c:v>38513</c:v>
                </c:pt>
                <c:pt idx="19446">
                  <c:v>38516</c:v>
                </c:pt>
                <c:pt idx="19447">
                  <c:v>38517</c:v>
                </c:pt>
                <c:pt idx="19448">
                  <c:v>38518</c:v>
                </c:pt>
                <c:pt idx="19449">
                  <c:v>38519</c:v>
                </c:pt>
                <c:pt idx="19450">
                  <c:v>38520</c:v>
                </c:pt>
                <c:pt idx="19451">
                  <c:v>38523</c:v>
                </c:pt>
                <c:pt idx="19452">
                  <c:v>38524</c:v>
                </c:pt>
                <c:pt idx="19453">
                  <c:v>38525</c:v>
                </c:pt>
                <c:pt idx="19454">
                  <c:v>38526</c:v>
                </c:pt>
                <c:pt idx="19455">
                  <c:v>38527</c:v>
                </c:pt>
                <c:pt idx="19456">
                  <c:v>38530</c:v>
                </c:pt>
                <c:pt idx="19457">
                  <c:v>38531</c:v>
                </c:pt>
                <c:pt idx="19458">
                  <c:v>38532</c:v>
                </c:pt>
                <c:pt idx="19459">
                  <c:v>38533</c:v>
                </c:pt>
                <c:pt idx="19460">
                  <c:v>38534</c:v>
                </c:pt>
                <c:pt idx="19461">
                  <c:v>38538</c:v>
                </c:pt>
                <c:pt idx="19462">
                  <c:v>38539</c:v>
                </c:pt>
                <c:pt idx="19463">
                  <c:v>38540</c:v>
                </c:pt>
                <c:pt idx="19464">
                  <c:v>38541</c:v>
                </c:pt>
                <c:pt idx="19465">
                  <c:v>38544</c:v>
                </c:pt>
                <c:pt idx="19466">
                  <c:v>38545</c:v>
                </c:pt>
                <c:pt idx="19467">
                  <c:v>38546</c:v>
                </c:pt>
                <c:pt idx="19468">
                  <c:v>38547</c:v>
                </c:pt>
                <c:pt idx="19469">
                  <c:v>38548</c:v>
                </c:pt>
                <c:pt idx="19470">
                  <c:v>38551</c:v>
                </c:pt>
                <c:pt idx="19471">
                  <c:v>38552</c:v>
                </c:pt>
                <c:pt idx="19472">
                  <c:v>38553</c:v>
                </c:pt>
                <c:pt idx="19473">
                  <c:v>38554</c:v>
                </c:pt>
                <c:pt idx="19474">
                  <c:v>38555</c:v>
                </c:pt>
                <c:pt idx="19475">
                  <c:v>38558</c:v>
                </c:pt>
                <c:pt idx="19476">
                  <c:v>38559</c:v>
                </c:pt>
                <c:pt idx="19477">
                  <c:v>38560</c:v>
                </c:pt>
                <c:pt idx="19478">
                  <c:v>38561</c:v>
                </c:pt>
                <c:pt idx="19479">
                  <c:v>38562</c:v>
                </c:pt>
                <c:pt idx="19480">
                  <c:v>38565</c:v>
                </c:pt>
                <c:pt idx="19481">
                  <c:v>38566</c:v>
                </c:pt>
                <c:pt idx="19482">
                  <c:v>38567</c:v>
                </c:pt>
                <c:pt idx="19483">
                  <c:v>38568</c:v>
                </c:pt>
                <c:pt idx="19484">
                  <c:v>38569</c:v>
                </c:pt>
                <c:pt idx="19485">
                  <c:v>38572</c:v>
                </c:pt>
                <c:pt idx="19486">
                  <c:v>38573</c:v>
                </c:pt>
                <c:pt idx="19487">
                  <c:v>38574</c:v>
                </c:pt>
                <c:pt idx="19488">
                  <c:v>38575</c:v>
                </c:pt>
                <c:pt idx="19489">
                  <c:v>38576</c:v>
                </c:pt>
                <c:pt idx="19490">
                  <c:v>38579</c:v>
                </c:pt>
                <c:pt idx="19491">
                  <c:v>38580</c:v>
                </c:pt>
                <c:pt idx="19492">
                  <c:v>38581</c:v>
                </c:pt>
                <c:pt idx="19493">
                  <c:v>38582</c:v>
                </c:pt>
                <c:pt idx="19494">
                  <c:v>38583</c:v>
                </c:pt>
                <c:pt idx="19495">
                  <c:v>38586</c:v>
                </c:pt>
                <c:pt idx="19496">
                  <c:v>38587</c:v>
                </c:pt>
                <c:pt idx="19497">
                  <c:v>38588</c:v>
                </c:pt>
                <c:pt idx="19498">
                  <c:v>38589</c:v>
                </c:pt>
                <c:pt idx="19499">
                  <c:v>38590</c:v>
                </c:pt>
                <c:pt idx="19500">
                  <c:v>38593</c:v>
                </c:pt>
                <c:pt idx="19501">
                  <c:v>38594</c:v>
                </c:pt>
                <c:pt idx="19502">
                  <c:v>38595</c:v>
                </c:pt>
                <c:pt idx="19503">
                  <c:v>38596</c:v>
                </c:pt>
                <c:pt idx="19504">
                  <c:v>38597</c:v>
                </c:pt>
                <c:pt idx="19505">
                  <c:v>38601</c:v>
                </c:pt>
                <c:pt idx="19506">
                  <c:v>38602</c:v>
                </c:pt>
                <c:pt idx="19507">
                  <c:v>38603</c:v>
                </c:pt>
                <c:pt idx="19508">
                  <c:v>38604</c:v>
                </c:pt>
                <c:pt idx="19509">
                  <c:v>38607</c:v>
                </c:pt>
                <c:pt idx="19510">
                  <c:v>38608</c:v>
                </c:pt>
                <c:pt idx="19511">
                  <c:v>38609</c:v>
                </c:pt>
                <c:pt idx="19512">
                  <c:v>38610</c:v>
                </c:pt>
                <c:pt idx="19513">
                  <c:v>38611</c:v>
                </c:pt>
                <c:pt idx="19514">
                  <c:v>38614</c:v>
                </c:pt>
                <c:pt idx="19515">
                  <c:v>38615</c:v>
                </c:pt>
                <c:pt idx="19516">
                  <c:v>38616</c:v>
                </c:pt>
                <c:pt idx="19517">
                  <c:v>38617</c:v>
                </c:pt>
                <c:pt idx="19518">
                  <c:v>38618</c:v>
                </c:pt>
                <c:pt idx="19519">
                  <c:v>38621</c:v>
                </c:pt>
                <c:pt idx="19520">
                  <c:v>38622</c:v>
                </c:pt>
                <c:pt idx="19521">
                  <c:v>38623</c:v>
                </c:pt>
                <c:pt idx="19522">
                  <c:v>38624</c:v>
                </c:pt>
                <c:pt idx="19523">
                  <c:v>38625</c:v>
                </c:pt>
                <c:pt idx="19524">
                  <c:v>38628</c:v>
                </c:pt>
                <c:pt idx="19525">
                  <c:v>38629</c:v>
                </c:pt>
                <c:pt idx="19526">
                  <c:v>38630</c:v>
                </c:pt>
                <c:pt idx="19527">
                  <c:v>38631</c:v>
                </c:pt>
                <c:pt idx="19528">
                  <c:v>38632</c:v>
                </c:pt>
                <c:pt idx="19529">
                  <c:v>38635</c:v>
                </c:pt>
                <c:pt idx="19530">
                  <c:v>38636</c:v>
                </c:pt>
                <c:pt idx="19531">
                  <c:v>38637</c:v>
                </c:pt>
                <c:pt idx="19532">
                  <c:v>38638</c:v>
                </c:pt>
                <c:pt idx="19533">
                  <c:v>38639</c:v>
                </c:pt>
                <c:pt idx="19534">
                  <c:v>38642</c:v>
                </c:pt>
                <c:pt idx="19535">
                  <c:v>38643</c:v>
                </c:pt>
                <c:pt idx="19536">
                  <c:v>38644</c:v>
                </c:pt>
                <c:pt idx="19537">
                  <c:v>38645</c:v>
                </c:pt>
                <c:pt idx="19538">
                  <c:v>38646</c:v>
                </c:pt>
                <c:pt idx="19539">
                  <c:v>38649</c:v>
                </c:pt>
                <c:pt idx="19540">
                  <c:v>38650</c:v>
                </c:pt>
                <c:pt idx="19541">
                  <c:v>38651</c:v>
                </c:pt>
                <c:pt idx="19542">
                  <c:v>38652</c:v>
                </c:pt>
                <c:pt idx="19543">
                  <c:v>38653</c:v>
                </c:pt>
                <c:pt idx="19544">
                  <c:v>38656</c:v>
                </c:pt>
                <c:pt idx="19545">
                  <c:v>38657</c:v>
                </c:pt>
                <c:pt idx="19546">
                  <c:v>38658</c:v>
                </c:pt>
                <c:pt idx="19547">
                  <c:v>38659</c:v>
                </c:pt>
                <c:pt idx="19548">
                  <c:v>38660</c:v>
                </c:pt>
                <c:pt idx="19549">
                  <c:v>38663</c:v>
                </c:pt>
                <c:pt idx="19550">
                  <c:v>38664</c:v>
                </c:pt>
                <c:pt idx="19551">
                  <c:v>38665</c:v>
                </c:pt>
                <c:pt idx="19552">
                  <c:v>38666</c:v>
                </c:pt>
                <c:pt idx="19553">
                  <c:v>38667</c:v>
                </c:pt>
                <c:pt idx="19554">
                  <c:v>38670</c:v>
                </c:pt>
                <c:pt idx="19555">
                  <c:v>38671</c:v>
                </c:pt>
                <c:pt idx="19556">
                  <c:v>38672</c:v>
                </c:pt>
                <c:pt idx="19557">
                  <c:v>38673</c:v>
                </c:pt>
                <c:pt idx="19558">
                  <c:v>38674</c:v>
                </c:pt>
                <c:pt idx="19559">
                  <c:v>38677</c:v>
                </c:pt>
                <c:pt idx="19560">
                  <c:v>38678</c:v>
                </c:pt>
                <c:pt idx="19561">
                  <c:v>38679</c:v>
                </c:pt>
                <c:pt idx="19562">
                  <c:v>38681</c:v>
                </c:pt>
                <c:pt idx="19563">
                  <c:v>38684</c:v>
                </c:pt>
                <c:pt idx="19564">
                  <c:v>38685</c:v>
                </c:pt>
                <c:pt idx="19565">
                  <c:v>38686</c:v>
                </c:pt>
                <c:pt idx="19566">
                  <c:v>38687</c:v>
                </c:pt>
                <c:pt idx="19567">
                  <c:v>38688</c:v>
                </c:pt>
                <c:pt idx="19568">
                  <c:v>38691</c:v>
                </c:pt>
                <c:pt idx="19569">
                  <c:v>38692</c:v>
                </c:pt>
                <c:pt idx="19570">
                  <c:v>38693</c:v>
                </c:pt>
                <c:pt idx="19571">
                  <c:v>38694</c:v>
                </c:pt>
                <c:pt idx="19572">
                  <c:v>38695</c:v>
                </c:pt>
                <c:pt idx="19573">
                  <c:v>38698</c:v>
                </c:pt>
                <c:pt idx="19574">
                  <c:v>38699</c:v>
                </c:pt>
                <c:pt idx="19575">
                  <c:v>38700</c:v>
                </c:pt>
                <c:pt idx="19576">
                  <c:v>38701</c:v>
                </c:pt>
                <c:pt idx="19577">
                  <c:v>38702</c:v>
                </c:pt>
                <c:pt idx="19578">
                  <c:v>38705</c:v>
                </c:pt>
                <c:pt idx="19579">
                  <c:v>38706</c:v>
                </c:pt>
                <c:pt idx="19580">
                  <c:v>38707</c:v>
                </c:pt>
                <c:pt idx="19581">
                  <c:v>38708</c:v>
                </c:pt>
                <c:pt idx="19582">
                  <c:v>38709</c:v>
                </c:pt>
                <c:pt idx="19583">
                  <c:v>38713</c:v>
                </c:pt>
                <c:pt idx="19584">
                  <c:v>38714</c:v>
                </c:pt>
                <c:pt idx="19585">
                  <c:v>38715</c:v>
                </c:pt>
                <c:pt idx="19586">
                  <c:v>38716</c:v>
                </c:pt>
                <c:pt idx="19587">
                  <c:v>38720</c:v>
                </c:pt>
                <c:pt idx="19588">
                  <c:v>38721</c:v>
                </c:pt>
                <c:pt idx="19589">
                  <c:v>38722</c:v>
                </c:pt>
                <c:pt idx="19590">
                  <c:v>38723</c:v>
                </c:pt>
                <c:pt idx="19591">
                  <c:v>38726</c:v>
                </c:pt>
                <c:pt idx="19592">
                  <c:v>38727</c:v>
                </c:pt>
                <c:pt idx="19593">
                  <c:v>38728</c:v>
                </c:pt>
                <c:pt idx="19594">
                  <c:v>38729</c:v>
                </c:pt>
                <c:pt idx="19595">
                  <c:v>38730</c:v>
                </c:pt>
                <c:pt idx="19596">
                  <c:v>38734</c:v>
                </c:pt>
                <c:pt idx="19597">
                  <c:v>38735</c:v>
                </c:pt>
                <c:pt idx="19598">
                  <c:v>38736</c:v>
                </c:pt>
                <c:pt idx="19599">
                  <c:v>38737</c:v>
                </c:pt>
                <c:pt idx="19600">
                  <c:v>38740</c:v>
                </c:pt>
                <c:pt idx="19601">
                  <c:v>38741</c:v>
                </c:pt>
                <c:pt idx="19602">
                  <c:v>38742</c:v>
                </c:pt>
                <c:pt idx="19603">
                  <c:v>38743</c:v>
                </c:pt>
                <c:pt idx="19604">
                  <c:v>38744</c:v>
                </c:pt>
                <c:pt idx="19605">
                  <c:v>38747</c:v>
                </c:pt>
                <c:pt idx="19606">
                  <c:v>38748</c:v>
                </c:pt>
                <c:pt idx="19607">
                  <c:v>38749</c:v>
                </c:pt>
                <c:pt idx="19608">
                  <c:v>38750</c:v>
                </c:pt>
                <c:pt idx="19609">
                  <c:v>38751</c:v>
                </c:pt>
                <c:pt idx="19610">
                  <c:v>38754</c:v>
                </c:pt>
                <c:pt idx="19611">
                  <c:v>38755</c:v>
                </c:pt>
                <c:pt idx="19612">
                  <c:v>38756</c:v>
                </c:pt>
                <c:pt idx="19613">
                  <c:v>38757</c:v>
                </c:pt>
                <c:pt idx="19614">
                  <c:v>38758</c:v>
                </c:pt>
                <c:pt idx="19615">
                  <c:v>38761</c:v>
                </c:pt>
                <c:pt idx="19616">
                  <c:v>38762</c:v>
                </c:pt>
                <c:pt idx="19617">
                  <c:v>38763</c:v>
                </c:pt>
                <c:pt idx="19618">
                  <c:v>38764</c:v>
                </c:pt>
                <c:pt idx="19619">
                  <c:v>38765</c:v>
                </c:pt>
                <c:pt idx="19620">
                  <c:v>38769</c:v>
                </c:pt>
                <c:pt idx="19621">
                  <c:v>38770</c:v>
                </c:pt>
                <c:pt idx="19622">
                  <c:v>38771</c:v>
                </c:pt>
                <c:pt idx="19623">
                  <c:v>38772</c:v>
                </c:pt>
                <c:pt idx="19624">
                  <c:v>38775</c:v>
                </c:pt>
                <c:pt idx="19625">
                  <c:v>38776</c:v>
                </c:pt>
                <c:pt idx="19626">
                  <c:v>38777</c:v>
                </c:pt>
                <c:pt idx="19627">
                  <c:v>38778</c:v>
                </c:pt>
                <c:pt idx="19628">
                  <c:v>38779</c:v>
                </c:pt>
                <c:pt idx="19629">
                  <c:v>38782</c:v>
                </c:pt>
                <c:pt idx="19630">
                  <c:v>38783</c:v>
                </c:pt>
                <c:pt idx="19631">
                  <c:v>38784</c:v>
                </c:pt>
                <c:pt idx="19632">
                  <c:v>38785</c:v>
                </c:pt>
                <c:pt idx="19633">
                  <c:v>38786</c:v>
                </c:pt>
                <c:pt idx="19634">
                  <c:v>38789</c:v>
                </c:pt>
                <c:pt idx="19635">
                  <c:v>38790</c:v>
                </c:pt>
                <c:pt idx="19636">
                  <c:v>38791</c:v>
                </c:pt>
                <c:pt idx="19637">
                  <c:v>38792</c:v>
                </c:pt>
                <c:pt idx="19638">
                  <c:v>38793</c:v>
                </c:pt>
                <c:pt idx="19639">
                  <c:v>38796</c:v>
                </c:pt>
                <c:pt idx="19640">
                  <c:v>38797</c:v>
                </c:pt>
                <c:pt idx="19641">
                  <c:v>38798</c:v>
                </c:pt>
                <c:pt idx="19642">
                  <c:v>38799</c:v>
                </c:pt>
                <c:pt idx="19643">
                  <c:v>38800</c:v>
                </c:pt>
                <c:pt idx="19644">
                  <c:v>38803</c:v>
                </c:pt>
                <c:pt idx="19645">
                  <c:v>38804</c:v>
                </c:pt>
                <c:pt idx="19646">
                  <c:v>38805</c:v>
                </c:pt>
                <c:pt idx="19647">
                  <c:v>38806</c:v>
                </c:pt>
                <c:pt idx="19648">
                  <c:v>38807</c:v>
                </c:pt>
                <c:pt idx="19649">
                  <c:v>38810</c:v>
                </c:pt>
                <c:pt idx="19650">
                  <c:v>38811</c:v>
                </c:pt>
                <c:pt idx="19651">
                  <c:v>38812</c:v>
                </c:pt>
                <c:pt idx="19652">
                  <c:v>38813</c:v>
                </c:pt>
                <c:pt idx="19653">
                  <c:v>38814</c:v>
                </c:pt>
                <c:pt idx="19654">
                  <c:v>38817</c:v>
                </c:pt>
                <c:pt idx="19655">
                  <c:v>38818</c:v>
                </c:pt>
                <c:pt idx="19656">
                  <c:v>38819</c:v>
                </c:pt>
                <c:pt idx="19657">
                  <c:v>38820</c:v>
                </c:pt>
                <c:pt idx="19658">
                  <c:v>38824</c:v>
                </c:pt>
                <c:pt idx="19659">
                  <c:v>38825</c:v>
                </c:pt>
                <c:pt idx="19660">
                  <c:v>38826</c:v>
                </c:pt>
                <c:pt idx="19661">
                  <c:v>38827</c:v>
                </c:pt>
                <c:pt idx="19662">
                  <c:v>38828</c:v>
                </c:pt>
                <c:pt idx="19663">
                  <c:v>38831</c:v>
                </c:pt>
                <c:pt idx="19664">
                  <c:v>38832</c:v>
                </c:pt>
                <c:pt idx="19665">
                  <c:v>38833</c:v>
                </c:pt>
                <c:pt idx="19666">
                  <c:v>38834</c:v>
                </c:pt>
                <c:pt idx="19667">
                  <c:v>38835</c:v>
                </c:pt>
                <c:pt idx="19668">
                  <c:v>38838</c:v>
                </c:pt>
                <c:pt idx="19669">
                  <c:v>38839</c:v>
                </c:pt>
                <c:pt idx="19670">
                  <c:v>38840</c:v>
                </c:pt>
                <c:pt idx="19671">
                  <c:v>38841</c:v>
                </c:pt>
                <c:pt idx="19672">
                  <c:v>38842</c:v>
                </c:pt>
                <c:pt idx="19673">
                  <c:v>38845</c:v>
                </c:pt>
                <c:pt idx="19674">
                  <c:v>38846</c:v>
                </c:pt>
                <c:pt idx="19675">
                  <c:v>38847</c:v>
                </c:pt>
                <c:pt idx="19676">
                  <c:v>38848</c:v>
                </c:pt>
                <c:pt idx="19677">
                  <c:v>38849</c:v>
                </c:pt>
                <c:pt idx="19678">
                  <c:v>38852</c:v>
                </c:pt>
                <c:pt idx="19679">
                  <c:v>38853</c:v>
                </c:pt>
                <c:pt idx="19680">
                  <c:v>38854</c:v>
                </c:pt>
                <c:pt idx="19681">
                  <c:v>38855</c:v>
                </c:pt>
                <c:pt idx="19682">
                  <c:v>38856</c:v>
                </c:pt>
                <c:pt idx="19683">
                  <c:v>38859</c:v>
                </c:pt>
                <c:pt idx="19684">
                  <c:v>38860</c:v>
                </c:pt>
                <c:pt idx="19685">
                  <c:v>38861</c:v>
                </c:pt>
                <c:pt idx="19686">
                  <c:v>38862</c:v>
                </c:pt>
                <c:pt idx="19687">
                  <c:v>38863</c:v>
                </c:pt>
                <c:pt idx="19688">
                  <c:v>38867</c:v>
                </c:pt>
                <c:pt idx="19689">
                  <c:v>38868</c:v>
                </c:pt>
                <c:pt idx="19690">
                  <c:v>38869</c:v>
                </c:pt>
                <c:pt idx="19691">
                  <c:v>38870</c:v>
                </c:pt>
                <c:pt idx="19692">
                  <c:v>38873</c:v>
                </c:pt>
                <c:pt idx="19693">
                  <c:v>38874</c:v>
                </c:pt>
                <c:pt idx="19694">
                  <c:v>38875</c:v>
                </c:pt>
                <c:pt idx="19695">
                  <c:v>38876</c:v>
                </c:pt>
                <c:pt idx="19696">
                  <c:v>38877</c:v>
                </c:pt>
                <c:pt idx="19697">
                  <c:v>38880</c:v>
                </c:pt>
                <c:pt idx="19698">
                  <c:v>38881</c:v>
                </c:pt>
                <c:pt idx="19699">
                  <c:v>38882</c:v>
                </c:pt>
                <c:pt idx="19700">
                  <c:v>38883</c:v>
                </c:pt>
                <c:pt idx="19701">
                  <c:v>38884</c:v>
                </c:pt>
                <c:pt idx="19702">
                  <c:v>38887</c:v>
                </c:pt>
                <c:pt idx="19703">
                  <c:v>38888</c:v>
                </c:pt>
                <c:pt idx="19704">
                  <c:v>38889</c:v>
                </c:pt>
                <c:pt idx="19705">
                  <c:v>38890</c:v>
                </c:pt>
                <c:pt idx="19706">
                  <c:v>38891</c:v>
                </c:pt>
                <c:pt idx="19707">
                  <c:v>38894</c:v>
                </c:pt>
                <c:pt idx="19708">
                  <c:v>38895</c:v>
                </c:pt>
                <c:pt idx="19709">
                  <c:v>38896</c:v>
                </c:pt>
                <c:pt idx="19710">
                  <c:v>38897</c:v>
                </c:pt>
                <c:pt idx="19711">
                  <c:v>38898</c:v>
                </c:pt>
                <c:pt idx="19712">
                  <c:v>38901</c:v>
                </c:pt>
                <c:pt idx="19713">
                  <c:v>38903</c:v>
                </c:pt>
                <c:pt idx="19714">
                  <c:v>38904</c:v>
                </c:pt>
                <c:pt idx="19715">
                  <c:v>38905</c:v>
                </c:pt>
                <c:pt idx="19716">
                  <c:v>38908</c:v>
                </c:pt>
                <c:pt idx="19717">
                  <c:v>38909</c:v>
                </c:pt>
                <c:pt idx="19718">
                  <c:v>38910</c:v>
                </c:pt>
                <c:pt idx="19719">
                  <c:v>38911</c:v>
                </c:pt>
                <c:pt idx="19720">
                  <c:v>38912</c:v>
                </c:pt>
                <c:pt idx="19721">
                  <c:v>38915</c:v>
                </c:pt>
                <c:pt idx="19722">
                  <c:v>38916</c:v>
                </c:pt>
                <c:pt idx="19723">
                  <c:v>38917</c:v>
                </c:pt>
                <c:pt idx="19724">
                  <c:v>38918</c:v>
                </c:pt>
                <c:pt idx="19725">
                  <c:v>38919</c:v>
                </c:pt>
                <c:pt idx="19726">
                  <c:v>38922</c:v>
                </c:pt>
                <c:pt idx="19727">
                  <c:v>38923</c:v>
                </c:pt>
                <c:pt idx="19728">
                  <c:v>38924</c:v>
                </c:pt>
                <c:pt idx="19729">
                  <c:v>38925</c:v>
                </c:pt>
                <c:pt idx="19730">
                  <c:v>38926</c:v>
                </c:pt>
                <c:pt idx="19731">
                  <c:v>38929</c:v>
                </c:pt>
                <c:pt idx="19732">
                  <c:v>38930</c:v>
                </c:pt>
                <c:pt idx="19733">
                  <c:v>38931</c:v>
                </c:pt>
                <c:pt idx="19734">
                  <c:v>38932</c:v>
                </c:pt>
                <c:pt idx="19735">
                  <c:v>38933</c:v>
                </c:pt>
                <c:pt idx="19736">
                  <c:v>38936</c:v>
                </c:pt>
                <c:pt idx="19737">
                  <c:v>38937</c:v>
                </c:pt>
                <c:pt idx="19738">
                  <c:v>38938</c:v>
                </c:pt>
                <c:pt idx="19739">
                  <c:v>38939</c:v>
                </c:pt>
                <c:pt idx="19740">
                  <c:v>38940</c:v>
                </c:pt>
                <c:pt idx="19741">
                  <c:v>38943</c:v>
                </c:pt>
                <c:pt idx="19742">
                  <c:v>38944</c:v>
                </c:pt>
                <c:pt idx="19743">
                  <c:v>38945</c:v>
                </c:pt>
                <c:pt idx="19744">
                  <c:v>38946</c:v>
                </c:pt>
                <c:pt idx="19745">
                  <c:v>38947</c:v>
                </c:pt>
                <c:pt idx="19746">
                  <c:v>38950</c:v>
                </c:pt>
                <c:pt idx="19747">
                  <c:v>38951</c:v>
                </c:pt>
                <c:pt idx="19748">
                  <c:v>38952</c:v>
                </c:pt>
                <c:pt idx="19749">
                  <c:v>38953</c:v>
                </c:pt>
                <c:pt idx="19750">
                  <c:v>38954</c:v>
                </c:pt>
                <c:pt idx="19751">
                  <c:v>38957</c:v>
                </c:pt>
                <c:pt idx="19752">
                  <c:v>38958</c:v>
                </c:pt>
                <c:pt idx="19753">
                  <c:v>38959</c:v>
                </c:pt>
                <c:pt idx="19754">
                  <c:v>38960</c:v>
                </c:pt>
                <c:pt idx="19755">
                  <c:v>38961</c:v>
                </c:pt>
                <c:pt idx="19756">
                  <c:v>38965</c:v>
                </c:pt>
                <c:pt idx="19757">
                  <c:v>38966</c:v>
                </c:pt>
                <c:pt idx="19758">
                  <c:v>38967</c:v>
                </c:pt>
                <c:pt idx="19759">
                  <c:v>38968</c:v>
                </c:pt>
                <c:pt idx="19760">
                  <c:v>38971</c:v>
                </c:pt>
                <c:pt idx="19761">
                  <c:v>38972</c:v>
                </c:pt>
                <c:pt idx="19762">
                  <c:v>38973</c:v>
                </c:pt>
                <c:pt idx="19763">
                  <c:v>38974</c:v>
                </c:pt>
                <c:pt idx="19764">
                  <c:v>38975</c:v>
                </c:pt>
                <c:pt idx="19765">
                  <c:v>38978</c:v>
                </c:pt>
                <c:pt idx="19766">
                  <c:v>38979</c:v>
                </c:pt>
                <c:pt idx="19767">
                  <c:v>38980</c:v>
                </c:pt>
                <c:pt idx="19768">
                  <c:v>38981</c:v>
                </c:pt>
                <c:pt idx="19769">
                  <c:v>38982</c:v>
                </c:pt>
                <c:pt idx="19770">
                  <c:v>38985</c:v>
                </c:pt>
                <c:pt idx="19771">
                  <c:v>38986</c:v>
                </c:pt>
                <c:pt idx="19772">
                  <c:v>38987</c:v>
                </c:pt>
                <c:pt idx="19773">
                  <c:v>38988</c:v>
                </c:pt>
                <c:pt idx="19774">
                  <c:v>38989</c:v>
                </c:pt>
                <c:pt idx="19775">
                  <c:v>38992</c:v>
                </c:pt>
                <c:pt idx="19776">
                  <c:v>38993</c:v>
                </c:pt>
                <c:pt idx="19777">
                  <c:v>38994</c:v>
                </c:pt>
                <c:pt idx="19778">
                  <c:v>38995</c:v>
                </c:pt>
                <c:pt idx="19779">
                  <c:v>38996</c:v>
                </c:pt>
                <c:pt idx="19780">
                  <c:v>38999</c:v>
                </c:pt>
                <c:pt idx="19781">
                  <c:v>39000</c:v>
                </c:pt>
                <c:pt idx="19782">
                  <c:v>39001</c:v>
                </c:pt>
                <c:pt idx="19783">
                  <c:v>39002</c:v>
                </c:pt>
                <c:pt idx="19784">
                  <c:v>39003</c:v>
                </c:pt>
                <c:pt idx="19785">
                  <c:v>39006</c:v>
                </c:pt>
                <c:pt idx="19786">
                  <c:v>39007</c:v>
                </c:pt>
                <c:pt idx="19787">
                  <c:v>39008</c:v>
                </c:pt>
                <c:pt idx="19788">
                  <c:v>39009</c:v>
                </c:pt>
                <c:pt idx="19789">
                  <c:v>39010</c:v>
                </c:pt>
                <c:pt idx="19790">
                  <c:v>39013</c:v>
                </c:pt>
                <c:pt idx="19791">
                  <c:v>39014</c:v>
                </c:pt>
                <c:pt idx="19792">
                  <c:v>39015</c:v>
                </c:pt>
                <c:pt idx="19793">
                  <c:v>39016</c:v>
                </c:pt>
                <c:pt idx="19794">
                  <c:v>39017</c:v>
                </c:pt>
                <c:pt idx="19795">
                  <c:v>39020</c:v>
                </c:pt>
                <c:pt idx="19796">
                  <c:v>39021</c:v>
                </c:pt>
                <c:pt idx="19797">
                  <c:v>39022</c:v>
                </c:pt>
                <c:pt idx="19798">
                  <c:v>39023</c:v>
                </c:pt>
                <c:pt idx="19799">
                  <c:v>39024</c:v>
                </c:pt>
                <c:pt idx="19800">
                  <c:v>39027</c:v>
                </c:pt>
                <c:pt idx="19801">
                  <c:v>39028</c:v>
                </c:pt>
                <c:pt idx="19802">
                  <c:v>39029</c:v>
                </c:pt>
                <c:pt idx="19803">
                  <c:v>39030</c:v>
                </c:pt>
                <c:pt idx="19804">
                  <c:v>39031</c:v>
                </c:pt>
                <c:pt idx="19805">
                  <c:v>39034</c:v>
                </c:pt>
                <c:pt idx="19806">
                  <c:v>39035</c:v>
                </c:pt>
                <c:pt idx="19807">
                  <c:v>39036</c:v>
                </c:pt>
                <c:pt idx="19808">
                  <c:v>39037</c:v>
                </c:pt>
                <c:pt idx="19809">
                  <c:v>39038</c:v>
                </c:pt>
                <c:pt idx="19810">
                  <c:v>39041</c:v>
                </c:pt>
                <c:pt idx="19811">
                  <c:v>39042</c:v>
                </c:pt>
                <c:pt idx="19812">
                  <c:v>39043</c:v>
                </c:pt>
                <c:pt idx="19813">
                  <c:v>39045</c:v>
                </c:pt>
                <c:pt idx="19814">
                  <c:v>39048</c:v>
                </c:pt>
                <c:pt idx="19815">
                  <c:v>39049</c:v>
                </c:pt>
                <c:pt idx="19816">
                  <c:v>39050</c:v>
                </c:pt>
                <c:pt idx="19817">
                  <c:v>39051</c:v>
                </c:pt>
                <c:pt idx="19818">
                  <c:v>39052</c:v>
                </c:pt>
                <c:pt idx="19819">
                  <c:v>39055</c:v>
                </c:pt>
                <c:pt idx="19820">
                  <c:v>39056</c:v>
                </c:pt>
                <c:pt idx="19821">
                  <c:v>39057</c:v>
                </c:pt>
                <c:pt idx="19822">
                  <c:v>39058</c:v>
                </c:pt>
                <c:pt idx="19823">
                  <c:v>39059</c:v>
                </c:pt>
                <c:pt idx="19824">
                  <c:v>39062</c:v>
                </c:pt>
                <c:pt idx="19825">
                  <c:v>39063</c:v>
                </c:pt>
                <c:pt idx="19826">
                  <c:v>39064</c:v>
                </c:pt>
                <c:pt idx="19827">
                  <c:v>39065</c:v>
                </c:pt>
                <c:pt idx="19828">
                  <c:v>39066</c:v>
                </c:pt>
                <c:pt idx="19829">
                  <c:v>39069</c:v>
                </c:pt>
                <c:pt idx="19830">
                  <c:v>39070</c:v>
                </c:pt>
                <c:pt idx="19831">
                  <c:v>39071</c:v>
                </c:pt>
                <c:pt idx="19832">
                  <c:v>39072</c:v>
                </c:pt>
                <c:pt idx="19833">
                  <c:v>39073</c:v>
                </c:pt>
                <c:pt idx="19834">
                  <c:v>39077</c:v>
                </c:pt>
                <c:pt idx="19835">
                  <c:v>39078</c:v>
                </c:pt>
                <c:pt idx="19836">
                  <c:v>39079</c:v>
                </c:pt>
                <c:pt idx="19837">
                  <c:v>39080</c:v>
                </c:pt>
                <c:pt idx="19838">
                  <c:v>39085</c:v>
                </c:pt>
                <c:pt idx="19839">
                  <c:v>39086</c:v>
                </c:pt>
                <c:pt idx="19840">
                  <c:v>39087</c:v>
                </c:pt>
                <c:pt idx="19841">
                  <c:v>39090</c:v>
                </c:pt>
                <c:pt idx="19842">
                  <c:v>39091</c:v>
                </c:pt>
                <c:pt idx="19843">
                  <c:v>39092</c:v>
                </c:pt>
                <c:pt idx="19844">
                  <c:v>39093</c:v>
                </c:pt>
                <c:pt idx="19845">
                  <c:v>39094</c:v>
                </c:pt>
                <c:pt idx="19846">
                  <c:v>39098</c:v>
                </c:pt>
                <c:pt idx="19847">
                  <c:v>39099</c:v>
                </c:pt>
                <c:pt idx="19848">
                  <c:v>39100</c:v>
                </c:pt>
                <c:pt idx="19849">
                  <c:v>39101</c:v>
                </c:pt>
                <c:pt idx="19850">
                  <c:v>39104</c:v>
                </c:pt>
                <c:pt idx="19851">
                  <c:v>39105</c:v>
                </c:pt>
                <c:pt idx="19852">
                  <c:v>39106</c:v>
                </c:pt>
                <c:pt idx="19853">
                  <c:v>39107</c:v>
                </c:pt>
                <c:pt idx="19854">
                  <c:v>39108</c:v>
                </c:pt>
                <c:pt idx="19855">
                  <c:v>39111</c:v>
                </c:pt>
                <c:pt idx="19856">
                  <c:v>39112</c:v>
                </c:pt>
                <c:pt idx="19857">
                  <c:v>39113</c:v>
                </c:pt>
                <c:pt idx="19858">
                  <c:v>39114</c:v>
                </c:pt>
                <c:pt idx="19859">
                  <c:v>39115</c:v>
                </c:pt>
                <c:pt idx="19860">
                  <c:v>39118</c:v>
                </c:pt>
                <c:pt idx="19861">
                  <c:v>39119</c:v>
                </c:pt>
                <c:pt idx="19862">
                  <c:v>39120</c:v>
                </c:pt>
                <c:pt idx="19863">
                  <c:v>39121</c:v>
                </c:pt>
                <c:pt idx="19864">
                  <c:v>39122</c:v>
                </c:pt>
                <c:pt idx="19865">
                  <c:v>39125</c:v>
                </c:pt>
                <c:pt idx="19866">
                  <c:v>39126</c:v>
                </c:pt>
                <c:pt idx="19867">
                  <c:v>39127</c:v>
                </c:pt>
                <c:pt idx="19868">
                  <c:v>39128</c:v>
                </c:pt>
                <c:pt idx="19869">
                  <c:v>39129</c:v>
                </c:pt>
                <c:pt idx="19870">
                  <c:v>39133</c:v>
                </c:pt>
                <c:pt idx="19871">
                  <c:v>39134</c:v>
                </c:pt>
                <c:pt idx="19872">
                  <c:v>39135</c:v>
                </c:pt>
                <c:pt idx="19873">
                  <c:v>39136</c:v>
                </c:pt>
                <c:pt idx="19874">
                  <c:v>39139</c:v>
                </c:pt>
                <c:pt idx="19875">
                  <c:v>39140</c:v>
                </c:pt>
                <c:pt idx="19876">
                  <c:v>39141</c:v>
                </c:pt>
                <c:pt idx="19877">
                  <c:v>39142</c:v>
                </c:pt>
                <c:pt idx="19878">
                  <c:v>39143</c:v>
                </c:pt>
                <c:pt idx="19879">
                  <c:v>39146</c:v>
                </c:pt>
                <c:pt idx="19880">
                  <c:v>39147</c:v>
                </c:pt>
                <c:pt idx="19881">
                  <c:v>39148</c:v>
                </c:pt>
                <c:pt idx="19882">
                  <c:v>39149</c:v>
                </c:pt>
                <c:pt idx="19883">
                  <c:v>39150</c:v>
                </c:pt>
                <c:pt idx="19884">
                  <c:v>39153</c:v>
                </c:pt>
                <c:pt idx="19885">
                  <c:v>39154</c:v>
                </c:pt>
                <c:pt idx="19886">
                  <c:v>39155</c:v>
                </c:pt>
                <c:pt idx="19887">
                  <c:v>39156</c:v>
                </c:pt>
                <c:pt idx="19888">
                  <c:v>39157</c:v>
                </c:pt>
                <c:pt idx="19889">
                  <c:v>39160</c:v>
                </c:pt>
                <c:pt idx="19890">
                  <c:v>39161</c:v>
                </c:pt>
                <c:pt idx="19891">
                  <c:v>39162</c:v>
                </c:pt>
                <c:pt idx="19892">
                  <c:v>39163</c:v>
                </c:pt>
                <c:pt idx="19893">
                  <c:v>39164</c:v>
                </c:pt>
                <c:pt idx="19894">
                  <c:v>39167</c:v>
                </c:pt>
                <c:pt idx="19895">
                  <c:v>39168</c:v>
                </c:pt>
                <c:pt idx="19896">
                  <c:v>39169</c:v>
                </c:pt>
                <c:pt idx="19897">
                  <c:v>39170</c:v>
                </c:pt>
                <c:pt idx="19898">
                  <c:v>39171</c:v>
                </c:pt>
                <c:pt idx="19899">
                  <c:v>39174</c:v>
                </c:pt>
                <c:pt idx="19900">
                  <c:v>39175</c:v>
                </c:pt>
                <c:pt idx="19901">
                  <c:v>39176</c:v>
                </c:pt>
                <c:pt idx="19902">
                  <c:v>39177</c:v>
                </c:pt>
                <c:pt idx="19903">
                  <c:v>39181</c:v>
                </c:pt>
                <c:pt idx="19904">
                  <c:v>39182</c:v>
                </c:pt>
                <c:pt idx="19905">
                  <c:v>39183</c:v>
                </c:pt>
                <c:pt idx="19906">
                  <c:v>39184</c:v>
                </c:pt>
                <c:pt idx="19907">
                  <c:v>39185</c:v>
                </c:pt>
                <c:pt idx="19908">
                  <c:v>39188</c:v>
                </c:pt>
                <c:pt idx="19909">
                  <c:v>39189</c:v>
                </c:pt>
                <c:pt idx="19910">
                  <c:v>39190</c:v>
                </c:pt>
                <c:pt idx="19911">
                  <c:v>39191</c:v>
                </c:pt>
                <c:pt idx="19912">
                  <c:v>39192</c:v>
                </c:pt>
                <c:pt idx="19913">
                  <c:v>39195</c:v>
                </c:pt>
                <c:pt idx="19914">
                  <c:v>39196</c:v>
                </c:pt>
                <c:pt idx="19915">
                  <c:v>39197</c:v>
                </c:pt>
                <c:pt idx="19916">
                  <c:v>39198</c:v>
                </c:pt>
                <c:pt idx="19917">
                  <c:v>39199</c:v>
                </c:pt>
                <c:pt idx="19918">
                  <c:v>39202</c:v>
                </c:pt>
                <c:pt idx="19919">
                  <c:v>39203</c:v>
                </c:pt>
                <c:pt idx="19920">
                  <c:v>39204</c:v>
                </c:pt>
                <c:pt idx="19921">
                  <c:v>39205</c:v>
                </c:pt>
                <c:pt idx="19922">
                  <c:v>39206</c:v>
                </c:pt>
                <c:pt idx="19923">
                  <c:v>39209</c:v>
                </c:pt>
                <c:pt idx="19924">
                  <c:v>39210</c:v>
                </c:pt>
                <c:pt idx="19925">
                  <c:v>39211</c:v>
                </c:pt>
                <c:pt idx="19926">
                  <c:v>39212</c:v>
                </c:pt>
                <c:pt idx="19927">
                  <c:v>39213</c:v>
                </c:pt>
                <c:pt idx="19928">
                  <c:v>39216</c:v>
                </c:pt>
                <c:pt idx="19929">
                  <c:v>39217</c:v>
                </c:pt>
                <c:pt idx="19930">
                  <c:v>39218</c:v>
                </c:pt>
                <c:pt idx="19931">
                  <c:v>39219</c:v>
                </c:pt>
                <c:pt idx="19932">
                  <c:v>39220</c:v>
                </c:pt>
                <c:pt idx="19933">
                  <c:v>39223</c:v>
                </c:pt>
                <c:pt idx="19934">
                  <c:v>39224</c:v>
                </c:pt>
                <c:pt idx="19935">
                  <c:v>39225</c:v>
                </c:pt>
                <c:pt idx="19936">
                  <c:v>39226</c:v>
                </c:pt>
                <c:pt idx="19937">
                  <c:v>39227</c:v>
                </c:pt>
                <c:pt idx="19938">
                  <c:v>39231</c:v>
                </c:pt>
                <c:pt idx="19939">
                  <c:v>39232</c:v>
                </c:pt>
                <c:pt idx="19940">
                  <c:v>39233</c:v>
                </c:pt>
                <c:pt idx="19941">
                  <c:v>39234</c:v>
                </c:pt>
                <c:pt idx="19942">
                  <c:v>39237</c:v>
                </c:pt>
                <c:pt idx="19943">
                  <c:v>39238</c:v>
                </c:pt>
                <c:pt idx="19944">
                  <c:v>39239</c:v>
                </c:pt>
                <c:pt idx="19945">
                  <c:v>39240</c:v>
                </c:pt>
                <c:pt idx="19946">
                  <c:v>39241</c:v>
                </c:pt>
                <c:pt idx="19947">
                  <c:v>39244</c:v>
                </c:pt>
                <c:pt idx="19948">
                  <c:v>39245</c:v>
                </c:pt>
                <c:pt idx="19949">
                  <c:v>39246</c:v>
                </c:pt>
                <c:pt idx="19950">
                  <c:v>39247</c:v>
                </c:pt>
                <c:pt idx="19951">
                  <c:v>39248</c:v>
                </c:pt>
                <c:pt idx="19952">
                  <c:v>39251</c:v>
                </c:pt>
                <c:pt idx="19953">
                  <c:v>39252</c:v>
                </c:pt>
                <c:pt idx="19954">
                  <c:v>39253</c:v>
                </c:pt>
                <c:pt idx="19955">
                  <c:v>39254</c:v>
                </c:pt>
                <c:pt idx="19956">
                  <c:v>39255</c:v>
                </c:pt>
                <c:pt idx="19957">
                  <c:v>39258</c:v>
                </c:pt>
                <c:pt idx="19958">
                  <c:v>39259</c:v>
                </c:pt>
                <c:pt idx="19959">
                  <c:v>39260</c:v>
                </c:pt>
                <c:pt idx="19960">
                  <c:v>39261</c:v>
                </c:pt>
                <c:pt idx="19961">
                  <c:v>39262</c:v>
                </c:pt>
                <c:pt idx="19962">
                  <c:v>39265</c:v>
                </c:pt>
                <c:pt idx="19963">
                  <c:v>39266</c:v>
                </c:pt>
                <c:pt idx="19964">
                  <c:v>39268</c:v>
                </c:pt>
                <c:pt idx="19965">
                  <c:v>39269</c:v>
                </c:pt>
                <c:pt idx="19966">
                  <c:v>39272</c:v>
                </c:pt>
                <c:pt idx="19967">
                  <c:v>39273</c:v>
                </c:pt>
                <c:pt idx="19968">
                  <c:v>39274</c:v>
                </c:pt>
                <c:pt idx="19969">
                  <c:v>39275</c:v>
                </c:pt>
                <c:pt idx="19970">
                  <c:v>39276</c:v>
                </c:pt>
                <c:pt idx="19971">
                  <c:v>39279</c:v>
                </c:pt>
                <c:pt idx="19972">
                  <c:v>39280</c:v>
                </c:pt>
                <c:pt idx="19973">
                  <c:v>39281</c:v>
                </c:pt>
                <c:pt idx="19974">
                  <c:v>39282</c:v>
                </c:pt>
                <c:pt idx="19975">
                  <c:v>39283</c:v>
                </c:pt>
                <c:pt idx="19976">
                  <c:v>39286</c:v>
                </c:pt>
                <c:pt idx="19977">
                  <c:v>39287</c:v>
                </c:pt>
                <c:pt idx="19978">
                  <c:v>39288</c:v>
                </c:pt>
                <c:pt idx="19979">
                  <c:v>39289</c:v>
                </c:pt>
                <c:pt idx="19980">
                  <c:v>39290</c:v>
                </c:pt>
                <c:pt idx="19981">
                  <c:v>39293</c:v>
                </c:pt>
                <c:pt idx="19982">
                  <c:v>39294</c:v>
                </c:pt>
                <c:pt idx="19983">
                  <c:v>39295</c:v>
                </c:pt>
                <c:pt idx="19984">
                  <c:v>39296</c:v>
                </c:pt>
                <c:pt idx="19985">
                  <c:v>39297</c:v>
                </c:pt>
                <c:pt idx="19986">
                  <c:v>39300</c:v>
                </c:pt>
                <c:pt idx="19987">
                  <c:v>39301</c:v>
                </c:pt>
                <c:pt idx="19988">
                  <c:v>39302</c:v>
                </c:pt>
                <c:pt idx="19989">
                  <c:v>39303</c:v>
                </c:pt>
                <c:pt idx="19990">
                  <c:v>39304</c:v>
                </c:pt>
                <c:pt idx="19991">
                  <c:v>39307</c:v>
                </c:pt>
                <c:pt idx="19992">
                  <c:v>39308</c:v>
                </c:pt>
                <c:pt idx="19993">
                  <c:v>39309</c:v>
                </c:pt>
                <c:pt idx="19994">
                  <c:v>39310</c:v>
                </c:pt>
                <c:pt idx="19995">
                  <c:v>39311</c:v>
                </c:pt>
                <c:pt idx="19996">
                  <c:v>39314</c:v>
                </c:pt>
                <c:pt idx="19997">
                  <c:v>39315</c:v>
                </c:pt>
                <c:pt idx="19998">
                  <c:v>39316</c:v>
                </c:pt>
                <c:pt idx="19999">
                  <c:v>39317</c:v>
                </c:pt>
                <c:pt idx="20000">
                  <c:v>39318</c:v>
                </c:pt>
                <c:pt idx="20001">
                  <c:v>39321</c:v>
                </c:pt>
                <c:pt idx="20002">
                  <c:v>39322</c:v>
                </c:pt>
                <c:pt idx="20003">
                  <c:v>39323</c:v>
                </c:pt>
                <c:pt idx="20004">
                  <c:v>39324</c:v>
                </c:pt>
                <c:pt idx="20005">
                  <c:v>39325</c:v>
                </c:pt>
                <c:pt idx="20006">
                  <c:v>39329</c:v>
                </c:pt>
                <c:pt idx="20007">
                  <c:v>39330</c:v>
                </c:pt>
                <c:pt idx="20008">
                  <c:v>39331</c:v>
                </c:pt>
                <c:pt idx="20009">
                  <c:v>39332</c:v>
                </c:pt>
                <c:pt idx="20010">
                  <c:v>39335</c:v>
                </c:pt>
                <c:pt idx="20011">
                  <c:v>39336</c:v>
                </c:pt>
                <c:pt idx="20012">
                  <c:v>39337</c:v>
                </c:pt>
                <c:pt idx="20013">
                  <c:v>39338</c:v>
                </c:pt>
                <c:pt idx="20014">
                  <c:v>39339</c:v>
                </c:pt>
                <c:pt idx="20015">
                  <c:v>39342</c:v>
                </c:pt>
                <c:pt idx="20016">
                  <c:v>39343</c:v>
                </c:pt>
                <c:pt idx="20017">
                  <c:v>39344</c:v>
                </c:pt>
                <c:pt idx="20018">
                  <c:v>39345</c:v>
                </c:pt>
                <c:pt idx="20019">
                  <c:v>39346</c:v>
                </c:pt>
                <c:pt idx="20020">
                  <c:v>39349</c:v>
                </c:pt>
                <c:pt idx="20021">
                  <c:v>39350</c:v>
                </c:pt>
                <c:pt idx="20022">
                  <c:v>39351</c:v>
                </c:pt>
                <c:pt idx="20023">
                  <c:v>39352</c:v>
                </c:pt>
                <c:pt idx="20024">
                  <c:v>39353</c:v>
                </c:pt>
                <c:pt idx="20025">
                  <c:v>39356</c:v>
                </c:pt>
                <c:pt idx="20026">
                  <c:v>39357</c:v>
                </c:pt>
                <c:pt idx="20027">
                  <c:v>39358</c:v>
                </c:pt>
                <c:pt idx="20028">
                  <c:v>39359</c:v>
                </c:pt>
                <c:pt idx="20029">
                  <c:v>39360</c:v>
                </c:pt>
                <c:pt idx="20030">
                  <c:v>39363</c:v>
                </c:pt>
                <c:pt idx="20031">
                  <c:v>39364</c:v>
                </c:pt>
                <c:pt idx="20032">
                  <c:v>39365</c:v>
                </c:pt>
                <c:pt idx="20033">
                  <c:v>39366</c:v>
                </c:pt>
                <c:pt idx="20034">
                  <c:v>39367</c:v>
                </c:pt>
                <c:pt idx="20035">
                  <c:v>39370</c:v>
                </c:pt>
                <c:pt idx="20036">
                  <c:v>39371</c:v>
                </c:pt>
                <c:pt idx="20037">
                  <c:v>39372</c:v>
                </c:pt>
                <c:pt idx="20038">
                  <c:v>39373</c:v>
                </c:pt>
                <c:pt idx="20039">
                  <c:v>39374</c:v>
                </c:pt>
                <c:pt idx="20040">
                  <c:v>39377</c:v>
                </c:pt>
                <c:pt idx="20041">
                  <c:v>39378</c:v>
                </c:pt>
                <c:pt idx="20042">
                  <c:v>39379</c:v>
                </c:pt>
                <c:pt idx="20043">
                  <c:v>39380</c:v>
                </c:pt>
                <c:pt idx="20044">
                  <c:v>39381</c:v>
                </c:pt>
                <c:pt idx="20045">
                  <c:v>39384</c:v>
                </c:pt>
                <c:pt idx="20046">
                  <c:v>39385</c:v>
                </c:pt>
                <c:pt idx="20047">
                  <c:v>39386</c:v>
                </c:pt>
                <c:pt idx="20048">
                  <c:v>39387</c:v>
                </c:pt>
                <c:pt idx="20049">
                  <c:v>39388</c:v>
                </c:pt>
                <c:pt idx="20050">
                  <c:v>39391</c:v>
                </c:pt>
                <c:pt idx="20051">
                  <c:v>39392</c:v>
                </c:pt>
                <c:pt idx="20052">
                  <c:v>39393</c:v>
                </c:pt>
                <c:pt idx="20053">
                  <c:v>39394</c:v>
                </c:pt>
                <c:pt idx="20054">
                  <c:v>39395</c:v>
                </c:pt>
                <c:pt idx="20055">
                  <c:v>39398</c:v>
                </c:pt>
                <c:pt idx="20056">
                  <c:v>39399</c:v>
                </c:pt>
                <c:pt idx="20057">
                  <c:v>39400</c:v>
                </c:pt>
                <c:pt idx="20058">
                  <c:v>39401</c:v>
                </c:pt>
                <c:pt idx="20059">
                  <c:v>39402</c:v>
                </c:pt>
                <c:pt idx="20060">
                  <c:v>39405</c:v>
                </c:pt>
                <c:pt idx="20061">
                  <c:v>39406</c:v>
                </c:pt>
                <c:pt idx="20062">
                  <c:v>39407</c:v>
                </c:pt>
                <c:pt idx="20063">
                  <c:v>39409</c:v>
                </c:pt>
                <c:pt idx="20064">
                  <c:v>39412</c:v>
                </c:pt>
                <c:pt idx="20065">
                  <c:v>39413</c:v>
                </c:pt>
                <c:pt idx="20066">
                  <c:v>39414</c:v>
                </c:pt>
                <c:pt idx="20067">
                  <c:v>39415</c:v>
                </c:pt>
                <c:pt idx="20068">
                  <c:v>39416</c:v>
                </c:pt>
                <c:pt idx="20069">
                  <c:v>39419</c:v>
                </c:pt>
                <c:pt idx="20070">
                  <c:v>39420</c:v>
                </c:pt>
                <c:pt idx="20071">
                  <c:v>39421</c:v>
                </c:pt>
                <c:pt idx="20072">
                  <c:v>39422</c:v>
                </c:pt>
                <c:pt idx="20073">
                  <c:v>39423</c:v>
                </c:pt>
                <c:pt idx="20074">
                  <c:v>39426</c:v>
                </c:pt>
                <c:pt idx="20075">
                  <c:v>39427</c:v>
                </c:pt>
                <c:pt idx="20076">
                  <c:v>39428</c:v>
                </c:pt>
                <c:pt idx="20077">
                  <c:v>39429</c:v>
                </c:pt>
                <c:pt idx="20078">
                  <c:v>39430</c:v>
                </c:pt>
                <c:pt idx="20079">
                  <c:v>39433</c:v>
                </c:pt>
                <c:pt idx="20080">
                  <c:v>39434</c:v>
                </c:pt>
                <c:pt idx="20081">
                  <c:v>39435</c:v>
                </c:pt>
                <c:pt idx="20082">
                  <c:v>39436</c:v>
                </c:pt>
                <c:pt idx="20083">
                  <c:v>39437</c:v>
                </c:pt>
                <c:pt idx="20084">
                  <c:v>39440</c:v>
                </c:pt>
                <c:pt idx="20085">
                  <c:v>39442</c:v>
                </c:pt>
                <c:pt idx="20086">
                  <c:v>39443</c:v>
                </c:pt>
                <c:pt idx="20087">
                  <c:v>39444</c:v>
                </c:pt>
                <c:pt idx="20088">
                  <c:v>39447</c:v>
                </c:pt>
                <c:pt idx="20089">
                  <c:v>39449</c:v>
                </c:pt>
                <c:pt idx="20090">
                  <c:v>39450</c:v>
                </c:pt>
                <c:pt idx="20091">
                  <c:v>39451</c:v>
                </c:pt>
                <c:pt idx="20092">
                  <c:v>39454</c:v>
                </c:pt>
                <c:pt idx="20093">
                  <c:v>39455</c:v>
                </c:pt>
                <c:pt idx="20094">
                  <c:v>39456</c:v>
                </c:pt>
                <c:pt idx="20095">
                  <c:v>39457</c:v>
                </c:pt>
                <c:pt idx="20096">
                  <c:v>39458</c:v>
                </c:pt>
                <c:pt idx="20097">
                  <c:v>39461</c:v>
                </c:pt>
                <c:pt idx="20098">
                  <c:v>39462</c:v>
                </c:pt>
                <c:pt idx="20099">
                  <c:v>39463</c:v>
                </c:pt>
                <c:pt idx="20100">
                  <c:v>39464</c:v>
                </c:pt>
                <c:pt idx="20101">
                  <c:v>39465</c:v>
                </c:pt>
                <c:pt idx="20102">
                  <c:v>39469</c:v>
                </c:pt>
                <c:pt idx="20103">
                  <c:v>39470</c:v>
                </c:pt>
                <c:pt idx="20104">
                  <c:v>39471</c:v>
                </c:pt>
                <c:pt idx="20105">
                  <c:v>39472</c:v>
                </c:pt>
                <c:pt idx="20106">
                  <c:v>39475</c:v>
                </c:pt>
                <c:pt idx="20107">
                  <c:v>39476</c:v>
                </c:pt>
                <c:pt idx="20108">
                  <c:v>39477</c:v>
                </c:pt>
                <c:pt idx="20109">
                  <c:v>39478</c:v>
                </c:pt>
                <c:pt idx="20110">
                  <c:v>39479</c:v>
                </c:pt>
                <c:pt idx="20111">
                  <c:v>39482</c:v>
                </c:pt>
                <c:pt idx="20112">
                  <c:v>39483</c:v>
                </c:pt>
                <c:pt idx="20113">
                  <c:v>39484</c:v>
                </c:pt>
                <c:pt idx="20114">
                  <c:v>39485</c:v>
                </c:pt>
                <c:pt idx="20115">
                  <c:v>39486</c:v>
                </c:pt>
                <c:pt idx="20116">
                  <c:v>39489</c:v>
                </c:pt>
                <c:pt idx="20117">
                  <c:v>39490</c:v>
                </c:pt>
                <c:pt idx="20118">
                  <c:v>39491</c:v>
                </c:pt>
                <c:pt idx="20119">
                  <c:v>39492</c:v>
                </c:pt>
                <c:pt idx="20120">
                  <c:v>39493</c:v>
                </c:pt>
                <c:pt idx="20121">
                  <c:v>39497</c:v>
                </c:pt>
                <c:pt idx="20122">
                  <c:v>39498</c:v>
                </c:pt>
                <c:pt idx="20123">
                  <c:v>39499</c:v>
                </c:pt>
                <c:pt idx="20124">
                  <c:v>39500</c:v>
                </c:pt>
                <c:pt idx="20125">
                  <c:v>39503</c:v>
                </c:pt>
                <c:pt idx="20126">
                  <c:v>39504</c:v>
                </c:pt>
                <c:pt idx="20127">
                  <c:v>39505</c:v>
                </c:pt>
                <c:pt idx="20128">
                  <c:v>39506</c:v>
                </c:pt>
                <c:pt idx="20129">
                  <c:v>39507</c:v>
                </c:pt>
                <c:pt idx="20130">
                  <c:v>39510</c:v>
                </c:pt>
                <c:pt idx="20131">
                  <c:v>39511</c:v>
                </c:pt>
                <c:pt idx="20132">
                  <c:v>39512</c:v>
                </c:pt>
                <c:pt idx="20133">
                  <c:v>39513</c:v>
                </c:pt>
                <c:pt idx="20134">
                  <c:v>39514</c:v>
                </c:pt>
                <c:pt idx="20135">
                  <c:v>39517</c:v>
                </c:pt>
                <c:pt idx="20136">
                  <c:v>39518</c:v>
                </c:pt>
                <c:pt idx="20137">
                  <c:v>39519</c:v>
                </c:pt>
                <c:pt idx="20138">
                  <c:v>39520</c:v>
                </c:pt>
                <c:pt idx="20139">
                  <c:v>39521</c:v>
                </c:pt>
                <c:pt idx="20140">
                  <c:v>39524</c:v>
                </c:pt>
                <c:pt idx="20141">
                  <c:v>39525</c:v>
                </c:pt>
                <c:pt idx="20142">
                  <c:v>39526</c:v>
                </c:pt>
                <c:pt idx="20143">
                  <c:v>39527</c:v>
                </c:pt>
                <c:pt idx="20144">
                  <c:v>39531</c:v>
                </c:pt>
                <c:pt idx="20145">
                  <c:v>39532</c:v>
                </c:pt>
                <c:pt idx="20146">
                  <c:v>39533</c:v>
                </c:pt>
                <c:pt idx="20147">
                  <c:v>39534</c:v>
                </c:pt>
                <c:pt idx="20148">
                  <c:v>39535</c:v>
                </c:pt>
                <c:pt idx="20149">
                  <c:v>39538</c:v>
                </c:pt>
                <c:pt idx="20150">
                  <c:v>39539</c:v>
                </c:pt>
                <c:pt idx="20151">
                  <c:v>39540</c:v>
                </c:pt>
                <c:pt idx="20152">
                  <c:v>39541</c:v>
                </c:pt>
                <c:pt idx="20153">
                  <c:v>39542</c:v>
                </c:pt>
                <c:pt idx="20154">
                  <c:v>39545</c:v>
                </c:pt>
                <c:pt idx="20155">
                  <c:v>39546</c:v>
                </c:pt>
                <c:pt idx="20156">
                  <c:v>39547</c:v>
                </c:pt>
                <c:pt idx="20157">
                  <c:v>39548</c:v>
                </c:pt>
                <c:pt idx="20158">
                  <c:v>39549</c:v>
                </c:pt>
                <c:pt idx="20159">
                  <c:v>39552</c:v>
                </c:pt>
                <c:pt idx="20160">
                  <c:v>39553</c:v>
                </c:pt>
                <c:pt idx="20161">
                  <c:v>39554</c:v>
                </c:pt>
                <c:pt idx="20162">
                  <c:v>39555</c:v>
                </c:pt>
                <c:pt idx="20163">
                  <c:v>39556</c:v>
                </c:pt>
                <c:pt idx="20164">
                  <c:v>39559</c:v>
                </c:pt>
                <c:pt idx="20165">
                  <c:v>39560</c:v>
                </c:pt>
                <c:pt idx="20166">
                  <c:v>39561</c:v>
                </c:pt>
                <c:pt idx="20167">
                  <c:v>39562</c:v>
                </c:pt>
                <c:pt idx="20168">
                  <c:v>39563</c:v>
                </c:pt>
                <c:pt idx="20169">
                  <c:v>39566</c:v>
                </c:pt>
                <c:pt idx="20170">
                  <c:v>39567</c:v>
                </c:pt>
                <c:pt idx="20171">
                  <c:v>39568</c:v>
                </c:pt>
                <c:pt idx="20172">
                  <c:v>39569</c:v>
                </c:pt>
                <c:pt idx="20173">
                  <c:v>39570</c:v>
                </c:pt>
                <c:pt idx="20174">
                  <c:v>39573</c:v>
                </c:pt>
                <c:pt idx="20175">
                  <c:v>39574</c:v>
                </c:pt>
                <c:pt idx="20176">
                  <c:v>39575</c:v>
                </c:pt>
                <c:pt idx="20177">
                  <c:v>39576</c:v>
                </c:pt>
                <c:pt idx="20178">
                  <c:v>39577</c:v>
                </c:pt>
                <c:pt idx="20179">
                  <c:v>39580</c:v>
                </c:pt>
                <c:pt idx="20180">
                  <c:v>39581</c:v>
                </c:pt>
                <c:pt idx="20181">
                  <c:v>39582</c:v>
                </c:pt>
                <c:pt idx="20182">
                  <c:v>39583</c:v>
                </c:pt>
                <c:pt idx="20183">
                  <c:v>39584</c:v>
                </c:pt>
                <c:pt idx="20184">
                  <c:v>39587</c:v>
                </c:pt>
                <c:pt idx="20185">
                  <c:v>39588</c:v>
                </c:pt>
                <c:pt idx="20186">
                  <c:v>39589</c:v>
                </c:pt>
                <c:pt idx="20187">
                  <c:v>39590</c:v>
                </c:pt>
                <c:pt idx="20188">
                  <c:v>39591</c:v>
                </c:pt>
                <c:pt idx="20189">
                  <c:v>39595</c:v>
                </c:pt>
                <c:pt idx="20190">
                  <c:v>39596</c:v>
                </c:pt>
                <c:pt idx="20191">
                  <c:v>39597</c:v>
                </c:pt>
                <c:pt idx="20192">
                  <c:v>39598</c:v>
                </c:pt>
                <c:pt idx="20193">
                  <c:v>39601</c:v>
                </c:pt>
                <c:pt idx="20194">
                  <c:v>39602</c:v>
                </c:pt>
                <c:pt idx="20195">
                  <c:v>39603</c:v>
                </c:pt>
                <c:pt idx="20196">
                  <c:v>39604</c:v>
                </c:pt>
                <c:pt idx="20197">
                  <c:v>39605</c:v>
                </c:pt>
                <c:pt idx="20198">
                  <c:v>39608</c:v>
                </c:pt>
                <c:pt idx="20199">
                  <c:v>39609</c:v>
                </c:pt>
                <c:pt idx="20200">
                  <c:v>39610</c:v>
                </c:pt>
                <c:pt idx="20201">
                  <c:v>39611</c:v>
                </c:pt>
                <c:pt idx="20202">
                  <c:v>39612</c:v>
                </c:pt>
                <c:pt idx="20203">
                  <c:v>39615</c:v>
                </c:pt>
                <c:pt idx="20204">
                  <c:v>39616</c:v>
                </c:pt>
                <c:pt idx="20205">
                  <c:v>39617</c:v>
                </c:pt>
                <c:pt idx="20206">
                  <c:v>39618</c:v>
                </c:pt>
                <c:pt idx="20207">
                  <c:v>39619</c:v>
                </c:pt>
                <c:pt idx="20208">
                  <c:v>39622</c:v>
                </c:pt>
                <c:pt idx="20209">
                  <c:v>39623</c:v>
                </c:pt>
                <c:pt idx="20210">
                  <c:v>39624</c:v>
                </c:pt>
                <c:pt idx="20211">
                  <c:v>39625</c:v>
                </c:pt>
                <c:pt idx="20212">
                  <c:v>39626</c:v>
                </c:pt>
                <c:pt idx="20213">
                  <c:v>39629</c:v>
                </c:pt>
                <c:pt idx="20214">
                  <c:v>39630</c:v>
                </c:pt>
                <c:pt idx="20215">
                  <c:v>39631</c:v>
                </c:pt>
                <c:pt idx="20216">
                  <c:v>39632</c:v>
                </c:pt>
                <c:pt idx="20217">
                  <c:v>39636</c:v>
                </c:pt>
                <c:pt idx="20218">
                  <c:v>39637</c:v>
                </c:pt>
                <c:pt idx="20219">
                  <c:v>39638</c:v>
                </c:pt>
                <c:pt idx="20220">
                  <c:v>39639</c:v>
                </c:pt>
                <c:pt idx="20221">
                  <c:v>39640</c:v>
                </c:pt>
                <c:pt idx="20222">
                  <c:v>39643</c:v>
                </c:pt>
                <c:pt idx="20223">
                  <c:v>39644</c:v>
                </c:pt>
                <c:pt idx="20224">
                  <c:v>39645</c:v>
                </c:pt>
                <c:pt idx="20225">
                  <c:v>39646</c:v>
                </c:pt>
                <c:pt idx="20226">
                  <c:v>39647</c:v>
                </c:pt>
                <c:pt idx="20227">
                  <c:v>39650</c:v>
                </c:pt>
                <c:pt idx="20228">
                  <c:v>39651</c:v>
                </c:pt>
                <c:pt idx="20229">
                  <c:v>39652</c:v>
                </c:pt>
                <c:pt idx="20230">
                  <c:v>39653</c:v>
                </c:pt>
                <c:pt idx="20231">
                  <c:v>39654</c:v>
                </c:pt>
                <c:pt idx="20232">
                  <c:v>39657</c:v>
                </c:pt>
                <c:pt idx="20233">
                  <c:v>39658</c:v>
                </c:pt>
                <c:pt idx="20234">
                  <c:v>39659</c:v>
                </c:pt>
                <c:pt idx="20235">
                  <c:v>39660</c:v>
                </c:pt>
                <c:pt idx="20236">
                  <c:v>39661</c:v>
                </c:pt>
                <c:pt idx="20237">
                  <c:v>39664</c:v>
                </c:pt>
                <c:pt idx="20238">
                  <c:v>39665</c:v>
                </c:pt>
                <c:pt idx="20239">
                  <c:v>39666</c:v>
                </c:pt>
                <c:pt idx="20240">
                  <c:v>39667</c:v>
                </c:pt>
                <c:pt idx="20241">
                  <c:v>39668</c:v>
                </c:pt>
                <c:pt idx="20242">
                  <c:v>39671</c:v>
                </c:pt>
                <c:pt idx="20243">
                  <c:v>39672</c:v>
                </c:pt>
                <c:pt idx="20244">
                  <c:v>39673</c:v>
                </c:pt>
                <c:pt idx="20245">
                  <c:v>39674</c:v>
                </c:pt>
                <c:pt idx="20246">
                  <c:v>39675</c:v>
                </c:pt>
                <c:pt idx="20247">
                  <c:v>39678</c:v>
                </c:pt>
                <c:pt idx="20248">
                  <c:v>39679</c:v>
                </c:pt>
                <c:pt idx="20249">
                  <c:v>39680</c:v>
                </c:pt>
                <c:pt idx="20250">
                  <c:v>39681</c:v>
                </c:pt>
                <c:pt idx="20251">
                  <c:v>39682</c:v>
                </c:pt>
                <c:pt idx="20252">
                  <c:v>39685</c:v>
                </c:pt>
                <c:pt idx="20253">
                  <c:v>39686</c:v>
                </c:pt>
                <c:pt idx="20254">
                  <c:v>39687</c:v>
                </c:pt>
                <c:pt idx="20255">
                  <c:v>39688</c:v>
                </c:pt>
                <c:pt idx="20256">
                  <c:v>39689</c:v>
                </c:pt>
                <c:pt idx="20257">
                  <c:v>39693</c:v>
                </c:pt>
                <c:pt idx="20258">
                  <c:v>39694</c:v>
                </c:pt>
                <c:pt idx="20259">
                  <c:v>39695</c:v>
                </c:pt>
                <c:pt idx="20260">
                  <c:v>39696</c:v>
                </c:pt>
                <c:pt idx="20261">
                  <c:v>39699</c:v>
                </c:pt>
                <c:pt idx="20262">
                  <c:v>39700</c:v>
                </c:pt>
                <c:pt idx="20263">
                  <c:v>39701</c:v>
                </c:pt>
                <c:pt idx="20264">
                  <c:v>39702</c:v>
                </c:pt>
                <c:pt idx="20265">
                  <c:v>39703</c:v>
                </c:pt>
                <c:pt idx="20266">
                  <c:v>39706</c:v>
                </c:pt>
                <c:pt idx="20267">
                  <c:v>39707</c:v>
                </c:pt>
                <c:pt idx="20268">
                  <c:v>39708</c:v>
                </c:pt>
                <c:pt idx="20269">
                  <c:v>39709</c:v>
                </c:pt>
                <c:pt idx="20270">
                  <c:v>39710</c:v>
                </c:pt>
                <c:pt idx="20271">
                  <c:v>39713</c:v>
                </c:pt>
                <c:pt idx="20272">
                  <c:v>39714</c:v>
                </c:pt>
                <c:pt idx="20273">
                  <c:v>39715</c:v>
                </c:pt>
                <c:pt idx="20274">
                  <c:v>39716</c:v>
                </c:pt>
                <c:pt idx="20275">
                  <c:v>39717</c:v>
                </c:pt>
                <c:pt idx="20276">
                  <c:v>39720</c:v>
                </c:pt>
                <c:pt idx="20277">
                  <c:v>39721</c:v>
                </c:pt>
                <c:pt idx="20278">
                  <c:v>39722</c:v>
                </c:pt>
                <c:pt idx="20279">
                  <c:v>39723</c:v>
                </c:pt>
                <c:pt idx="20280">
                  <c:v>39724</c:v>
                </c:pt>
                <c:pt idx="20281">
                  <c:v>39727</c:v>
                </c:pt>
                <c:pt idx="20282">
                  <c:v>39728</c:v>
                </c:pt>
                <c:pt idx="20283">
                  <c:v>39729</c:v>
                </c:pt>
                <c:pt idx="20284">
                  <c:v>39730</c:v>
                </c:pt>
                <c:pt idx="20285">
                  <c:v>39731</c:v>
                </c:pt>
                <c:pt idx="20286">
                  <c:v>39734</c:v>
                </c:pt>
                <c:pt idx="20287">
                  <c:v>39735</c:v>
                </c:pt>
                <c:pt idx="20288">
                  <c:v>39736</c:v>
                </c:pt>
                <c:pt idx="20289">
                  <c:v>39737</c:v>
                </c:pt>
                <c:pt idx="20290">
                  <c:v>39738</c:v>
                </c:pt>
                <c:pt idx="20291">
                  <c:v>39741</c:v>
                </c:pt>
                <c:pt idx="20292">
                  <c:v>39742</c:v>
                </c:pt>
                <c:pt idx="20293">
                  <c:v>39743</c:v>
                </c:pt>
                <c:pt idx="20294">
                  <c:v>39744</c:v>
                </c:pt>
                <c:pt idx="20295">
                  <c:v>39745</c:v>
                </c:pt>
                <c:pt idx="20296">
                  <c:v>39748</c:v>
                </c:pt>
                <c:pt idx="20297">
                  <c:v>39749</c:v>
                </c:pt>
                <c:pt idx="20298">
                  <c:v>39750</c:v>
                </c:pt>
                <c:pt idx="20299">
                  <c:v>39751</c:v>
                </c:pt>
                <c:pt idx="20300">
                  <c:v>39752</c:v>
                </c:pt>
                <c:pt idx="20301">
                  <c:v>39755</c:v>
                </c:pt>
                <c:pt idx="20302">
                  <c:v>39756</c:v>
                </c:pt>
                <c:pt idx="20303">
                  <c:v>39757</c:v>
                </c:pt>
                <c:pt idx="20304">
                  <c:v>39758</c:v>
                </c:pt>
                <c:pt idx="20305">
                  <c:v>39759</c:v>
                </c:pt>
                <c:pt idx="20306">
                  <c:v>39762</c:v>
                </c:pt>
                <c:pt idx="20307">
                  <c:v>39763</c:v>
                </c:pt>
                <c:pt idx="20308">
                  <c:v>39764</c:v>
                </c:pt>
                <c:pt idx="20309">
                  <c:v>39765</c:v>
                </c:pt>
                <c:pt idx="20310">
                  <c:v>39766</c:v>
                </c:pt>
                <c:pt idx="20311">
                  <c:v>39769</c:v>
                </c:pt>
                <c:pt idx="20312">
                  <c:v>39770</c:v>
                </c:pt>
                <c:pt idx="20313">
                  <c:v>39771</c:v>
                </c:pt>
                <c:pt idx="20314">
                  <c:v>39772</c:v>
                </c:pt>
                <c:pt idx="20315">
                  <c:v>39773</c:v>
                </c:pt>
                <c:pt idx="20316">
                  <c:v>39776</c:v>
                </c:pt>
                <c:pt idx="20317">
                  <c:v>39777</c:v>
                </c:pt>
                <c:pt idx="20318">
                  <c:v>39778</c:v>
                </c:pt>
                <c:pt idx="20319">
                  <c:v>39780</c:v>
                </c:pt>
                <c:pt idx="20320">
                  <c:v>39783</c:v>
                </c:pt>
                <c:pt idx="20321">
                  <c:v>39784</c:v>
                </c:pt>
                <c:pt idx="20322">
                  <c:v>39785</c:v>
                </c:pt>
                <c:pt idx="20323">
                  <c:v>39786</c:v>
                </c:pt>
                <c:pt idx="20324">
                  <c:v>39787</c:v>
                </c:pt>
                <c:pt idx="20325">
                  <c:v>39790</c:v>
                </c:pt>
                <c:pt idx="20326">
                  <c:v>39791</c:v>
                </c:pt>
                <c:pt idx="20327">
                  <c:v>39792</c:v>
                </c:pt>
                <c:pt idx="20328">
                  <c:v>39793</c:v>
                </c:pt>
                <c:pt idx="20329">
                  <c:v>39794</c:v>
                </c:pt>
                <c:pt idx="20330">
                  <c:v>39797</c:v>
                </c:pt>
                <c:pt idx="20331">
                  <c:v>39798</c:v>
                </c:pt>
                <c:pt idx="20332">
                  <c:v>39799</c:v>
                </c:pt>
                <c:pt idx="20333">
                  <c:v>39800</c:v>
                </c:pt>
                <c:pt idx="20334">
                  <c:v>39801</c:v>
                </c:pt>
                <c:pt idx="20335">
                  <c:v>39804</c:v>
                </c:pt>
                <c:pt idx="20336">
                  <c:v>39805</c:v>
                </c:pt>
                <c:pt idx="20337">
                  <c:v>39806</c:v>
                </c:pt>
                <c:pt idx="20338">
                  <c:v>39808</c:v>
                </c:pt>
                <c:pt idx="20339">
                  <c:v>39811</c:v>
                </c:pt>
                <c:pt idx="20340">
                  <c:v>39812</c:v>
                </c:pt>
                <c:pt idx="20341">
                  <c:v>39813</c:v>
                </c:pt>
                <c:pt idx="20342">
                  <c:v>39815</c:v>
                </c:pt>
                <c:pt idx="20343">
                  <c:v>39818</c:v>
                </c:pt>
                <c:pt idx="20344">
                  <c:v>39819</c:v>
                </c:pt>
                <c:pt idx="20345">
                  <c:v>39820</c:v>
                </c:pt>
                <c:pt idx="20346">
                  <c:v>39821</c:v>
                </c:pt>
                <c:pt idx="20347">
                  <c:v>39822</c:v>
                </c:pt>
                <c:pt idx="20348">
                  <c:v>39825</c:v>
                </c:pt>
                <c:pt idx="20349">
                  <c:v>39826</c:v>
                </c:pt>
                <c:pt idx="20350">
                  <c:v>39827</c:v>
                </c:pt>
                <c:pt idx="20351">
                  <c:v>39828</c:v>
                </c:pt>
                <c:pt idx="20352">
                  <c:v>39829</c:v>
                </c:pt>
                <c:pt idx="20353">
                  <c:v>39833</c:v>
                </c:pt>
                <c:pt idx="20354">
                  <c:v>39834</c:v>
                </c:pt>
                <c:pt idx="20355">
                  <c:v>39835</c:v>
                </c:pt>
                <c:pt idx="20356">
                  <c:v>39836</c:v>
                </c:pt>
                <c:pt idx="20357">
                  <c:v>39839</c:v>
                </c:pt>
                <c:pt idx="20358">
                  <c:v>39840</c:v>
                </c:pt>
                <c:pt idx="20359">
                  <c:v>39841</c:v>
                </c:pt>
                <c:pt idx="20360">
                  <c:v>39842</c:v>
                </c:pt>
                <c:pt idx="20361">
                  <c:v>39843</c:v>
                </c:pt>
                <c:pt idx="20362">
                  <c:v>39846</c:v>
                </c:pt>
                <c:pt idx="20363">
                  <c:v>39847</c:v>
                </c:pt>
                <c:pt idx="20364">
                  <c:v>39848</c:v>
                </c:pt>
                <c:pt idx="20365">
                  <c:v>39849</c:v>
                </c:pt>
                <c:pt idx="20366">
                  <c:v>39850</c:v>
                </c:pt>
                <c:pt idx="20367">
                  <c:v>39853</c:v>
                </c:pt>
                <c:pt idx="20368">
                  <c:v>39854</c:v>
                </c:pt>
                <c:pt idx="20369">
                  <c:v>39855</c:v>
                </c:pt>
                <c:pt idx="20370">
                  <c:v>39856</c:v>
                </c:pt>
                <c:pt idx="20371">
                  <c:v>39857</c:v>
                </c:pt>
                <c:pt idx="20372">
                  <c:v>39861</c:v>
                </c:pt>
                <c:pt idx="20373">
                  <c:v>39862</c:v>
                </c:pt>
                <c:pt idx="20374">
                  <c:v>39863</c:v>
                </c:pt>
                <c:pt idx="20375">
                  <c:v>39864</c:v>
                </c:pt>
                <c:pt idx="20376">
                  <c:v>39867</c:v>
                </c:pt>
                <c:pt idx="20377">
                  <c:v>39868</c:v>
                </c:pt>
                <c:pt idx="20378">
                  <c:v>39869</c:v>
                </c:pt>
                <c:pt idx="20379">
                  <c:v>39870</c:v>
                </c:pt>
                <c:pt idx="20380">
                  <c:v>39871</c:v>
                </c:pt>
                <c:pt idx="20381">
                  <c:v>39874</c:v>
                </c:pt>
                <c:pt idx="20382">
                  <c:v>39875</c:v>
                </c:pt>
                <c:pt idx="20383">
                  <c:v>39876</c:v>
                </c:pt>
                <c:pt idx="20384">
                  <c:v>39877</c:v>
                </c:pt>
                <c:pt idx="20385">
                  <c:v>39878</c:v>
                </c:pt>
                <c:pt idx="20386">
                  <c:v>39881</c:v>
                </c:pt>
                <c:pt idx="20387">
                  <c:v>39882</c:v>
                </c:pt>
                <c:pt idx="20388">
                  <c:v>39883</c:v>
                </c:pt>
                <c:pt idx="20389">
                  <c:v>39884</c:v>
                </c:pt>
                <c:pt idx="20390">
                  <c:v>39885</c:v>
                </c:pt>
                <c:pt idx="20391">
                  <c:v>39888</c:v>
                </c:pt>
                <c:pt idx="20392">
                  <c:v>39889</c:v>
                </c:pt>
                <c:pt idx="20393">
                  <c:v>39890</c:v>
                </c:pt>
                <c:pt idx="20394">
                  <c:v>39891</c:v>
                </c:pt>
                <c:pt idx="20395">
                  <c:v>39892</c:v>
                </c:pt>
                <c:pt idx="20396">
                  <c:v>39895</c:v>
                </c:pt>
                <c:pt idx="20397">
                  <c:v>39896</c:v>
                </c:pt>
                <c:pt idx="20398">
                  <c:v>39897</c:v>
                </c:pt>
                <c:pt idx="20399">
                  <c:v>39898</c:v>
                </c:pt>
                <c:pt idx="20400">
                  <c:v>39899</c:v>
                </c:pt>
                <c:pt idx="20401">
                  <c:v>39902</c:v>
                </c:pt>
                <c:pt idx="20402">
                  <c:v>39903</c:v>
                </c:pt>
                <c:pt idx="20403">
                  <c:v>39904</c:v>
                </c:pt>
                <c:pt idx="20404">
                  <c:v>39905</c:v>
                </c:pt>
                <c:pt idx="20405">
                  <c:v>39906</c:v>
                </c:pt>
                <c:pt idx="20406">
                  <c:v>39909</c:v>
                </c:pt>
                <c:pt idx="20407">
                  <c:v>39910</c:v>
                </c:pt>
                <c:pt idx="20408">
                  <c:v>39911</c:v>
                </c:pt>
                <c:pt idx="20409">
                  <c:v>39912</c:v>
                </c:pt>
                <c:pt idx="20410">
                  <c:v>39916</c:v>
                </c:pt>
                <c:pt idx="20411">
                  <c:v>39917</c:v>
                </c:pt>
                <c:pt idx="20412">
                  <c:v>39918</c:v>
                </c:pt>
                <c:pt idx="20413">
                  <c:v>39919</c:v>
                </c:pt>
                <c:pt idx="20414">
                  <c:v>39920</c:v>
                </c:pt>
                <c:pt idx="20415">
                  <c:v>39923</c:v>
                </c:pt>
                <c:pt idx="20416">
                  <c:v>39924</c:v>
                </c:pt>
                <c:pt idx="20417">
                  <c:v>39925</c:v>
                </c:pt>
                <c:pt idx="20418">
                  <c:v>39926</c:v>
                </c:pt>
                <c:pt idx="20419">
                  <c:v>39927</c:v>
                </c:pt>
                <c:pt idx="20420">
                  <c:v>39930</c:v>
                </c:pt>
                <c:pt idx="20421">
                  <c:v>39931</c:v>
                </c:pt>
                <c:pt idx="20422">
                  <c:v>39932</c:v>
                </c:pt>
                <c:pt idx="20423">
                  <c:v>39933</c:v>
                </c:pt>
                <c:pt idx="20424">
                  <c:v>39934</c:v>
                </c:pt>
                <c:pt idx="20425">
                  <c:v>39937</c:v>
                </c:pt>
                <c:pt idx="20426">
                  <c:v>39938</c:v>
                </c:pt>
                <c:pt idx="20427">
                  <c:v>39939</c:v>
                </c:pt>
                <c:pt idx="20428">
                  <c:v>39940</c:v>
                </c:pt>
                <c:pt idx="20429">
                  <c:v>39941</c:v>
                </c:pt>
                <c:pt idx="20430">
                  <c:v>39944</c:v>
                </c:pt>
                <c:pt idx="20431">
                  <c:v>39945</c:v>
                </c:pt>
                <c:pt idx="20432">
                  <c:v>39946</c:v>
                </c:pt>
                <c:pt idx="20433">
                  <c:v>39947</c:v>
                </c:pt>
                <c:pt idx="20434">
                  <c:v>39948</c:v>
                </c:pt>
                <c:pt idx="20435">
                  <c:v>39951</c:v>
                </c:pt>
                <c:pt idx="20436">
                  <c:v>39952</c:v>
                </c:pt>
                <c:pt idx="20437">
                  <c:v>39953</c:v>
                </c:pt>
                <c:pt idx="20438">
                  <c:v>39954</c:v>
                </c:pt>
                <c:pt idx="20439">
                  <c:v>39955</c:v>
                </c:pt>
                <c:pt idx="20440">
                  <c:v>39959</c:v>
                </c:pt>
                <c:pt idx="20441">
                  <c:v>39960</c:v>
                </c:pt>
                <c:pt idx="20442">
                  <c:v>39961</c:v>
                </c:pt>
                <c:pt idx="20443">
                  <c:v>39962</c:v>
                </c:pt>
                <c:pt idx="20444">
                  <c:v>39965</c:v>
                </c:pt>
                <c:pt idx="20445">
                  <c:v>39966</c:v>
                </c:pt>
                <c:pt idx="20446">
                  <c:v>39967</c:v>
                </c:pt>
                <c:pt idx="20447">
                  <c:v>39968</c:v>
                </c:pt>
                <c:pt idx="20448">
                  <c:v>39969</c:v>
                </c:pt>
                <c:pt idx="20449">
                  <c:v>39972</c:v>
                </c:pt>
                <c:pt idx="20450">
                  <c:v>39973</c:v>
                </c:pt>
                <c:pt idx="20451">
                  <c:v>39974</c:v>
                </c:pt>
                <c:pt idx="20452">
                  <c:v>39975</c:v>
                </c:pt>
                <c:pt idx="20453">
                  <c:v>39976</c:v>
                </c:pt>
                <c:pt idx="20454">
                  <c:v>39979</c:v>
                </c:pt>
                <c:pt idx="20455">
                  <c:v>39980</c:v>
                </c:pt>
                <c:pt idx="20456">
                  <c:v>39981</c:v>
                </c:pt>
                <c:pt idx="20457">
                  <c:v>39982</c:v>
                </c:pt>
                <c:pt idx="20458">
                  <c:v>39983</c:v>
                </c:pt>
                <c:pt idx="20459">
                  <c:v>39986</c:v>
                </c:pt>
                <c:pt idx="20460">
                  <c:v>39987</c:v>
                </c:pt>
                <c:pt idx="20461">
                  <c:v>39988</c:v>
                </c:pt>
                <c:pt idx="20462">
                  <c:v>39989</c:v>
                </c:pt>
                <c:pt idx="20463">
                  <c:v>39990</c:v>
                </c:pt>
                <c:pt idx="20464">
                  <c:v>39993</c:v>
                </c:pt>
                <c:pt idx="20465">
                  <c:v>39994</c:v>
                </c:pt>
                <c:pt idx="20466">
                  <c:v>39995</c:v>
                </c:pt>
                <c:pt idx="20467">
                  <c:v>39996</c:v>
                </c:pt>
                <c:pt idx="20468">
                  <c:v>40000</c:v>
                </c:pt>
                <c:pt idx="20469">
                  <c:v>40001</c:v>
                </c:pt>
                <c:pt idx="20470">
                  <c:v>40002</c:v>
                </c:pt>
                <c:pt idx="20471">
                  <c:v>40003</c:v>
                </c:pt>
                <c:pt idx="20472">
                  <c:v>40004</c:v>
                </c:pt>
                <c:pt idx="20473">
                  <c:v>40007</c:v>
                </c:pt>
                <c:pt idx="20474">
                  <c:v>40008</c:v>
                </c:pt>
                <c:pt idx="20475">
                  <c:v>40009</c:v>
                </c:pt>
                <c:pt idx="20476">
                  <c:v>40010</c:v>
                </c:pt>
                <c:pt idx="20477">
                  <c:v>40011</c:v>
                </c:pt>
                <c:pt idx="20478">
                  <c:v>40014</c:v>
                </c:pt>
                <c:pt idx="20479">
                  <c:v>40015</c:v>
                </c:pt>
                <c:pt idx="20480">
                  <c:v>40016</c:v>
                </c:pt>
                <c:pt idx="20481">
                  <c:v>40017</c:v>
                </c:pt>
                <c:pt idx="20482">
                  <c:v>40018</c:v>
                </c:pt>
                <c:pt idx="20483">
                  <c:v>40021</c:v>
                </c:pt>
                <c:pt idx="20484">
                  <c:v>40022</c:v>
                </c:pt>
                <c:pt idx="20485">
                  <c:v>40023</c:v>
                </c:pt>
                <c:pt idx="20486">
                  <c:v>40024</c:v>
                </c:pt>
                <c:pt idx="20487">
                  <c:v>40025</c:v>
                </c:pt>
                <c:pt idx="20488">
                  <c:v>40028</c:v>
                </c:pt>
                <c:pt idx="20489">
                  <c:v>40029</c:v>
                </c:pt>
                <c:pt idx="20490">
                  <c:v>40030</c:v>
                </c:pt>
                <c:pt idx="20491">
                  <c:v>40031</c:v>
                </c:pt>
                <c:pt idx="20492">
                  <c:v>40032</c:v>
                </c:pt>
                <c:pt idx="20493">
                  <c:v>40035</c:v>
                </c:pt>
                <c:pt idx="20494">
                  <c:v>40036</c:v>
                </c:pt>
                <c:pt idx="20495">
                  <c:v>40037</c:v>
                </c:pt>
                <c:pt idx="20496">
                  <c:v>40038</c:v>
                </c:pt>
                <c:pt idx="20497">
                  <c:v>40039</c:v>
                </c:pt>
                <c:pt idx="20498">
                  <c:v>40042</c:v>
                </c:pt>
                <c:pt idx="20499">
                  <c:v>40043</c:v>
                </c:pt>
                <c:pt idx="20500">
                  <c:v>40044</c:v>
                </c:pt>
                <c:pt idx="20501">
                  <c:v>40045</c:v>
                </c:pt>
                <c:pt idx="20502">
                  <c:v>40046</c:v>
                </c:pt>
                <c:pt idx="20503">
                  <c:v>40049</c:v>
                </c:pt>
                <c:pt idx="20504">
                  <c:v>40050</c:v>
                </c:pt>
                <c:pt idx="20505">
                  <c:v>40051</c:v>
                </c:pt>
                <c:pt idx="20506">
                  <c:v>40052</c:v>
                </c:pt>
                <c:pt idx="20507">
                  <c:v>40053</c:v>
                </c:pt>
                <c:pt idx="20508">
                  <c:v>40056</c:v>
                </c:pt>
                <c:pt idx="20509">
                  <c:v>40057</c:v>
                </c:pt>
                <c:pt idx="20510">
                  <c:v>40058</c:v>
                </c:pt>
                <c:pt idx="20511">
                  <c:v>40059</c:v>
                </c:pt>
                <c:pt idx="20512">
                  <c:v>40060</c:v>
                </c:pt>
                <c:pt idx="20513">
                  <c:v>40064</c:v>
                </c:pt>
                <c:pt idx="20514">
                  <c:v>40065</c:v>
                </c:pt>
                <c:pt idx="20515">
                  <c:v>40066</c:v>
                </c:pt>
                <c:pt idx="20516">
                  <c:v>40067</c:v>
                </c:pt>
                <c:pt idx="20517">
                  <c:v>40070</c:v>
                </c:pt>
                <c:pt idx="20518">
                  <c:v>40071</c:v>
                </c:pt>
                <c:pt idx="20519">
                  <c:v>40072</c:v>
                </c:pt>
                <c:pt idx="20520">
                  <c:v>40073</c:v>
                </c:pt>
                <c:pt idx="20521">
                  <c:v>40074</c:v>
                </c:pt>
                <c:pt idx="20522">
                  <c:v>40077</c:v>
                </c:pt>
                <c:pt idx="20523">
                  <c:v>40078</c:v>
                </c:pt>
                <c:pt idx="20524">
                  <c:v>40079</c:v>
                </c:pt>
                <c:pt idx="20525">
                  <c:v>40080</c:v>
                </c:pt>
                <c:pt idx="20526">
                  <c:v>40081</c:v>
                </c:pt>
                <c:pt idx="20527">
                  <c:v>40084</c:v>
                </c:pt>
                <c:pt idx="20528">
                  <c:v>40085</c:v>
                </c:pt>
                <c:pt idx="20529">
                  <c:v>40086</c:v>
                </c:pt>
                <c:pt idx="20530">
                  <c:v>40087</c:v>
                </c:pt>
                <c:pt idx="20531">
                  <c:v>40088</c:v>
                </c:pt>
                <c:pt idx="20532">
                  <c:v>40091</c:v>
                </c:pt>
                <c:pt idx="20533">
                  <c:v>40092</c:v>
                </c:pt>
                <c:pt idx="20534">
                  <c:v>40093</c:v>
                </c:pt>
                <c:pt idx="20535">
                  <c:v>40094</c:v>
                </c:pt>
                <c:pt idx="20536">
                  <c:v>40095</c:v>
                </c:pt>
                <c:pt idx="20537">
                  <c:v>40098</c:v>
                </c:pt>
                <c:pt idx="20538">
                  <c:v>40099</c:v>
                </c:pt>
                <c:pt idx="20539">
                  <c:v>40100</c:v>
                </c:pt>
                <c:pt idx="20540">
                  <c:v>40101</c:v>
                </c:pt>
                <c:pt idx="20541">
                  <c:v>40102</c:v>
                </c:pt>
                <c:pt idx="20542">
                  <c:v>40105</c:v>
                </c:pt>
                <c:pt idx="20543">
                  <c:v>40106</c:v>
                </c:pt>
                <c:pt idx="20544">
                  <c:v>40107</c:v>
                </c:pt>
                <c:pt idx="20545">
                  <c:v>40108</c:v>
                </c:pt>
                <c:pt idx="20546">
                  <c:v>40109</c:v>
                </c:pt>
                <c:pt idx="20547">
                  <c:v>40112</c:v>
                </c:pt>
                <c:pt idx="20548">
                  <c:v>40113</c:v>
                </c:pt>
                <c:pt idx="20549">
                  <c:v>40114</c:v>
                </c:pt>
                <c:pt idx="20550">
                  <c:v>40115</c:v>
                </c:pt>
                <c:pt idx="20551">
                  <c:v>40116</c:v>
                </c:pt>
                <c:pt idx="20552">
                  <c:v>40119</c:v>
                </c:pt>
                <c:pt idx="20553">
                  <c:v>40120</c:v>
                </c:pt>
                <c:pt idx="20554">
                  <c:v>40121</c:v>
                </c:pt>
                <c:pt idx="20555">
                  <c:v>40122</c:v>
                </c:pt>
                <c:pt idx="20556">
                  <c:v>40123</c:v>
                </c:pt>
                <c:pt idx="20557">
                  <c:v>40126</c:v>
                </c:pt>
                <c:pt idx="20558">
                  <c:v>40127</c:v>
                </c:pt>
                <c:pt idx="20559">
                  <c:v>40128</c:v>
                </c:pt>
                <c:pt idx="20560">
                  <c:v>40129</c:v>
                </c:pt>
                <c:pt idx="20561">
                  <c:v>40130</c:v>
                </c:pt>
                <c:pt idx="20562">
                  <c:v>40133</c:v>
                </c:pt>
                <c:pt idx="20563">
                  <c:v>40134</c:v>
                </c:pt>
                <c:pt idx="20564">
                  <c:v>40135</c:v>
                </c:pt>
                <c:pt idx="20565">
                  <c:v>40136</c:v>
                </c:pt>
                <c:pt idx="20566">
                  <c:v>40137</c:v>
                </c:pt>
                <c:pt idx="20567">
                  <c:v>40140</c:v>
                </c:pt>
                <c:pt idx="20568">
                  <c:v>40141</c:v>
                </c:pt>
                <c:pt idx="20569">
                  <c:v>40142</c:v>
                </c:pt>
                <c:pt idx="20570">
                  <c:v>40144</c:v>
                </c:pt>
                <c:pt idx="20571">
                  <c:v>40147</c:v>
                </c:pt>
                <c:pt idx="20572">
                  <c:v>40148</c:v>
                </c:pt>
                <c:pt idx="20573">
                  <c:v>40149</c:v>
                </c:pt>
                <c:pt idx="20574">
                  <c:v>40150</c:v>
                </c:pt>
                <c:pt idx="20575">
                  <c:v>40151</c:v>
                </c:pt>
                <c:pt idx="20576">
                  <c:v>40154</c:v>
                </c:pt>
                <c:pt idx="20577">
                  <c:v>40155</c:v>
                </c:pt>
                <c:pt idx="20578">
                  <c:v>40156</c:v>
                </c:pt>
                <c:pt idx="20579">
                  <c:v>40157</c:v>
                </c:pt>
                <c:pt idx="20580">
                  <c:v>40158</c:v>
                </c:pt>
                <c:pt idx="20581">
                  <c:v>40161</c:v>
                </c:pt>
                <c:pt idx="20582">
                  <c:v>40162</c:v>
                </c:pt>
                <c:pt idx="20583">
                  <c:v>40163</c:v>
                </c:pt>
                <c:pt idx="20584">
                  <c:v>40164</c:v>
                </c:pt>
                <c:pt idx="20585">
                  <c:v>40165</c:v>
                </c:pt>
                <c:pt idx="20586">
                  <c:v>40168</c:v>
                </c:pt>
                <c:pt idx="20587">
                  <c:v>40169</c:v>
                </c:pt>
                <c:pt idx="20588">
                  <c:v>40170</c:v>
                </c:pt>
                <c:pt idx="20589">
                  <c:v>40171</c:v>
                </c:pt>
                <c:pt idx="20590">
                  <c:v>40175</c:v>
                </c:pt>
                <c:pt idx="20591">
                  <c:v>40176</c:v>
                </c:pt>
                <c:pt idx="20592">
                  <c:v>40177</c:v>
                </c:pt>
                <c:pt idx="20593">
                  <c:v>40178</c:v>
                </c:pt>
                <c:pt idx="20594">
                  <c:v>40182</c:v>
                </c:pt>
                <c:pt idx="20595">
                  <c:v>40183</c:v>
                </c:pt>
                <c:pt idx="20596">
                  <c:v>40184</c:v>
                </c:pt>
                <c:pt idx="20597">
                  <c:v>40185</c:v>
                </c:pt>
                <c:pt idx="20598">
                  <c:v>40186</c:v>
                </c:pt>
                <c:pt idx="20599">
                  <c:v>40189</c:v>
                </c:pt>
                <c:pt idx="20600">
                  <c:v>40190</c:v>
                </c:pt>
                <c:pt idx="20601">
                  <c:v>40191</c:v>
                </c:pt>
                <c:pt idx="20602">
                  <c:v>40192</c:v>
                </c:pt>
                <c:pt idx="20603">
                  <c:v>40193</c:v>
                </c:pt>
                <c:pt idx="20604">
                  <c:v>40197</c:v>
                </c:pt>
                <c:pt idx="20605">
                  <c:v>40198</c:v>
                </c:pt>
                <c:pt idx="20606">
                  <c:v>40199</c:v>
                </c:pt>
                <c:pt idx="20607">
                  <c:v>40200</c:v>
                </c:pt>
                <c:pt idx="20608">
                  <c:v>40203</c:v>
                </c:pt>
                <c:pt idx="20609">
                  <c:v>40204</c:v>
                </c:pt>
                <c:pt idx="20610">
                  <c:v>40205</c:v>
                </c:pt>
                <c:pt idx="20611">
                  <c:v>40206</c:v>
                </c:pt>
                <c:pt idx="20612">
                  <c:v>40207</c:v>
                </c:pt>
                <c:pt idx="20613">
                  <c:v>40210</c:v>
                </c:pt>
                <c:pt idx="20614">
                  <c:v>40211</c:v>
                </c:pt>
                <c:pt idx="20615">
                  <c:v>40212</c:v>
                </c:pt>
                <c:pt idx="20616">
                  <c:v>40213</c:v>
                </c:pt>
                <c:pt idx="20617">
                  <c:v>40214</c:v>
                </c:pt>
                <c:pt idx="20618">
                  <c:v>40217</c:v>
                </c:pt>
                <c:pt idx="20619">
                  <c:v>40218</c:v>
                </c:pt>
                <c:pt idx="20620">
                  <c:v>40219</c:v>
                </c:pt>
                <c:pt idx="20621">
                  <c:v>40220</c:v>
                </c:pt>
                <c:pt idx="20622">
                  <c:v>40221</c:v>
                </c:pt>
                <c:pt idx="20623">
                  <c:v>40225</c:v>
                </c:pt>
                <c:pt idx="20624">
                  <c:v>40226</c:v>
                </c:pt>
                <c:pt idx="20625">
                  <c:v>40227</c:v>
                </c:pt>
                <c:pt idx="20626">
                  <c:v>40228</c:v>
                </c:pt>
                <c:pt idx="20627">
                  <c:v>40231</c:v>
                </c:pt>
                <c:pt idx="20628">
                  <c:v>40232</c:v>
                </c:pt>
                <c:pt idx="20629">
                  <c:v>40233</c:v>
                </c:pt>
                <c:pt idx="20630">
                  <c:v>40234</c:v>
                </c:pt>
                <c:pt idx="20631">
                  <c:v>40235</c:v>
                </c:pt>
                <c:pt idx="20632">
                  <c:v>40238</c:v>
                </c:pt>
                <c:pt idx="20633">
                  <c:v>40239</c:v>
                </c:pt>
                <c:pt idx="20634">
                  <c:v>40240</c:v>
                </c:pt>
                <c:pt idx="20635">
                  <c:v>40241</c:v>
                </c:pt>
                <c:pt idx="20636">
                  <c:v>40242</c:v>
                </c:pt>
                <c:pt idx="20637">
                  <c:v>40245</c:v>
                </c:pt>
                <c:pt idx="20638">
                  <c:v>40246</c:v>
                </c:pt>
                <c:pt idx="20639">
                  <c:v>40247</c:v>
                </c:pt>
                <c:pt idx="20640">
                  <c:v>40248</c:v>
                </c:pt>
                <c:pt idx="20641">
                  <c:v>40249</c:v>
                </c:pt>
                <c:pt idx="20642">
                  <c:v>40252</c:v>
                </c:pt>
                <c:pt idx="20643">
                  <c:v>40253</c:v>
                </c:pt>
                <c:pt idx="20644">
                  <c:v>40254</c:v>
                </c:pt>
                <c:pt idx="20645">
                  <c:v>40255</c:v>
                </c:pt>
                <c:pt idx="20646">
                  <c:v>40256</c:v>
                </c:pt>
                <c:pt idx="20647">
                  <c:v>40259</c:v>
                </c:pt>
                <c:pt idx="20648">
                  <c:v>40260</c:v>
                </c:pt>
                <c:pt idx="20649">
                  <c:v>40261</c:v>
                </c:pt>
                <c:pt idx="20650">
                  <c:v>40262</c:v>
                </c:pt>
                <c:pt idx="20651">
                  <c:v>40263</c:v>
                </c:pt>
                <c:pt idx="20652">
                  <c:v>40266</c:v>
                </c:pt>
                <c:pt idx="20653">
                  <c:v>40267</c:v>
                </c:pt>
                <c:pt idx="20654">
                  <c:v>40268</c:v>
                </c:pt>
                <c:pt idx="20655">
                  <c:v>40269</c:v>
                </c:pt>
                <c:pt idx="20656">
                  <c:v>40273</c:v>
                </c:pt>
                <c:pt idx="20657">
                  <c:v>40274</c:v>
                </c:pt>
                <c:pt idx="20658">
                  <c:v>40275</c:v>
                </c:pt>
                <c:pt idx="20659">
                  <c:v>40276</c:v>
                </c:pt>
                <c:pt idx="20660">
                  <c:v>40277</c:v>
                </c:pt>
                <c:pt idx="20661">
                  <c:v>40280</c:v>
                </c:pt>
                <c:pt idx="20662">
                  <c:v>40281</c:v>
                </c:pt>
                <c:pt idx="20663">
                  <c:v>40282</c:v>
                </c:pt>
                <c:pt idx="20664">
                  <c:v>40283</c:v>
                </c:pt>
                <c:pt idx="20665">
                  <c:v>40284</c:v>
                </c:pt>
                <c:pt idx="20666">
                  <c:v>40287</c:v>
                </c:pt>
                <c:pt idx="20667">
                  <c:v>40288</c:v>
                </c:pt>
                <c:pt idx="20668">
                  <c:v>40289</c:v>
                </c:pt>
                <c:pt idx="20669">
                  <c:v>40290</c:v>
                </c:pt>
                <c:pt idx="20670">
                  <c:v>40291</c:v>
                </c:pt>
                <c:pt idx="20671">
                  <c:v>40294</c:v>
                </c:pt>
                <c:pt idx="20672">
                  <c:v>40295</c:v>
                </c:pt>
                <c:pt idx="20673">
                  <c:v>40296</c:v>
                </c:pt>
                <c:pt idx="20674">
                  <c:v>40297</c:v>
                </c:pt>
                <c:pt idx="20675">
                  <c:v>40298</c:v>
                </c:pt>
                <c:pt idx="20676">
                  <c:v>40301</c:v>
                </c:pt>
                <c:pt idx="20677">
                  <c:v>40302</c:v>
                </c:pt>
                <c:pt idx="20678">
                  <c:v>40303</c:v>
                </c:pt>
                <c:pt idx="20679">
                  <c:v>40304</c:v>
                </c:pt>
                <c:pt idx="20680">
                  <c:v>40305</c:v>
                </c:pt>
                <c:pt idx="20681">
                  <c:v>40308</c:v>
                </c:pt>
                <c:pt idx="20682">
                  <c:v>40309</c:v>
                </c:pt>
                <c:pt idx="20683">
                  <c:v>40310</c:v>
                </c:pt>
                <c:pt idx="20684">
                  <c:v>40311</c:v>
                </c:pt>
                <c:pt idx="20685">
                  <c:v>40312</c:v>
                </c:pt>
                <c:pt idx="20686">
                  <c:v>40315</c:v>
                </c:pt>
                <c:pt idx="20687">
                  <c:v>40316</c:v>
                </c:pt>
                <c:pt idx="20688">
                  <c:v>40317</c:v>
                </c:pt>
                <c:pt idx="20689">
                  <c:v>40318</c:v>
                </c:pt>
                <c:pt idx="20690">
                  <c:v>40319</c:v>
                </c:pt>
                <c:pt idx="20691">
                  <c:v>40322</c:v>
                </c:pt>
                <c:pt idx="20692">
                  <c:v>40323</c:v>
                </c:pt>
                <c:pt idx="20693">
                  <c:v>40324</c:v>
                </c:pt>
                <c:pt idx="20694">
                  <c:v>40325</c:v>
                </c:pt>
                <c:pt idx="20695">
                  <c:v>40326</c:v>
                </c:pt>
                <c:pt idx="20696">
                  <c:v>40330</c:v>
                </c:pt>
                <c:pt idx="20697">
                  <c:v>40331</c:v>
                </c:pt>
                <c:pt idx="20698">
                  <c:v>40332</c:v>
                </c:pt>
                <c:pt idx="20699">
                  <c:v>40333</c:v>
                </c:pt>
                <c:pt idx="20700">
                  <c:v>40336</c:v>
                </c:pt>
                <c:pt idx="20701">
                  <c:v>40337</c:v>
                </c:pt>
                <c:pt idx="20702">
                  <c:v>40338</c:v>
                </c:pt>
                <c:pt idx="20703">
                  <c:v>40339</c:v>
                </c:pt>
                <c:pt idx="20704">
                  <c:v>40340</c:v>
                </c:pt>
                <c:pt idx="20705">
                  <c:v>40343</c:v>
                </c:pt>
                <c:pt idx="20706">
                  <c:v>40344</c:v>
                </c:pt>
                <c:pt idx="20707">
                  <c:v>40345</c:v>
                </c:pt>
                <c:pt idx="20708">
                  <c:v>40346</c:v>
                </c:pt>
                <c:pt idx="20709">
                  <c:v>40347</c:v>
                </c:pt>
                <c:pt idx="20710">
                  <c:v>40350</c:v>
                </c:pt>
                <c:pt idx="20711">
                  <c:v>40351</c:v>
                </c:pt>
                <c:pt idx="20712">
                  <c:v>40352</c:v>
                </c:pt>
                <c:pt idx="20713">
                  <c:v>40353</c:v>
                </c:pt>
                <c:pt idx="20714">
                  <c:v>40354</c:v>
                </c:pt>
                <c:pt idx="20715">
                  <c:v>40357</c:v>
                </c:pt>
                <c:pt idx="20716">
                  <c:v>40358</c:v>
                </c:pt>
                <c:pt idx="20717">
                  <c:v>40359</c:v>
                </c:pt>
                <c:pt idx="20718">
                  <c:v>40360</c:v>
                </c:pt>
                <c:pt idx="20719">
                  <c:v>40361</c:v>
                </c:pt>
                <c:pt idx="20720">
                  <c:v>40365</c:v>
                </c:pt>
                <c:pt idx="20721">
                  <c:v>40366</c:v>
                </c:pt>
                <c:pt idx="20722">
                  <c:v>40367</c:v>
                </c:pt>
                <c:pt idx="20723">
                  <c:v>40368</c:v>
                </c:pt>
                <c:pt idx="20724">
                  <c:v>40371</c:v>
                </c:pt>
                <c:pt idx="20725">
                  <c:v>40372</c:v>
                </c:pt>
                <c:pt idx="20726">
                  <c:v>40373</c:v>
                </c:pt>
                <c:pt idx="20727">
                  <c:v>40374</c:v>
                </c:pt>
                <c:pt idx="20728">
                  <c:v>40375</c:v>
                </c:pt>
                <c:pt idx="20729">
                  <c:v>40378</c:v>
                </c:pt>
                <c:pt idx="20730">
                  <c:v>40379</c:v>
                </c:pt>
                <c:pt idx="20731">
                  <c:v>40380</c:v>
                </c:pt>
                <c:pt idx="20732">
                  <c:v>40381</c:v>
                </c:pt>
                <c:pt idx="20733">
                  <c:v>40382</c:v>
                </c:pt>
                <c:pt idx="20734">
                  <c:v>40385</c:v>
                </c:pt>
                <c:pt idx="20735">
                  <c:v>40386</c:v>
                </c:pt>
                <c:pt idx="20736">
                  <c:v>40387</c:v>
                </c:pt>
                <c:pt idx="20737">
                  <c:v>40388</c:v>
                </c:pt>
                <c:pt idx="20738">
                  <c:v>40389</c:v>
                </c:pt>
                <c:pt idx="20739">
                  <c:v>40392</c:v>
                </c:pt>
                <c:pt idx="20740">
                  <c:v>40393</c:v>
                </c:pt>
                <c:pt idx="20741">
                  <c:v>40394</c:v>
                </c:pt>
                <c:pt idx="20742">
                  <c:v>40395</c:v>
                </c:pt>
                <c:pt idx="20743">
                  <c:v>40396</c:v>
                </c:pt>
                <c:pt idx="20744">
                  <c:v>40399</c:v>
                </c:pt>
                <c:pt idx="20745">
                  <c:v>40400</c:v>
                </c:pt>
                <c:pt idx="20746">
                  <c:v>40401</c:v>
                </c:pt>
                <c:pt idx="20747">
                  <c:v>40402</c:v>
                </c:pt>
                <c:pt idx="20748">
                  <c:v>40403</c:v>
                </c:pt>
                <c:pt idx="20749">
                  <c:v>40406</c:v>
                </c:pt>
                <c:pt idx="20750">
                  <c:v>40407</c:v>
                </c:pt>
                <c:pt idx="20751">
                  <c:v>40408</c:v>
                </c:pt>
                <c:pt idx="20752">
                  <c:v>40409</c:v>
                </c:pt>
                <c:pt idx="20753">
                  <c:v>40410</c:v>
                </c:pt>
                <c:pt idx="20754">
                  <c:v>40413</c:v>
                </c:pt>
                <c:pt idx="20755">
                  <c:v>40414</c:v>
                </c:pt>
                <c:pt idx="20756">
                  <c:v>40415</c:v>
                </c:pt>
                <c:pt idx="20757">
                  <c:v>40416</c:v>
                </c:pt>
                <c:pt idx="20758">
                  <c:v>40417</c:v>
                </c:pt>
                <c:pt idx="20759">
                  <c:v>40420</c:v>
                </c:pt>
                <c:pt idx="20760">
                  <c:v>40421</c:v>
                </c:pt>
                <c:pt idx="20761">
                  <c:v>40422</c:v>
                </c:pt>
                <c:pt idx="20762">
                  <c:v>40423</c:v>
                </c:pt>
                <c:pt idx="20763">
                  <c:v>40424</c:v>
                </c:pt>
                <c:pt idx="20764">
                  <c:v>40428</c:v>
                </c:pt>
                <c:pt idx="20765">
                  <c:v>40429</c:v>
                </c:pt>
                <c:pt idx="20766">
                  <c:v>40430</c:v>
                </c:pt>
                <c:pt idx="20767">
                  <c:v>40431</c:v>
                </c:pt>
                <c:pt idx="20768">
                  <c:v>40434</c:v>
                </c:pt>
                <c:pt idx="20769">
                  <c:v>40435</c:v>
                </c:pt>
                <c:pt idx="20770">
                  <c:v>40436</c:v>
                </c:pt>
                <c:pt idx="20771">
                  <c:v>40437</c:v>
                </c:pt>
                <c:pt idx="20772">
                  <c:v>40438</c:v>
                </c:pt>
                <c:pt idx="20773">
                  <c:v>40441</c:v>
                </c:pt>
                <c:pt idx="20774">
                  <c:v>40442</c:v>
                </c:pt>
                <c:pt idx="20775">
                  <c:v>40443</c:v>
                </c:pt>
                <c:pt idx="20776">
                  <c:v>40444</c:v>
                </c:pt>
                <c:pt idx="20777">
                  <c:v>40445</c:v>
                </c:pt>
                <c:pt idx="20778">
                  <c:v>40448</c:v>
                </c:pt>
                <c:pt idx="20779">
                  <c:v>40449</c:v>
                </c:pt>
                <c:pt idx="20780">
                  <c:v>40450</c:v>
                </c:pt>
                <c:pt idx="20781">
                  <c:v>40451</c:v>
                </c:pt>
                <c:pt idx="20782">
                  <c:v>40452</c:v>
                </c:pt>
                <c:pt idx="20783">
                  <c:v>40455</c:v>
                </c:pt>
                <c:pt idx="20784">
                  <c:v>40456</c:v>
                </c:pt>
                <c:pt idx="20785">
                  <c:v>40457</c:v>
                </c:pt>
                <c:pt idx="20786">
                  <c:v>40458</c:v>
                </c:pt>
                <c:pt idx="20787">
                  <c:v>40459</c:v>
                </c:pt>
                <c:pt idx="20788">
                  <c:v>40462</c:v>
                </c:pt>
                <c:pt idx="20789">
                  <c:v>40463</c:v>
                </c:pt>
                <c:pt idx="20790">
                  <c:v>40464</c:v>
                </c:pt>
                <c:pt idx="20791">
                  <c:v>40465</c:v>
                </c:pt>
                <c:pt idx="20792">
                  <c:v>40466</c:v>
                </c:pt>
                <c:pt idx="20793">
                  <c:v>40469</c:v>
                </c:pt>
                <c:pt idx="20794">
                  <c:v>40470</c:v>
                </c:pt>
                <c:pt idx="20795">
                  <c:v>40471</c:v>
                </c:pt>
                <c:pt idx="20796">
                  <c:v>40472</c:v>
                </c:pt>
                <c:pt idx="20797">
                  <c:v>40473</c:v>
                </c:pt>
                <c:pt idx="20798">
                  <c:v>40476</c:v>
                </c:pt>
                <c:pt idx="20799">
                  <c:v>40477</c:v>
                </c:pt>
                <c:pt idx="20800">
                  <c:v>40478</c:v>
                </c:pt>
                <c:pt idx="20801">
                  <c:v>40479</c:v>
                </c:pt>
                <c:pt idx="20802">
                  <c:v>40480</c:v>
                </c:pt>
                <c:pt idx="20803">
                  <c:v>40483</c:v>
                </c:pt>
                <c:pt idx="20804">
                  <c:v>40484</c:v>
                </c:pt>
                <c:pt idx="20805">
                  <c:v>40485</c:v>
                </c:pt>
                <c:pt idx="20806">
                  <c:v>40486</c:v>
                </c:pt>
                <c:pt idx="20807">
                  <c:v>40487</c:v>
                </c:pt>
                <c:pt idx="20808">
                  <c:v>40490</c:v>
                </c:pt>
                <c:pt idx="20809">
                  <c:v>40491</c:v>
                </c:pt>
                <c:pt idx="20810">
                  <c:v>40492</c:v>
                </c:pt>
                <c:pt idx="20811">
                  <c:v>40493</c:v>
                </c:pt>
                <c:pt idx="20812">
                  <c:v>40494</c:v>
                </c:pt>
                <c:pt idx="20813">
                  <c:v>40497</c:v>
                </c:pt>
                <c:pt idx="20814">
                  <c:v>40498</c:v>
                </c:pt>
                <c:pt idx="20815">
                  <c:v>40499</c:v>
                </c:pt>
                <c:pt idx="20816">
                  <c:v>40500</c:v>
                </c:pt>
                <c:pt idx="20817">
                  <c:v>40501</c:v>
                </c:pt>
                <c:pt idx="20818">
                  <c:v>40504</c:v>
                </c:pt>
                <c:pt idx="20819">
                  <c:v>40505</c:v>
                </c:pt>
                <c:pt idx="20820">
                  <c:v>40506</c:v>
                </c:pt>
                <c:pt idx="20821">
                  <c:v>40508</c:v>
                </c:pt>
                <c:pt idx="20822">
                  <c:v>40511</c:v>
                </c:pt>
                <c:pt idx="20823">
                  <c:v>40512</c:v>
                </c:pt>
                <c:pt idx="20824">
                  <c:v>40513</c:v>
                </c:pt>
                <c:pt idx="20825">
                  <c:v>40514</c:v>
                </c:pt>
                <c:pt idx="20826">
                  <c:v>40515</c:v>
                </c:pt>
                <c:pt idx="20827">
                  <c:v>40518</c:v>
                </c:pt>
                <c:pt idx="20828">
                  <c:v>40519</c:v>
                </c:pt>
                <c:pt idx="20829">
                  <c:v>40520</c:v>
                </c:pt>
                <c:pt idx="20830">
                  <c:v>40521</c:v>
                </c:pt>
                <c:pt idx="20831">
                  <c:v>40522</c:v>
                </c:pt>
                <c:pt idx="20832">
                  <c:v>40525</c:v>
                </c:pt>
                <c:pt idx="20833">
                  <c:v>40526</c:v>
                </c:pt>
                <c:pt idx="20834">
                  <c:v>40527</c:v>
                </c:pt>
                <c:pt idx="20835">
                  <c:v>40528</c:v>
                </c:pt>
                <c:pt idx="20836">
                  <c:v>40529</c:v>
                </c:pt>
                <c:pt idx="20837">
                  <c:v>40532</c:v>
                </c:pt>
                <c:pt idx="20838">
                  <c:v>40533</c:v>
                </c:pt>
                <c:pt idx="20839">
                  <c:v>40534</c:v>
                </c:pt>
                <c:pt idx="20840">
                  <c:v>40535</c:v>
                </c:pt>
                <c:pt idx="20841">
                  <c:v>40539</c:v>
                </c:pt>
                <c:pt idx="20842">
                  <c:v>40540</c:v>
                </c:pt>
                <c:pt idx="20843">
                  <c:v>40541</c:v>
                </c:pt>
                <c:pt idx="20844">
                  <c:v>40542</c:v>
                </c:pt>
                <c:pt idx="20845">
                  <c:v>40543</c:v>
                </c:pt>
                <c:pt idx="20846">
                  <c:v>40546</c:v>
                </c:pt>
                <c:pt idx="20847">
                  <c:v>40547</c:v>
                </c:pt>
                <c:pt idx="20848">
                  <c:v>40548</c:v>
                </c:pt>
                <c:pt idx="20849">
                  <c:v>40549</c:v>
                </c:pt>
                <c:pt idx="20850">
                  <c:v>40550</c:v>
                </c:pt>
                <c:pt idx="20851">
                  <c:v>40553</c:v>
                </c:pt>
                <c:pt idx="20852">
                  <c:v>40554</c:v>
                </c:pt>
                <c:pt idx="20853">
                  <c:v>40555</c:v>
                </c:pt>
                <c:pt idx="20854">
                  <c:v>40556</c:v>
                </c:pt>
                <c:pt idx="20855">
                  <c:v>40557</c:v>
                </c:pt>
                <c:pt idx="20856">
                  <c:v>40561</c:v>
                </c:pt>
                <c:pt idx="20857">
                  <c:v>40562</c:v>
                </c:pt>
                <c:pt idx="20858">
                  <c:v>40563</c:v>
                </c:pt>
                <c:pt idx="20859">
                  <c:v>40564</c:v>
                </c:pt>
                <c:pt idx="20860">
                  <c:v>40567</c:v>
                </c:pt>
                <c:pt idx="20861">
                  <c:v>40568</c:v>
                </c:pt>
                <c:pt idx="20862">
                  <c:v>40569</c:v>
                </c:pt>
                <c:pt idx="20863">
                  <c:v>40570</c:v>
                </c:pt>
                <c:pt idx="20864">
                  <c:v>40571</c:v>
                </c:pt>
                <c:pt idx="20865">
                  <c:v>40574</c:v>
                </c:pt>
                <c:pt idx="20866">
                  <c:v>40575</c:v>
                </c:pt>
                <c:pt idx="20867">
                  <c:v>40576</c:v>
                </c:pt>
                <c:pt idx="20868">
                  <c:v>40577</c:v>
                </c:pt>
                <c:pt idx="20869">
                  <c:v>40578</c:v>
                </c:pt>
                <c:pt idx="20870">
                  <c:v>40581</c:v>
                </c:pt>
                <c:pt idx="20871">
                  <c:v>40582</c:v>
                </c:pt>
                <c:pt idx="20872">
                  <c:v>40583</c:v>
                </c:pt>
                <c:pt idx="20873">
                  <c:v>40584</c:v>
                </c:pt>
                <c:pt idx="20874">
                  <c:v>40585</c:v>
                </c:pt>
                <c:pt idx="20875">
                  <c:v>40588</c:v>
                </c:pt>
                <c:pt idx="20876">
                  <c:v>40589</c:v>
                </c:pt>
                <c:pt idx="20877">
                  <c:v>40590</c:v>
                </c:pt>
                <c:pt idx="20878">
                  <c:v>40591</c:v>
                </c:pt>
                <c:pt idx="20879">
                  <c:v>40592</c:v>
                </c:pt>
                <c:pt idx="20880">
                  <c:v>40596</c:v>
                </c:pt>
                <c:pt idx="20881">
                  <c:v>40597</c:v>
                </c:pt>
                <c:pt idx="20882">
                  <c:v>40598</c:v>
                </c:pt>
                <c:pt idx="20883">
                  <c:v>40599</c:v>
                </c:pt>
                <c:pt idx="20884">
                  <c:v>40602</c:v>
                </c:pt>
                <c:pt idx="20885">
                  <c:v>40603</c:v>
                </c:pt>
                <c:pt idx="20886">
                  <c:v>40604</c:v>
                </c:pt>
                <c:pt idx="20887">
                  <c:v>40605</c:v>
                </c:pt>
                <c:pt idx="20888">
                  <c:v>40606</c:v>
                </c:pt>
                <c:pt idx="20889">
                  <c:v>40609</c:v>
                </c:pt>
                <c:pt idx="20890">
                  <c:v>40610</c:v>
                </c:pt>
                <c:pt idx="20891">
                  <c:v>40611</c:v>
                </c:pt>
                <c:pt idx="20892">
                  <c:v>40612</c:v>
                </c:pt>
                <c:pt idx="20893">
                  <c:v>40613</c:v>
                </c:pt>
                <c:pt idx="20894">
                  <c:v>40616</c:v>
                </c:pt>
                <c:pt idx="20895">
                  <c:v>40617</c:v>
                </c:pt>
                <c:pt idx="20896">
                  <c:v>40618</c:v>
                </c:pt>
                <c:pt idx="20897">
                  <c:v>40619</c:v>
                </c:pt>
                <c:pt idx="20898">
                  <c:v>40620</c:v>
                </c:pt>
                <c:pt idx="20899">
                  <c:v>40623</c:v>
                </c:pt>
                <c:pt idx="20900">
                  <c:v>40624</c:v>
                </c:pt>
                <c:pt idx="20901">
                  <c:v>40625</c:v>
                </c:pt>
                <c:pt idx="20902">
                  <c:v>40626</c:v>
                </c:pt>
                <c:pt idx="20903">
                  <c:v>40627</c:v>
                </c:pt>
                <c:pt idx="20904">
                  <c:v>40630</c:v>
                </c:pt>
                <c:pt idx="20905">
                  <c:v>40631</c:v>
                </c:pt>
                <c:pt idx="20906">
                  <c:v>40632</c:v>
                </c:pt>
                <c:pt idx="20907">
                  <c:v>40633</c:v>
                </c:pt>
                <c:pt idx="20908">
                  <c:v>40634</c:v>
                </c:pt>
                <c:pt idx="20909">
                  <c:v>40637</c:v>
                </c:pt>
                <c:pt idx="20910">
                  <c:v>40638</c:v>
                </c:pt>
                <c:pt idx="20911">
                  <c:v>40639</c:v>
                </c:pt>
                <c:pt idx="20912">
                  <c:v>40640</c:v>
                </c:pt>
                <c:pt idx="20913">
                  <c:v>40641</c:v>
                </c:pt>
                <c:pt idx="20914">
                  <c:v>40644</c:v>
                </c:pt>
                <c:pt idx="20915">
                  <c:v>40645</c:v>
                </c:pt>
                <c:pt idx="20916">
                  <c:v>40646</c:v>
                </c:pt>
                <c:pt idx="20917">
                  <c:v>40647</c:v>
                </c:pt>
                <c:pt idx="20918">
                  <c:v>40648</c:v>
                </c:pt>
                <c:pt idx="20919">
                  <c:v>40651</c:v>
                </c:pt>
                <c:pt idx="20920">
                  <c:v>40652</c:v>
                </c:pt>
                <c:pt idx="20921">
                  <c:v>40653</c:v>
                </c:pt>
                <c:pt idx="20922">
                  <c:v>40654</c:v>
                </c:pt>
                <c:pt idx="20923">
                  <c:v>40658</c:v>
                </c:pt>
                <c:pt idx="20924">
                  <c:v>40659</c:v>
                </c:pt>
                <c:pt idx="20925">
                  <c:v>40660</c:v>
                </c:pt>
                <c:pt idx="20926">
                  <c:v>40661</c:v>
                </c:pt>
                <c:pt idx="20927">
                  <c:v>40662</c:v>
                </c:pt>
                <c:pt idx="20928">
                  <c:v>40665</c:v>
                </c:pt>
                <c:pt idx="20929">
                  <c:v>40666</c:v>
                </c:pt>
                <c:pt idx="20930">
                  <c:v>40667</c:v>
                </c:pt>
                <c:pt idx="20931">
                  <c:v>40668</c:v>
                </c:pt>
                <c:pt idx="20932">
                  <c:v>40669</c:v>
                </c:pt>
                <c:pt idx="20933">
                  <c:v>40672</c:v>
                </c:pt>
                <c:pt idx="20934">
                  <c:v>40673</c:v>
                </c:pt>
                <c:pt idx="20935">
                  <c:v>40674</c:v>
                </c:pt>
                <c:pt idx="20936">
                  <c:v>40675</c:v>
                </c:pt>
                <c:pt idx="20937">
                  <c:v>40676</c:v>
                </c:pt>
                <c:pt idx="20938">
                  <c:v>40679</c:v>
                </c:pt>
                <c:pt idx="20939">
                  <c:v>40680</c:v>
                </c:pt>
                <c:pt idx="20940">
                  <c:v>40681</c:v>
                </c:pt>
                <c:pt idx="20941">
                  <c:v>40682</c:v>
                </c:pt>
                <c:pt idx="20942">
                  <c:v>40683</c:v>
                </c:pt>
                <c:pt idx="20943">
                  <c:v>40686</c:v>
                </c:pt>
                <c:pt idx="20944">
                  <c:v>40687</c:v>
                </c:pt>
                <c:pt idx="20945">
                  <c:v>40688</c:v>
                </c:pt>
                <c:pt idx="20946">
                  <c:v>40689</c:v>
                </c:pt>
                <c:pt idx="20947">
                  <c:v>40690</c:v>
                </c:pt>
                <c:pt idx="20948">
                  <c:v>40694</c:v>
                </c:pt>
                <c:pt idx="20949">
                  <c:v>40695</c:v>
                </c:pt>
                <c:pt idx="20950">
                  <c:v>40696</c:v>
                </c:pt>
                <c:pt idx="20951">
                  <c:v>40697</c:v>
                </c:pt>
                <c:pt idx="20952">
                  <c:v>40700</c:v>
                </c:pt>
                <c:pt idx="20953">
                  <c:v>40701</c:v>
                </c:pt>
                <c:pt idx="20954">
                  <c:v>40702</c:v>
                </c:pt>
                <c:pt idx="20955">
                  <c:v>40703</c:v>
                </c:pt>
                <c:pt idx="20956">
                  <c:v>40704</c:v>
                </c:pt>
                <c:pt idx="20957">
                  <c:v>40707</c:v>
                </c:pt>
                <c:pt idx="20958">
                  <c:v>40708</c:v>
                </c:pt>
                <c:pt idx="20959">
                  <c:v>40709</c:v>
                </c:pt>
                <c:pt idx="20960">
                  <c:v>40710</c:v>
                </c:pt>
                <c:pt idx="20961">
                  <c:v>40711</c:v>
                </c:pt>
                <c:pt idx="20962">
                  <c:v>40714</c:v>
                </c:pt>
                <c:pt idx="20963">
                  <c:v>40715</c:v>
                </c:pt>
                <c:pt idx="20964">
                  <c:v>40716</c:v>
                </c:pt>
                <c:pt idx="20965">
                  <c:v>40717</c:v>
                </c:pt>
                <c:pt idx="20966">
                  <c:v>40718</c:v>
                </c:pt>
                <c:pt idx="20967">
                  <c:v>40721</c:v>
                </c:pt>
                <c:pt idx="20968">
                  <c:v>40722</c:v>
                </c:pt>
                <c:pt idx="20969">
                  <c:v>40723</c:v>
                </c:pt>
                <c:pt idx="20970">
                  <c:v>40724</c:v>
                </c:pt>
                <c:pt idx="20971">
                  <c:v>40725</c:v>
                </c:pt>
                <c:pt idx="20972">
                  <c:v>40729</c:v>
                </c:pt>
                <c:pt idx="20973">
                  <c:v>40730</c:v>
                </c:pt>
                <c:pt idx="20974">
                  <c:v>40731</c:v>
                </c:pt>
                <c:pt idx="20975">
                  <c:v>40732</c:v>
                </c:pt>
                <c:pt idx="20976">
                  <c:v>40735</c:v>
                </c:pt>
                <c:pt idx="20977">
                  <c:v>40736</c:v>
                </c:pt>
                <c:pt idx="20978">
                  <c:v>40737</c:v>
                </c:pt>
                <c:pt idx="20979">
                  <c:v>40738</c:v>
                </c:pt>
                <c:pt idx="20980">
                  <c:v>40739</c:v>
                </c:pt>
                <c:pt idx="20981">
                  <c:v>40742</c:v>
                </c:pt>
                <c:pt idx="20982">
                  <c:v>40743</c:v>
                </c:pt>
                <c:pt idx="20983">
                  <c:v>40744</c:v>
                </c:pt>
                <c:pt idx="20984">
                  <c:v>40745</c:v>
                </c:pt>
                <c:pt idx="20985">
                  <c:v>40746</c:v>
                </c:pt>
                <c:pt idx="20986">
                  <c:v>40749</c:v>
                </c:pt>
                <c:pt idx="20987">
                  <c:v>40750</c:v>
                </c:pt>
                <c:pt idx="20988">
                  <c:v>40751</c:v>
                </c:pt>
                <c:pt idx="20989">
                  <c:v>40752</c:v>
                </c:pt>
                <c:pt idx="20990">
                  <c:v>40753</c:v>
                </c:pt>
                <c:pt idx="20991">
                  <c:v>40756</c:v>
                </c:pt>
                <c:pt idx="20992">
                  <c:v>40757</c:v>
                </c:pt>
                <c:pt idx="20993">
                  <c:v>40758</c:v>
                </c:pt>
                <c:pt idx="20994">
                  <c:v>40759</c:v>
                </c:pt>
                <c:pt idx="20995">
                  <c:v>40760</c:v>
                </c:pt>
                <c:pt idx="20996">
                  <c:v>40763</c:v>
                </c:pt>
                <c:pt idx="20997">
                  <c:v>40764</c:v>
                </c:pt>
                <c:pt idx="20998">
                  <c:v>40765</c:v>
                </c:pt>
                <c:pt idx="20999">
                  <c:v>40766</c:v>
                </c:pt>
                <c:pt idx="21000">
                  <c:v>40767</c:v>
                </c:pt>
                <c:pt idx="21001">
                  <c:v>40770</c:v>
                </c:pt>
                <c:pt idx="21002">
                  <c:v>40771</c:v>
                </c:pt>
                <c:pt idx="21003">
                  <c:v>40772</c:v>
                </c:pt>
                <c:pt idx="21004">
                  <c:v>40773</c:v>
                </c:pt>
                <c:pt idx="21005">
                  <c:v>40774</c:v>
                </c:pt>
                <c:pt idx="21006">
                  <c:v>40777</c:v>
                </c:pt>
                <c:pt idx="21007">
                  <c:v>40778</c:v>
                </c:pt>
                <c:pt idx="21008">
                  <c:v>40779</c:v>
                </c:pt>
                <c:pt idx="21009">
                  <c:v>40780</c:v>
                </c:pt>
                <c:pt idx="21010">
                  <c:v>40781</c:v>
                </c:pt>
                <c:pt idx="21011">
                  <c:v>40784</c:v>
                </c:pt>
                <c:pt idx="21012">
                  <c:v>40785</c:v>
                </c:pt>
                <c:pt idx="21013">
                  <c:v>40786</c:v>
                </c:pt>
                <c:pt idx="21014">
                  <c:v>40787</c:v>
                </c:pt>
                <c:pt idx="21015">
                  <c:v>40788</c:v>
                </c:pt>
                <c:pt idx="21016">
                  <c:v>40792</c:v>
                </c:pt>
                <c:pt idx="21017">
                  <c:v>40793</c:v>
                </c:pt>
                <c:pt idx="21018">
                  <c:v>40794</c:v>
                </c:pt>
                <c:pt idx="21019">
                  <c:v>40795</c:v>
                </c:pt>
                <c:pt idx="21020">
                  <c:v>40798</c:v>
                </c:pt>
                <c:pt idx="21021">
                  <c:v>40799</c:v>
                </c:pt>
                <c:pt idx="21022">
                  <c:v>40800</c:v>
                </c:pt>
                <c:pt idx="21023">
                  <c:v>40801</c:v>
                </c:pt>
                <c:pt idx="21024">
                  <c:v>40802</c:v>
                </c:pt>
                <c:pt idx="21025">
                  <c:v>40805</c:v>
                </c:pt>
                <c:pt idx="21026">
                  <c:v>40806</c:v>
                </c:pt>
                <c:pt idx="21027">
                  <c:v>40807</c:v>
                </c:pt>
                <c:pt idx="21028">
                  <c:v>40808</c:v>
                </c:pt>
                <c:pt idx="21029">
                  <c:v>40809</c:v>
                </c:pt>
                <c:pt idx="21030">
                  <c:v>40812</c:v>
                </c:pt>
                <c:pt idx="21031">
                  <c:v>40813</c:v>
                </c:pt>
                <c:pt idx="21032">
                  <c:v>40814</c:v>
                </c:pt>
                <c:pt idx="21033">
                  <c:v>40815</c:v>
                </c:pt>
                <c:pt idx="21034">
                  <c:v>40816</c:v>
                </c:pt>
                <c:pt idx="21035">
                  <c:v>40819</c:v>
                </c:pt>
                <c:pt idx="21036">
                  <c:v>40820</c:v>
                </c:pt>
                <c:pt idx="21037">
                  <c:v>40821</c:v>
                </c:pt>
                <c:pt idx="21038">
                  <c:v>40822</c:v>
                </c:pt>
                <c:pt idx="21039">
                  <c:v>40823</c:v>
                </c:pt>
                <c:pt idx="21040">
                  <c:v>40826</c:v>
                </c:pt>
                <c:pt idx="21041">
                  <c:v>40827</c:v>
                </c:pt>
                <c:pt idx="21042">
                  <c:v>40828</c:v>
                </c:pt>
                <c:pt idx="21043">
                  <c:v>40829</c:v>
                </c:pt>
                <c:pt idx="21044">
                  <c:v>40830</c:v>
                </c:pt>
                <c:pt idx="21045">
                  <c:v>40833</c:v>
                </c:pt>
                <c:pt idx="21046">
                  <c:v>40834</c:v>
                </c:pt>
                <c:pt idx="21047">
                  <c:v>40835</c:v>
                </c:pt>
                <c:pt idx="21048">
                  <c:v>40836</c:v>
                </c:pt>
                <c:pt idx="21049">
                  <c:v>40837</c:v>
                </c:pt>
                <c:pt idx="21050">
                  <c:v>40840</c:v>
                </c:pt>
                <c:pt idx="21051">
                  <c:v>40841</c:v>
                </c:pt>
                <c:pt idx="21052">
                  <c:v>40842</c:v>
                </c:pt>
                <c:pt idx="21053">
                  <c:v>40843</c:v>
                </c:pt>
                <c:pt idx="21054">
                  <c:v>40844</c:v>
                </c:pt>
                <c:pt idx="21055">
                  <c:v>40847</c:v>
                </c:pt>
                <c:pt idx="21056">
                  <c:v>40848</c:v>
                </c:pt>
                <c:pt idx="21057">
                  <c:v>40849</c:v>
                </c:pt>
                <c:pt idx="21058">
                  <c:v>40850</c:v>
                </c:pt>
                <c:pt idx="21059">
                  <c:v>40851</c:v>
                </c:pt>
                <c:pt idx="21060">
                  <c:v>40854</c:v>
                </c:pt>
                <c:pt idx="21061">
                  <c:v>40855</c:v>
                </c:pt>
                <c:pt idx="21062">
                  <c:v>40856</c:v>
                </c:pt>
                <c:pt idx="21063">
                  <c:v>40857</c:v>
                </c:pt>
                <c:pt idx="21064">
                  <c:v>40858</c:v>
                </c:pt>
                <c:pt idx="21065">
                  <c:v>40861</c:v>
                </c:pt>
                <c:pt idx="21066">
                  <c:v>40862</c:v>
                </c:pt>
                <c:pt idx="21067">
                  <c:v>40863</c:v>
                </c:pt>
                <c:pt idx="21068">
                  <c:v>40864</c:v>
                </c:pt>
                <c:pt idx="21069">
                  <c:v>40865</c:v>
                </c:pt>
                <c:pt idx="21070">
                  <c:v>40868</c:v>
                </c:pt>
                <c:pt idx="21071">
                  <c:v>40869</c:v>
                </c:pt>
                <c:pt idx="21072">
                  <c:v>40870</c:v>
                </c:pt>
                <c:pt idx="21073">
                  <c:v>40872</c:v>
                </c:pt>
                <c:pt idx="21074">
                  <c:v>40875</c:v>
                </c:pt>
                <c:pt idx="21075">
                  <c:v>40876</c:v>
                </c:pt>
                <c:pt idx="21076">
                  <c:v>40877</c:v>
                </c:pt>
                <c:pt idx="21077">
                  <c:v>40878</c:v>
                </c:pt>
                <c:pt idx="21078">
                  <c:v>40879</c:v>
                </c:pt>
                <c:pt idx="21079">
                  <c:v>40882</c:v>
                </c:pt>
                <c:pt idx="21080">
                  <c:v>40883</c:v>
                </c:pt>
                <c:pt idx="21081">
                  <c:v>40884</c:v>
                </c:pt>
                <c:pt idx="21082">
                  <c:v>40885</c:v>
                </c:pt>
                <c:pt idx="21083">
                  <c:v>40886</c:v>
                </c:pt>
                <c:pt idx="21084">
                  <c:v>40889</c:v>
                </c:pt>
                <c:pt idx="21085">
                  <c:v>40890</c:v>
                </c:pt>
                <c:pt idx="21086">
                  <c:v>40891</c:v>
                </c:pt>
                <c:pt idx="21087">
                  <c:v>40892</c:v>
                </c:pt>
                <c:pt idx="21088">
                  <c:v>40893</c:v>
                </c:pt>
                <c:pt idx="21089">
                  <c:v>40896</c:v>
                </c:pt>
                <c:pt idx="21090">
                  <c:v>40897</c:v>
                </c:pt>
                <c:pt idx="21091">
                  <c:v>40898</c:v>
                </c:pt>
                <c:pt idx="21092">
                  <c:v>40899</c:v>
                </c:pt>
                <c:pt idx="21093">
                  <c:v>40900</c:v>
                </c:pt>
                <c:pt idx="21094">
                  <c:v>40904</c:v>
                </c:pt>
                <c:pt idx="21095">
                  <c:v>40905</c:v>
                </c:pt>
                <c:pt idx="21096">
                  <c:v>40906</c:v>
                </c:pt>
                <c:pt idx="21097">
                  <c:v>40907</c:v>
                </c:pt>
                <c:pt idx="21098">
                  <c:v>40911</c:v>
                </c:pt>
                <c:pt idx="21099">
                  <c:v>40912</c:v>
                </c:pt>
                <c:pt idx="21100">
                  <c:v>40913</c:v>
                </c:pt>
                <c:pt idx="21101">
                  <c:v>40914</c:v>
                </c:pt>
                <c:pt idx="21102">
                  <c:v>40917</c:v>
                </c:pt>
                <c:pt idx="21103">
                  <c:v>40918</c:v>
                </c:pt>
                <c:pt idx="21104">
                  <c:v>40919</c:v>
                </c:pt>
                <c:pt idx="21105">
                  <c:v>40920</c:v>
                </c:pt>
                <c:pt idx="21106">
                  <c:v>40921</c:v>
                </c:pt>
                <c:pt idx="21107">
                  <c:v>40925</c:v>
                </c:pt>
                <c:pt idx="21108">
                  <c:v>40926</c:v>
                </c:pt>
                <c:pt idx="21109">
                  <c:v>40927</c:v>
                </c:pt>
                <c:pt idx="21110">
                  <c:v>40928</c:v>
                </c:pt>
                <c:pt idx="21111">
                  <c:v>40931</c:v>
                </c:pt>
                <c:pt idx="21112">
                  <c:v>40932</c:v>
                </c:pt>
                <c:pt idx="21113">
                  <c:v>40933</c:v>
                </c:pt>
                <c:pt idx="21114">
                  <c:v>40934</c:v>
                </c:pt>
                <c:pt idx="21115">
                  <c:v>40935</c:v>
                </c:pt>
                <c:pt idx="21116">
                  <c:v>40938</c:v>
                </c:pt>
                <c:pt idx="21117">
                  <c:v>40939</c:v>
                </c:pt>
                <c:pt idx="21118">
                  <c:v>40940</c:v>
                </c:pt>
                <c:pt idx="21119">
                  <c:v>40941</c:v>
                </c:pt>
                <c:pt idx="21120">
                  <c:v>40942</c:v>
                </c:pt>
                <c:pt idx="21121">
                  <c:v>40945</c:v>
                </c:pt>
                <c:pt idx="21122">
                  <c:v>40946</c:v>
                </c:pt>
                <c:pt idx="21123">
                  <c:v>40947</c:v>
                </c:pt>
                <c:pt idx="21124">
                  <c:v>40948</c:v>
                </c:pt>
                <c:pt idx="21125">
                  <c:v>40949</c:v>
                </c:pt>
                <c:pt idx="21126">
                  <c:v>40952</c:v>
                </c:pt>
                <c:pt idx="21127">
                  <c:v>40953</c:v>
                </c:pt>
                <c:pt idx="21128">
                  <c:v>40954</c:v>
                </c:pt>
                <c:pt idx="21129">
                  <c:v>40955</c:v>
                </c:pt>
                <c:pt idx="21130">
                  <c:v>40956</c:v>
                </c:pt>
                <c:pt idx="21131">
                  <c:v>40960</c:v>
                </c:pt>
                <c:pt idx="21132">
                  <c:v>40961</c:v>
                </c:pt>
                <c:pt idx="21133">
                  <c:v>40962</c:v>
                </c:pt>
                <c:pt idx="21134">
                  <c:v>40963</c:v>
                </c:pt>
                <c:pt idx="21135">
                  <c:v>40966</c:v>
                </c:pt>
                <c:pt idx="21136">
                  <c:v>40967</c:v>
                </c:pt>
                <c:pt idx="21137">
                  <c:v>40968</c:v>
                </c:pt>
                <c:pt idx="21138">
                  <c:v>40969</c:v>
                </c:pt>
                <c:pt idx="21139">
                  <c:v>40970</c:v>
                </c:pt>
                <c:pt idx="21140">
                  <c:v>40973</c:v>
                </c:pt>
                <c:pt idx="21141">
                  <c:v>40974</c:v>
                </c:pt>
                <c:pt idx="21142">
                  <c:v>40975</c:v>
                </c:pt>
                <c:pt idx="21143">
                  <c:v>40976</c:v>
                </c:pt>
                <c:pt idx="21144">
                  <c:v>40977</c:v>
                </c:pt>
                <c:pt idx="21145">
                  <c:v>40980</c:v>
                </c:pt>
                <c:pt idx="21146">
                  <c:v>40981</c:v>
                </c:pt>
                <c:pt idx="21147">
                  <c:v>40982</c:v>
                </c:pt>
                <c:pt idx="21148">
                  <c:v>40983</c:v>
                </c:pt>
                <c:pt idx="21149">
                  <c:v>40984</c:v>
                </c:pt>
                <c:pt idx="21150">
                  <c:v>40987</c:v>
                </c:pt>
                <c:pt idx="21151">
                  <c:v>40988</c:v>
                </c:pt>
                <c:pt idx="21152">
                  <c:v>40989</c:v>
                </c:pt>
                <c:pt idx="21153">
                  <c:v>40990</c:v>
                </c:pt>
                <c:pt idx="21154">
                  <c:v>40991</c:v>
                </c:pt>
                <c:pt idx="21155">
                  <c:v>40994</c:v>
                </c:pt>
                <c:pt idx="21156">
                  <c:v>40995</c:v>
                </c:pt>
                <c:pt idx="21157">
                  <c:v>40996</c:v>
                </c:pt>
                <c:pt idx="21158">
                  <c:v>40997</c:v>
                </c:pt>
                <c:pt idx="21159">
                  <c:v>40998</c:v>
                </c:pt>
                <c:pt idx="21160">
                  <c:v>41001</c:v>
                </c:pt>
                <c:pt idx="21161">
                  <c:v>41002</c:v>
                </c:pt>
                <c:pt idx="21162">
                  <c:v>41003</c:v>
                </c:pt>
                <c:pt idx="21163">
                  <c:v>41004</c:v>
                </c:pt>
                <c:pt idx="21164">
                  <c:v>41008</c:v>
                </c:pt>
                <c:pt idx="21165">
                  <c:v>41009</c:v>
                </c:pt>
                <c:pt idx="21166">
                  <c:v>41010</c:v>
                </c:pt>
                <c:pt idx="21167">
                  <c:v>41011</c:v>
                </c:pt>
                <c:pt idx="21168">
                  <c:v>41012</c:v>
                </c:pt>
                <c:pt idx="21169">
                  <c:v>41015</c:v>
                </c:pt>
                <c:pt idx="21170">
                  <c:v>41016</c:v>
                </c:pt>
                <c:pt idx="21171">
                  <c:v>41017</c:v>
                </c:pt>
                <c:pt idx="21172">
                  <c:v>41018</c:v>
                </c:pt>
                <c:pt idx="21173">
                  <c:v>41019</c:v>
                </c:pt>
                <c:pt idx="21174">
                  <c:v>41022</c:v>
                </c:pt>
                <c:pt idx="21175">
                  <c:v>41023</c:v>
                </c:pt>
                <c:pt idx="21176">
                  <c:v>41024</c:v>
                </c:pt>
                <c:pt idx="21177">
                  <c:v>41025</c:v>
                </c:pt>
                <c:pt idx="21178">
                  <c:v>41026</c:v>
                </c:pt>
                <c:pt idx="21179">
                  <c:v>41029</c:v>
                </c:pt>
                <c:pt idx="21180">
                  <c:v>41030</c:v>
                </c:pt>
                <c:pt idx="21181">
                  <c:v>41031</c:v>
                </c:pt>
                <c:pt idx="21182">
                  <c:v>41032</c:v>
                </c:pt>
                <c:pt idx="21183">
                  <c:v>41033</c:v>
                </c:pt>
                <c:pt idx="21184">
                  <c:v>41036</c:v>
                </c:pt>
                <c:pt idx="21185">
                  <c:v>41037</c:v>
                </c:pt>
                <c:pt idx="21186">
                  <c:v>41038</c:v>
                </c:pt>
                <c:pt idx="21187">
                  <c:v>41039</c:v>
                </c:pt>
                <c:pt idx="21188">
                  <c:v>41040</c:v>
                </c:pt>
                <c:pt idx="21189">
                  <c:v>41043</c:v>
                </c:pt>
                <c:pt idx="21190">
                  <c:v>41044</c:v>
                </c:pt>
                <c:pt idx="21191">
                  <c:v>41045</c:v>
                </c:pt>
                <c:pt idx="21192">
                  <c:v>41046</c:v>
                </c:pt>
                <c:pt idx="21193">
                  <c:v>41047</c:v>
                </c:pt>
                <c:pt idx="21194">
                  <c:v>41050</c:v>
                </c:pt>
                <c:pt idx="21195">
                  <c:v>41051</c:v>
                </c:pt>
                <c:pt idx="21196">
                  <c:v>41052</c:v>
                </c:pt>
                <c:pt idx="21197">
                  <c:v>41053</c:v>
                </c:pt>
                <c:pt idx="21198">
                  <c:v>41054</c:v>
                </c:pt>
                <c:pt idx="21199">
                  <c:v>41058</c:v>
                </c:pt>
                <c:pt idx="21200">
                  <c:v>41059</c:v>
                </c:pt>
                <c:pt idx="21201">
                  <c:v>41060</c:v>
                </c:pt>
                <c:pt idx="21202">
                  <c:v>41061</c:v>
                </c:pt>
                <c:pt idx="21203">
                  <c:v>41064</c:v>
                </c:pt>
                <c:pt idx="21204">
                  <c:v>41065</c:v>
                </c:pt>
                <c:pt idx="21205">
                  <c:v>41066</c:v>
                </c:pt>
                <c:pt idx="21206">
                  <c:v>41067</c:v>
                </c:pt>
                <c:pt idx="21207">
                  <c:v>41068</c:v>
                </c:pt>
                <c:pt idx="21208">
                  <c:v>41071</c:v>
                </c:pt>
                <c:pt idx="21209">
                  <c:v>41072</c:v>
                </c:pt>
                <c:pt idx="21210">
                  <c:v>41073</c:v>
                </c:pt>
                <c:pt idx="21211">
                  <c:v>41074</c:v>
                </c:pt>
                <c:pt idx="21212">
                  <c:v>41075</c:v>
                </c:pt>
                <c:pt idx="21213">
                  <c:v>41078</c:v>
                </c:pt>
                <c:pt idx="21214">
                  <c:v>41079</c:v>
                </c:pt>
                <c:pt idx="21215">
                  <c:v>41080</c:v>
                </c:pt>
                <c:pt idx="21216">
                  <c:v>41081</c:v>
                </c:pt>
                <c:pt idx="21217">
                  <c:v>41082</c:v>
                </c:pt>
                <c:pt idx="21218">
                  <c:v>41085</c:v>
                </c:pt>
                <c:pt idx="21219">
                  <c:v>41086</c:v>
                </c:pt>
                <c:pt idx="21220">
                  <c:v>41087</c:v>
                </c:pt>
                <c:pt idx="21221">
                  <c:v>41088</c:v>
                </c:pt>
                <c:pt idx="21222">
                  <c:v>41089</c:v>
                </c:pt>
                <c:pt idx="21223">
                  <c:v>41092</c:v>
                </c:pt>
                <c:pt idx="21224">
                  <c:v>41093</c:v>
                </c:pt>
                <c:pt idx="21225">
                  <c:v>41095</c:v>
                </c:pt>
                <c:pt idx="21226">
                  <c:v>41096</c:v>
                </c:pt>
                <c:pt idx="21227">
                  <c:v>41099</c:v>
                </c:pt>
                <c:pt idx="21228">
                  <c:v>41100</c:v>
                </c:pt>
                <c:pt idx="21229">
                  <c:v>41101</c:v>
                </c:pt>
                <c:pt idx="21230">
                  <c:v>41102</c:v>
                </c:pt>
                <c:pt idx="21231">
                  <c:v>41103</c:v>
                </c:pt>
                <c:pt idx="21232">
                  <c:v>41106</c:v>
                </c:pt>
                <c:pt idx="21233">
                  <c:v>41107</c:v>
                </c:pt>
                <c:pt idx="21234">
                  <c:v>41108</c:v>
                </c:pt>
                <c:pt idx="21235">
                  <c:v>41109</c:v>
                </c:pt>
                <c:pt idx="21236">
                  <c:v>41110</c:v>
                </c:pt>
                <c:pt idx="21237">
                  <c:v>41113</c:v>
                </c:pt>
                <c:pt idx="21238">
                  <c:v>41114</c:v>
                </c:pt>
                <c:pt idx="21239">
                  <c:v>41115</c:v>
                </c:pt>
                <c:pt idx="21240">
                  <c:v>41116</c:v>
                </c:pt>
                <c:pt idx="21241">
                  <c:v>41117</c:v>
                </c:pt>
                <c:pt idx="21242">
                  <c:v>41120</c:v>
                </c:pt>
                <c:pt idx="21243">
                  <c:v>41121</c:v>
                </c:pt>
                <c:pt idx="21244">
                  <c:v>41122</c:v>
                </c:pt>
                <c:pt idx="21245">
                  <c:v>41123</c:v>
                </c:pt>
                <c:pt idx="21246">
                  <c:v>41124</c:v>
                </c:pt>
                <c:pt idx="21247">
                  <c:v>41127</c:v>
                </c:pt>
                <c:pt idx="21248">
                  <c:v>41128</c:v>
                </c:pt>
                <c:pt idx="21249">
                  <c:v>41129</c:v>
                </c:pt>
                <c:pt idx="21250">
                  <c:v>41130</c:v>
                </c:pt>
                <c:pt idx="21251">
                  <c:v>41131</c:v>
                </c:pt>
                <c:pt idx="21252">
                  <c:v>41134</c:v>
                </c:pt>
                <c:pt idx="21253">
                  <c:v>41135</c:v>
                </c:pt>
                <c:pt idx="21254">
                  <c:v>41136</c:v>
                </c:pt>
                <c:pt idx="21255">
                  <c:v>41137</c:v>
                </c:pt>
                <c:pt idx="21256">
                  <c:v>41138</c:v>
                </c:pt>
                <c:pt idx="21257">
                  <c:v>41141</c:v>
                </c:pt>
                <c:pt idx="21258">
                  <c:v>41142</c:v>
                </c:pt>
                <c:pt idx="21259">
                  <c:v>41143</c:v>
                </c:pt>
                <c:pt idx="21260">
                  <c:v>41144</c:v>
                </c:pt>
                <c:pt idx="21261">
                  <c:v>41145</c:v>
                </c:pt>
                <c:pt idx="21262">
                  <c:v>41148</c:v>
                </c:pt>
                <c:pt idx="21263">
                  <c:v>41149</c:v>
                </c:pt>
                <c:pt idx="21264">
                  <c:v>41150</c:v>
                </c:pt>
                <c:pt idx="21265">
                  <c:v>41151</c:v>
                </c:pt>
                <c:pt idx="21266">
                  <c:v>41152</c:v>
                </c:pt>
                <c:pt idx="21267">
                  <c:v>41156</c:v>
                </c:pt>
                <c:pt idx="21268">
                  <c:v>41157</c:v>
                </c:pt>
                <c:pt idx="21269">
                  <c:v>41158</c:v>
                </c:pt>
                <c:pt idx="21270">
                  <c:v>41159</c:v>
                </c:pt>
                <c:pt idx="21271">
                  <c:v>41162</c:v>
                </c:pt>
                <c:pt idx="21272">
                  <c:v>41163</c:v>
                </c:pt>
                <c:pt idx="21273">
                  <c:v>41164</c:v>
                </c:pt>
                <c:pt idx="21274">
                  <c:v>41165</c:v>
                </c:pt>
                <c:pt idx="21275">
                  <c:v>41166</c:v>
                </c:pt>
                <c:pt idx="21276">
                  <c:v>41169</c:v>
                </c:pt>
                <c:pt idx="21277">
                  <c:v>41170</c:v>
                </c:pt>
                <c:pt idx="21278">
                  <c:v>41171</c:v>
                </c:pt>
                <c:pt idx="21279">
                  <c:v>41172</c:v>
                </c:pt>
                <c:pt idx="21280">
                  <c:v>41173</c:v>
                </c:pt>
                <c:pt idx="21281">
                  <c:v>41176</c:v>
                </c:pt>
                <c:pt idx="21282">
                  <c:v>41177</c:v>
                </c:pt>
                <c:pt idx="21283">
                  <c:v>41178</c:v>
                </c:pt>
                <c:pt idx="21284">
                  <c:v>41179</c:v>
                </c:pt>
                <c:pt idx="21285">
                  <c:v>41180</c:v>
                </c:pt>
                <c:pt idx="21286">
                  <c:v>41183</c:v>
                </c:pt>
                <c:pt idx="21287">
                  <c:v>41184</c:v>
                </c:pt>
                <c:pt idx="21288">
                  <c:v>41185</c:v>
                </c:pt>
                <c:pt idx="21289">
                  <c:v>41186</c:v>
                </c:pt>
                <c:pt idx="21290">
                  <c:v>41187</c:v>
                </c:pt>
                <c:pt idx="21291">
                  <c:v>41190</c:v>
                </c:pt>
                <c:pt idx="21292">
                  <c:v>41191</c:v>
                </c:pt>
                <c:pt idx="21293">
                  <c:v>41192</c:v>
                </c:pt>
                <c:pt idx="21294">
                  <c:v>41193</c:v>
                </c:pt>
                <c:pt idx="21295">
                  <c:v>41194</c:v>
                </c:pt>
                <c:pt idx="21296">
                  <c:v>41197</c:v>
                </c:pt>
                <c:pt idx="21297">
                  <c:v>41198</c:v>
                </c:pt>
                <c:pt idx="21298">
                  <c:v>41199</c:v>
                </c:pt>
                <c:pt idx="21299">
                  <c:v>41200</c:v>
                </c:pt>
                <c:pt idx="21300">
                  <c:v>41201</c:v>
                </c:pt>
                <c:pt idx="21301">
                  <c:v>41204</c:v>
                </c:pt>
                <c:pt idx="21302">
                  <c:v>41205</c:v>
                </c:pt>
                <c:pt idx="21303">
                  <c:v>41206</c:v>
                </c:pt>
                <c:pt idx="21304">
                  <c:v>41207</c:v>
                </c:pt>
                <c:pt idx="21305">
                  <c:v>41208</c:v>
                </c:pt>
                <c:pt idx="21306">
                  <c:v>41213</c:v>
                </c:pt>
                <c:pt idx="21307">
                  <c:v>41214</c:v>
                </c:pt>
                <c:pt idx="21308">
                  <c:v>41215</c:v>
                </c:pt>
                <c:pt idx="21309">
                  <c:v>41218</c:v>
                </c:pt>
                <c:pt idx="21310">
                  <c:v>41219</c:v>
                </c:pt>
                <c:pt idx="21311">
                  <c:v>41220</c:v>
                </c:pt>
                <c:pt idx="21312">
                  <c:v>41221</c:v>
                </c:pt>
                <c:pt idx="21313">
                  <c:v>41222</c:v>
                </c:pt>
                <c:pt idx="21314">
                  <c:v>41225</c:v>
                </c:pt>
                <c:pt idx="21315">
                  <c:v>41226</c:v>
                </c:pt>
                <c:pt idx="21316">
                  <c:v>41227</c:v>
                </c:pt>
                <c:pt idx="21317">
                  <c:v>41228</c:v>
                </c:pt>
                <c:pt idx="21318">
                  <c:v>41229</c:v>
                </c:pt>
                <c:pt idx="21319">
                  <c:v>41232</c:v>
                </c:pt>
                <c:pt idx="21320">
                  <c:v>41233</c:v>
                </c:pt>
                <c:pt idx="21321">
                  <c:v>41234</c:v>
                </c:pt>
                <c:pt idx="21322">
                  <c:v>41236</c:v>
                </c:pt>
                <c:pt idx="21323">
                  <c:v>41239</c:v>
                </c:pt>
                <c:pt idx="21324">
                  <c:v>41240</c:v>
                </c:pt>
                <c:pt idx="21325">
                  <c:v>41241</c:v>
                </c:pt>
                <c:pt idx="21326">
                  <c:v>41242</c:v>
                </c:pt>
                <c:pt idx="21327">
                  <c:v>41243</c:v>
                </c:pt>
                <c:pt idx="21328">
                  <c:v>41246</c:v>
                </c:pt>
                <c:pt idx="21329">
                  <c:v>41247</c:v>
                </c:pt>
                <c:pt idx="21330">
                  <c:v>41248</c:v>
                </c:pt>
                <c:pt idx="21331">
                  <c:v>41249</c:v>
                </c:pt>
                <c:pt idx="21332">
                  <c:v>41250</c:v>
                </c:pt>
                <c:pt idx="21333">
                  <c:v>41253</c:v>
                </c:pt>
                <c:pt idx="21334">
                  <c:v>41254</c:v>
                </c:pt>
                <c:pt idx="21335">
                  <c:v>41255</c:v>
                </c:pt>
                <c:pt idx="21336">
                  <c:v>41256</c:v>
                </c:pt>
                <c:pt idx="21337">
                  <c:v>41257</c:v>
                </c:pt>
                <c:pt idx="21338">
                  <c:v>41260</c:v>
                </c:pt>
                <c:pt idx="21339">
                  <c:v>41261</c:v>
                </c:pt>
                <c:pt idx="21340">
                  <c:v>41262</c:v>
                </c:pt>
                <c:pt idx="21341">
                  <c:v>41263</c:v>
                </c:pt>
                <c:pt idx="21342">
                  <c:v>41264</c:v>
                </c:pt>
                <c:pt idx="21343">
                  <c:v>41267</c:v>
                </c:pt>
                <c:pt idx="21344">
                  <c:v>41269</c:v>
                </c:pt>
                <c:pt idx="21345">
                  <c:v>41270</c:v>
                </c:pt>
                <c:pt idx="21346">
                  <c:v>41271</c:v>
                </c:pt>
                <c:pt idx="21347">
                  <c:v>41274</c:v>
                </c:pt>
                <c:pt idx="21348">
                  <c:v>41276</c:v>
                </c:pt>
                <c:pt idx="21349">
                  <c:v>41277</c:v>
                </c:pt>
                <c:pt idx="21350">
                  <c:v>41278</c:v>
                </c:pt>
                <c:pt idx="21351">
                  <c:v>41281</c:v>
                </c:pt>
                <c:pt idx="21352">
                  <c:v>41282</c:v>
                </c:pt>
                <c:pt idx="21353">
                  <c:v>41283</c:v>
                </c:pt>
                <c:pt idx="21354">
                  <c:v>41284</c:v>
                </c:pt>
                <c:pt idx="21355">
                  <c:v>41285</c:v>
                </c:pt>
                <c:pt idx="21356">
                  <c:v>41288</c:v>
                </c:pt>
                <c:pt idx="21357">
                  <c:v>41289</c:v>
                </c:pt>
                <c:pt idx="21358">
                  <c:v>41290</c:v>
                </c:pt>
                <c:pt idx="21359">
                  <c:v>41291</c:v>
                </c:pt>
                <c:pt idx="21360">
                  <c:v>41292</c:v>
                </c:pt>
                <c:pt idx="21361">
                  <c:v>41296</c:v>
                </c:pt>
                <c:pt idx="21362">
                  <c:v>41297</c:v>
                </c:pt>
                <c:pt idx="21363">
                  <c:v>41298</c:v>
                </c:pt>
                <c:pt idx="21364">
                  <c:v>41299</c:v>
                </c:pt>
                <c:pt idx="21365">
                  <c:v>41302</c:v>
                </c:pt>
                <c:pt idx="21366">
                  <c:v>41303</c:v>
                </c:pt>
                <c:pt idx="21367">
                  <c:v>41304</c:v>
                </c:pt>
                <c:pt idx="21368">
                  <c:v>41305</c:v>
                </c:pt>
                <c:pt idx="21369">
                  <c:v>41306</c:v>
                </c:pt>
                <c:pt idx="21370">
                  <c:v>41309</c:v>
                </c:pt>
                <c:pt idx="21371">
                  <c:v>41310</c:v>
                </c:pt>
                <c:pt idx="21372">
                  <c:v>41311</c:v>
                </c:pt>
                <c:pt idx="21373">
                  <c:v>41312</c:v>
                </c:pt>
                <c:pt idx="21374">
                  <c:v>41313</c:v>
                </c:pt>
                <c:pt idx="21375">
                  <c:v>41316</c:v>
                </c:pt>
                <c:pt idx="21376">
                  <c:v>41317</c:v>
                </c:pt>
                <c:pt idx="21377">
                  <c:v>41318</c:v>
                </c:pt>
                <c:pt idx="21378">
                  <c:v>41319</c:v>
                </c:pt>
                <c:pt idx="21379">
                  <c:v>41320</c:v>
                </c:pt>
                <c:pt idx="21380">
                  <c:v>41324</c:v>
                </c:pt>
                <c:pt idx="21381">
                  <c:v>41325</c:v>
                </c:pt>
                <c:pt idx="21382">
                  <c:v>41326</c:v>
                </c:pt>
                <c:pt idx="21383">
                  <c:v>41327</c:v>
                </c:pt>
                <c:pt idx="21384">
                  <c:v>41330</c:v>
                </c:pt>
                <c:pt idx="21385">
                  <c:v>41331</c:v>
                </c:pt>
                <c:pt idx="21386">
                  <c:v>41332</c:v>
                </c:pt>
                <c:pt idx="21387">
                  <c:v>41333</c:v>
                </c:pt>
                <c:pt idx="21388">
                  <c:v>41334</c:v>
                </c:pt>
                <c:pt idx="21389">
                  <c:v>41337</c:v>
                </c:pt>
                <c:pt idx="21390">
                  <c:v>41338</c:v>
                </c:pt>
                <c:pt idx="21391">
                  <c:v>41339</c:v>
                </c:pt>
                <c:pt idx="21392">
                  <c:v>41340</c:v>
                </c:pt>
                <c:pt idx="21393">
                  <c:v>41341</c:v>
                </c:pt>
                <c:pt idx="21394">
                  <c:v>41344</c:v>
                </c:pt>
                <c:pt idx="21395">
                  <c:v>41345</c:v>
                </c:pt>
                <c:pt idx="21396">
                  <c:v>41346</c:v>
                </c:pt>
                <c:pt idx="21397">
                  <c:v>41347</c:v>
                </c:pt>
                <c:pt idx="21398">
                  <c:v>41348</c:v>
                </c:pt>
                <c:pt idx="21399">
                  <c:v>41351</c:v>
                </c:pt>
                <c:pt idx="21400">
                  <c:v>41352</c:v>
                </c:pt>
                <c:pt idx="21401">
                  <c:v>41353</c:v>
                </c:pt>
                <c:pt idx="21402">
                  <c:v>41354</c:v>
                </c:pt>
                <c:pt idx="21403">
                  <c:v>41355</c:v>
                </c:pt>
                <c:pt idx="21404">
                  <c:v>41358</c:v>
                </c:pt>
                <c:pt idx="21405">
                  <c:v>41359</c:v>
                </c:pt>
                <c:pt idx="21406">
                  <c:v>41360</c:v>
                </c:pt>
                <c:pt idx="21407">
                  <c:v>41361</c:v>
                </c:pt>
                <c:pt idx="21408">
                  <c:v>41365</c:v>
                </c:pt>
                <c:pt idx="21409">
                  <c:v>41366</c:v>
                </c:pt>
                <c:pt idx="21410">
                  <c:v>41367</c:v>
                </c:pt>
                <c:pt idx="21411">
                  <c:v>41368</c:v>
                </c:pt>
                <c:pt idx="21412">
                  <c:v>41369</c:v>
                </c:pt>
                <c:pt idx="21413">
                  <c:v>41372</c:v>
                </c:pt>
                <c:pt idx="21414">
                  <c:v>41373</c:v>
                </c:pt>
                <c:pt idx="21415">
                  <c:v>41374</c:v>
                </c:pt>
                <c:pt idx="21416">
                  <c:v>41375</c:v>
                </c:pt>
                <c:pt idx="21417">
                  <c:v>41376</c:v>
                </c:pt>
                <c:pt idx="21418">
                  <c:v>41379</c:v>
                </c:pt>
                <c:pt idx="21419">
                  <c:v>41380</c:v>
                </c:pt>
                <c:pt idx="21420">
                  <c:v>41381</c:v>
                </c:pt>
                <c:pt idx="21421">
                  <c:v>41382</c:v>
                </c:pt>
                <c:pt idx="21422">
                  <c:v>41383</c:v>
                </c:pt>
                <c:pt idx="21423">
                  <c:v>41386</c:v>
                </c:pt>
                <c:pt idx="21424">
                  <c:v>41387</c:v>
                </c:pt>
                <c:pt idx="21425">
                  <c:v>41388</c:v>
                </c:pt>
                <c:pt idx="21426">
                  <c:v>41389</c:v>
                </c:pt>
                <c:pt idx="21427">
                  <c:v>41390</c:v>
                </c:pt>
                <c:pt idx="21428">
                  <c:v>41393</c:v>
                </c:pt>
                <c:pt idx="21429">
                  <c:v>41394</c:v>
                </c:pt>
                <c:pt idx="21430">
                  <c:v>41395</c:v>
                </c:pt>
                <c:pt idx="21431">
                  <c:v>41396</c:v>
                </c:pt>
                <c:pt idx="21432">
                  <c:v>41397</c:v>
                </c:pt>
                <c:pt idx="21433">
                  <c:v>41400</c:v>
                </c:pt>
                <c:pt idx="21434">
                  <c:v>41401</c:v>
                </c:pt>
                <c:pt idx="21435">
                  <c:v>41402</c:v>
                </c:pt>
                <c:pt idx="21436">
                  <c:v>41403</c:v>
                </c:pt>
                <c:pt idx="21437">
                  <c:v>41404</c:v>
                </c:pt>
                <c:pt idx="21438">
                  <c:v>41407</c:v>
                </c:pt>
                <c:pt idx="21439">
                  <c:v>41408</c:v>
                </c:pt>
                <c:pt idx="21440">
                  <c:v>41409</c:v>
                </c:pt>
                <c:pt idx="21441">
                  <c:v>41410</c:v>
                </c:pt>
                <c:pt idx="21442">
                  <c:v>41411</c:v>
                </c:pt>
                <c:pt idx="21443">
                  <c:v>41414</c:v>
                </c:pt>
                <c:pt idx="21444">
                  <c:v>41415</c:v>
                </c:pt>
                <c:pt idx="21445">
                  <c:v>41416</c:v>
                </c:pt>
                <c:pt idx="21446">
                  <c:v>41417</c:v>
                </c:pt>
                <c:pt idx="21447">
                  <c:v>41418</c:v>
                </c:pt>
                <c:pt idx="21448">
                  <c:v>41422</c:v>
                </c:pt>
                <c:pt idx="21449">
                  <c:v>41423</c:v>
                </c:pt>
                <c:pt idx="21450">
                  <c:v>41424</c:v>
                </c:pt>
                <c:pt idx="21451">
                  <c:v>41425</c:v>
                </c:pt>
                <c:pt idx="21452">
                  <c:v>41428</c:v>
                </c:pt>
                <c:pt idx="21453">
                  <c:v>41429</c:v>
                </c:pt>
                <c:pt idx="21454">
                  <c:v>41430</c:v>
                </c:pt>
                <c:pt idx="21455">
                  <c:v>41431</c:v>
                </c:pt>
                <c:pt idx="21456">
                  <c:v>41432</c:v>
                </c:pt>
                <c:pt idx="21457">
                  <c:v>41435</c:v>
                </c:pt>
                <c:pt idx="21458">
                  <c:v>41436</c:v>
                </c:pt>
                <c:pt idx="21459">
                  <c:v>41437</c:v>
                </c:pt>
                <c:pt idx="21460">
                  <c:v>41438</c:v>
                </c:pt>
                <c:pt idx="21461">
                  <c:v>41439</c:v>
                </c:pt>
                <c:pt idx="21462">
                  <c:v>41442</c:v>
                </c:pt>
                <c:pt idx="21463">
                  <c:v>41443</c:v>
                </c:pt>
                <c:pt idx="21464">
                  <c:v>41444</c:v>
                </c:pt>
                <c:pt idx="21465">
                  <c:v>41445</c:v>
                </c:pt>
                <c:pt idx="21466">
                  <c:v>41446</c:v>
                </c:pt>
                <c:pt idx="21467">
                  <c:v>41449</c:v>
                </c:pt>
                <c:pt idx="21468">
                  <c:v>41450</c:v>
                </c:pt>
                <c:pt idx="21469">
                  <c:v>41451</c:v>
                </c:pt>
                <c:pt idx="21470">
                  <c:v>41452</c:v>
                </c:pt>
                <c:pt idx="21471">
                  <c:v>41453</c:v>
                </c:pt>
                <c:pt idx="21472">
                  <c:v>41456</c:v>
                </c:pt>
                <c:pt idx="21473">
                  <c:v>41457</c:v>
                </c:pt>
                <c:pt idx="21474">
                  <c:v>41458</c:v>
                </c:pt>
                <c:pt idx="21475">
                  <c:v>41460</c:v>
                </c:pt>
                <c:pt idx="21476">
                  <c:v>41463</c:v>
                </c:pt>
                <c:pt idx="21477">
                  <c:v>41464</c:v>
                </c:pt>
                <c:pt idx="21478">
                  <c:v>41465</c:v>
                </c:pt>
                <c:pt idx="21479">
                  <c:v>41466</c:v>
                </c:pt>
                <c:pt idx="21480">
                  <c:v>41467</c:v>
                </c:pt>
                <c:pt idx="21481">
                  <c:v>41470</c:v>
                </c:pt>
                <c:pt idx="21482">
                  <c:v>41471</c:v>
                </c:pt>
                <c:pt idx="21483">
                  <c:v>41472</c:v>
                </c:pt>
                <c:pt idx="21484">
                  <c:v>41473</c:v>
                </c:pt>
                <c:pt idx="21485">
                  <c:v>41474</c:v>
                </c:pt>
                <c:pt idx="21486">
                  <c:v>41477</c:v>
                </c:pt>
                <c:pt idx="21487">
                  <c:v>41478</c:v>
                </c:pt>
                <c:pt idx="21488">
                  <c:v>41479</c:v>
                </c:pt>
                <c:pt idx="21489">
                  <c:v>41480</c:v>
                </c:pt>
                <c:pt idx="21490">
                  <c:v>41481</c:v>
                </c:pt>
                <c:pt idx="21491">
                  <c:v>41484</c:v>
                </c:pt>
                <c:pt idx="21492">
                  <c:v>41485</c:v>
                </c:pt>
                <c:pt idx="21493">
                  <c:v>41486</c:v>
                </c:pt>
                <c:pt idx="21494">
                  <c:v>41487</c:v>
                </c:pt>
                <c:pt idx="21495">
                  <c:v>41488</c:v>
                </c:pt>
                <c:pt idx="21496">
                  <c:v>41491</c:v>
                </c:pt>
                <c:pt idx="21497">
                  <c:v>41492</c:v>
                </c:pt>
                <c:pt idx="21498">
                  <c:v>41493</c:v>
                </c:pt>
                <c:pt idx="21499">
                  <c:v>41494</c:v>
                </c:pt>
                <c:pt idx="21500">
                  <c:v>41495</c:v>
                </c:pt>
                <c:pt idx="21501">
                  <c:v>41498</c:v>
                </c:pt>
                <c:pt idx="21502">
                  <c:v>41499</c:v>
                </c:pt>
                <c:pt idx="21503">
                  <c:v>41500</c:v>
                </c:pt>
                <c:pt idx="21504">
                  <c:v>41501</c:v>
                </c:pt>
                <c:pt idx="21505">
                  <c:v>41502</c:v>
                </c:pt>
                <c:pt idx="21506">
                  <c:v>41505</c:v>
                </c:pt>
                <c:pt idx="21507">
                  <c:v>41506</c:v>
                </c:pt>
                <c:pt idx="21508">
                  <c:v>41507</c:v>
                </c:pt>
                <c:pt idx="21509">
                  <c:v>41508</c:v>
                </c:pt>
                <c:pt idx="21510">
                  <c:v>41509</c:v>
                </c:pt>
                <c:pt idx="21511">
                  <c:v>41512</c:v>
                </c:pt>
                <c:pt idx="21512">
                  <c:v>41513</c:v>
                </c:pt>
                <c:pt idx="21513">
                  <c:v>41514</c:v>
                </c:pt>
                <c:pt idx="21514">
                  <c:v>41515</c:v>
                </c:pt>
                <c:pt idx="21515">
                  <c:v>41516</c:v>
                </c:pt>
                <c:pt idx="21516">
                  <c:v>41520</c:v>
                </c:pt>
                <c:pt idx="21517">
                  <c:v>41521</c:v>
                </c:pt>
                <c:pt idx="21518">
                  <c:v>41522</c:v>
                </c:pt>
                <c:pt idx="21519">
                  <c:v>41523</c:v>
                </c:pt>
                <c:pt idx="21520">
                  <c:v>41526</c:v>
                </c:pt>
                <c:pt idx="21521">
                  <c:v>41527</c:v>
                </c:pt>
                <c:pt idx="21522">
                  <c:v>41528</c:v>
                </c:pt>
                <c:pt idx="21523">
                  <c:v>41529</c:v>
                </c:pt>
                <c:pt idx="21524">
                  <c:v>41530</c:v>
                </c:pt>
                <c:pt idx="21525">
                  <c:v>41533</c:v>
                </c:pt>
                <c:pt idx="21526">
                  <c:v>41534</c:v>
                </c:pt>
                <c:pt idx="21527">
                  <c:v>41535</c:v>
                </c:pt>
                <c:pt idx="21528">
                  <c:v>41536</c:v>
                </c:pt>
                <c:pt idx="21529">
                  <c:v>41537</c:v>
                </c:pt>
                <c:pt idx="21530">
                  <c:v>41540</c:v>
                </c:pt>
                <c:pt idx="21531">
                  <c:v>41541</c:v>
                </c:pt>
                <c:pt idx="21532">
                  <c:v>41542</c:v>
                </c:pt>
                <c:pt idx="21533">
                  <c:v>41543</c:v>
                </c:pt>
                <c:pt idx="21534">
                  <c:v>41544</c:v>
                </c:pt>
                <c:pt idx="21535">
                  <c:v>41547</c:v>
                </c:pt>
                <c:pt idx="21536">
                  <c:v>41548</c:v>
                </c:pt>
                <c:pt idx="21537">
                  <c:v>41549</c:v>
                </c:pt>
                <c:pt idx="21538">
                  <c:v>41550</c:v>
                </c:pt>
                <c:pt idx="21539">
                  <c:v>41551</c:v>
                </c:pt>
                <c:pt idx="21540">
                  <c:v>41554</c:v>
                </c:pt>
                <c:pt idx="21541">
                  <c:v>41555</c:v>
                </c:pt>
                <c:pt idx="21542">
                  <c:v>41556</c:v>
                </c:pt>
                <c:pt idx="21543">
                  <c:v>41557</c:v>
                </c:pt>
                <c:pt idx="21544">
                  <c:v>41558</c:v>
                </c:pt>
                <c:pt idx="21545">
                  <c:v>41561</c:v>
                </c:pt>
                <c:pt idx="21546">
                  <c:v>41562</c:v>
                </c:pt>
                <c:pt idx="21547">
                  <c:v>41563</c:v>
                </c:pt>
                <c:pt idx="21548">
                  <c:v>41564</c:v>
                </c:pt>
                <c:pt idx="21549">
                  <c:v>41565</c:v>
                </c:pt>
                <c:pt idx="21550">
                  <c:v>41568</c:v>
                </c:pt>
                <c:pt idx="21551">
                  <c:v>41569</c:v>
                </c:pt>
                <c:pt idx="21552">
                  <c:v>41570</c:v>
                </c:pt>
                <c:pt idx="21553">
                  <c:v>41571</c:v>
                </c:pt>
                <c:pt idx="21554">
                  <c:v>41572</c:v>
                </c:pt>
                <c:pt idx="21555">
                  <c:v>41575</c:v>
                </c:pt>
                <c:pt idx="21556">
                  <c:v>41576</c:v>
                </c:pt>
                <c:pt idx="21557">
                  <c:v>41577</c:v>
                </c:pt>
                <c:pt idx="21558">
                  <c:v>41578</c:v>
                </c:pt>
                <c:pt idx="21559">
                  <c:v>41579</c:v>
                </c:pt>
                <c:pt idx="21560">
                  <c:v>41582</c:v>
                </c:pt>
                <c:pt idx="21561">
                  <c:v>41583</c:v>
                </c:pt>
                <c:pt idx="21562">
                  <c:v>41584</c:v>
                </c:pt>
                <c:pt idx="21563">
                  <c:v>41585</c:v>
                </c:pt>
                <c:pt idx="21564">
                  <c:v>41586</c:v>
                </c:pt>
                <c:pt idx="21565">
                  <c:v>41589</c:v>
                </c:pt>
                <c:pt idx="21566">
                  <c:v>41590</c:v>
                </c:pt>
                <c:pt idx="21567">
                  <c:v>41591</c:v>
                </c:pt>
                <c:pt idx="21568">
                  <c:v>41592</c:v>
                </c:pt>
                <c:pt idx="21569">
                  <c:v>41593</c:v>
                </c:pt>
                <c:pt idx="21570">
                  <c:v>41596</c:v>
                </c:pt>
                <c:pt idx="21571">
                  <c:v>41597</c:v>
                </c:pt>
                <c:pt idx="21572">
                  <c:v>41598</c:v>
                </c:pt>
                <c:pt idx="21573">
                  <c:v>41599</c:v>
                </c:pt>
                <c:pt idx="21574">
                  <c:v>41600</c:v>
                </c:pt>
                <c:pt idx="21575">
                  <c:v>41603</c:v>
                </c:pt>
                <c:pt idx="21576">
                  <c:v>41604</c:v>
                </c:pt>
                <c:pt idx="21577">
                  <c:v>41605</c:v>
                </c:pt>
                <c:pt idx="21578">
                  <c:v>41607</c:v>
                </c:pt>
                <c:pt idx="21579">
                  <c:v>41610</c:v>
                </c:pt>
                <c:pt idx="21580">
                  <c:v>41611</c:v>
                </c:pt>
                <c:pt idx="21581">
                  <c:v>41612</c:v>
                </c:pt>
                <c:pt idx="21582">
                  <c:v>41613</c:v>
                </c:pt>
                <c:pt idx="21583">
                  <c:v>41614</c:v>
                </c:pt>
                <c:pt idx="21584">
                  <c:v>41617</c:v>
                </c:pt>
                <c:pt idx="21585">
                  <c:v>41618</c:v>
                </c:pt>
                <c:pt idx="21586">
                  <c:v>41619</c:v>
                </c:pt>
                <c:pt idx="21587">
                  <c:v>41620</c:v>
                </c:pt>
                <c:pt idx="21588">
                  <c:v>41621</c:v>
                </c:pt>
                <c:pt idx="21589">
                  <c:v>41624</c:v>
                </c:pt>
                <c:pt idx="21590">
                  <c:v>41625</c:v>
                </c:pt>
                <c:pt idx="21591">
                  <c:v>41626</c:v>
                </c:pt>
                <c:pt idx="21592">
                  <c:v>41627</c:v>
                </c:pt>
                <c:pt idx="21593">
                  <c:v>41628</c:v>
                </c:pt>
                <c:pt idx="21594">
                  <c:v>41631</c:v>
                </c:pt>
                <c:pt idx="21595">
                  <c:v>41632</c:v>
                </c:pt>
                <c:pt idx="21596">
                  <c:v>41634</c:v>
                </c:pt>
                <c:pt idx="21597">
                  <c:v>41635</c:v>
                </c:pt>
                <c:pt idx="21598">
                  <c:v>41638</c:v>
                </c:pt>
                <c:pt idx="21599">
                  <c:v>41639</c:v>
                </c:pt>
                <c:pt idx="21600">
                  <c:v>41641</c:v>
                </c:pt>
                <c:pt idx="21601">
                  <c:v>41642</c:v>
                </c:pt>
                <c:pt idx="21602">
                  <c:v>41645</c:v>
                </c:pt>
                <c:pt idx="21603">
                  <c:v>41646</c:v>
                </c:pt>
                <c:pt idx="21604">
                  <c:v>41647</c:v>
                </c:pt>
                <c:pt idx="21605">
                  <c:v>41648</c:v>
                </c:pt>
                <c:pt idx="21606">
                  <c:v>41649</c:v>
                </c:pt>
                <c:pt idx="21607">
                  <c:v>41652</c:v>
                </c:pt>
                <c:pt idx="21608">
                  <c:v>41653</c:v>
                </c:pt>
                <c:pt idx="21609">
                  <c:v>41654</c:v>
                </c:pt>
                <c:pt idx="21610">
                  <c:v>41655</c:v>
                </c:pt>
                <c:pt idx="21611">
                  <c:v>41656</c:v>
                </c:pt>
                <c:pt idx="21612">
                  <c:v>41660</c:v>
                </c:pt>
                <c:pt idx="21613">
                  <c:v>41661</c:v>
                </c:pt>
                <c:pt idx="21614">
                  <c:v>41662</c:v>
                </c:pt>
                <c:pt idx="21615">
                  <c:v>41663</c:v>
                </c:pt>
                <c:pt idx="21616">
                  <c:v>41666</c:v>
                </c:pt>
                <c:pt idx="21617">
                  <c:v>41667</c:v>
                </c:pt>
                <c:pt idx="21618">
                  <c:v>41668</c:v>
                </c:pt>
                <c:pt idx="21619">
                  <c:v>41669</c:v>
                </c:pt>
                <c:pt idx="21620">
                  <c:v>41670</c:v>
                </c:pt>
                <c:pt idx="21621">
                  <c:v>41673</c:v>
                </c:pt>
                <c:pt idx="21622">
                  <c:v>41674</c:v>
                </c:pt>
                <c:pt idx="21623">
                  <c:v>41675</c:v>
                </c:pt>
                <c:pt idx="21624">
                  <c:v>41676</c:v>
                </c:pt>
                <c:pt idx="21625">
                  <c:v>41677</c:v>
                </c:pt>
                <c:pt idx="21626">
                  <c:v>41680</c:v>
                </c:pt>
                <c:pt idx="21627">
                  <c:v>41681</c:v>
                </c:pt>
                <c:pt idx="21628">
                  <c:v>41682</c:v>
                </c:pt>
                <c:pt idx="21629">
                  <c:v>41683</c:v>
                </c:pt>
                <c:pt idx="21630">
                  <c:v>41684</c:v>
                </c:pt>
                <c:pt idx="21631">
                  <c:v>41688</c:v>
                </c:pt>
                <c:pt idx="21632">
                  <c:v>41689</c:v>
                </c:pt>
                <c:pt idx="21633">
                  <c:v>41690</c:v>
                </c:pt>
                <c:pt idx="21634">
                  <c:v>41691</c:v>
                </c:pt>
                <c:pt idx="21635">
                  <c:v>41694</c:v>
                </c:pt>
                <c:pt idx="21636">
                  <c:v>41695</c:v>
                </c:pt>
                <c:pt idx="21637">
                  <c:v>41696</c:v>
                </c:pt>
                <c:pt idx="21638">
                  <c:v>41697</c:v>
                </c:pt>
                <c:pt idx="21639">
                  <c:v>41698</c:v>
                </c:pt>
                <c:pt idx="21640">
                  <c:v>41701</c:v>
                </c:pt>
                <c:pt idx="21641">
                  <c:v>41702</c:v>
                </c:pt>
                <c:pt idx="21642">
                  <c:v>41703</c:v>
                </c:pt>
                <c:pt idx="21643">
                  <c:v>41704</c:v>
                </c:pt>
                <c:pt idx="21644">
                  <c:v>41705</c:v>
                </c:pt>
                <c:pt idx="21645">
                  <c:v>41708</c:v>
                </c:pt>
                <c:pt idx="21646">
                  <c:v>41709</c:v>
                </c:pt>
                <c:pt idx="21647">
                  <c:v>41710</c:v>
                </c:pt>
                <c:pt idx="21648">
                  <c:v>41711</c:v>
                </c:pt>
                <c:pt idx="21649">
                  <c:v>41712</c:v>
                </c:pt>
                <c:pt idx="21650">
                  <c:v>41715</c:v>
                </c:pt>
                <c:pt idx="21651">
                  <c:v>41716</c:v>
                </c:pt>
                <c:pt idx="21652">
                  <c:v>41717</c:v>
                </c:pt>
                <c:pt idx="21653">
                  <c:v>41718</c:v>
                </c:pt>
                <c:pt idx="21654">
                  <c:v>41719</c:v>
                </c:pt>
                <c:pt idx="21655">
                  <c:v>41722</c:v>
                </c:pt>
                <c:pt idx="21656">
                  <c:v>41723</c:v>
                </c:pt>
                <c:pt idx="21657">
                  <c:v>41724</c:v>
                </c:pt>
                <c:pt idx="21658">
                  <c:v>41725</c:v>
                </c:pt>
                <c:pt idx="21659">
                  <c:v>41726</c:v>
                </c:pt>
                <c:pt idx="21660">
                  <c:v>41729</c:v>
                </c:pt>
                <c:pt idx="21661">
                  <c:v>41730</c:v>
                </c:pt>
                <c:pt idx="21662">
                  <c:v>41731</c:v>
                </c:pt>
                <c:pt idx="21663">
                  <c:v>41732</c:v>
                </c:pt>
                <c:pt idx="21664">
                  <c:v>41733</c:v>
                </c:pt>
                <c:pt idx="21665">
                  <c:v>41736</c:v>
                </c:pt>
                <c:pt idx="21666">
                  <c:v>41737</c:v>
                </c:pt>
                <c:pt idx="21667">
                  <c:v>41738</c:v>
                </c:pt>
                <c:pt idx="21668">
                  <c:v>41739</c:v>
                </c:pt>
                <c:pt idx="21669">
                  <c:v>41740</c:v>
                </c:pt>
                <c:pt idx="21670">
                  <c:v>41743</c:v>
                </c:pt>
                <c:pt idx="21671">
                  <c:v>41744</c:v>
                </c:pt>
                <c:pt idx="21672">
                  <c:v>41745</c:v>
                </c:pt>
                <c:pt idx="21673">
                  <c:v>41746</c:v>
                </c:pt>
                <c:pt idx="21674">
                  <c:v>41750</c:v>
                </c:pt>
                <c:pt idx="21675">
                  <c:v>41751</c:v>
                </c:pt>
                <c:pt idx="21676">
                  <c:v>41752</c:v>
                </c:pt>
                <c:pt idx="21677">
                  <c:v>41753</c:v>
                </c:pt>
                <c:pt idx="21678">
                  <c:v>41754</c:v>
                </c:pt>
                <c:pt idx="21679">
                  <c:v>41757</c:v>
                </c:pt>
                <c:pt idx="21680">
                  <c:v>41758</c:v>
                </c:pt>
                <c:pt idx="21681">
                  <c:v>41759</c:v>
                </c:pt>
                <c:pt idx="21682">
                  <c:v>41760</c:v>
                </c:pt>
                <c:pt idx="21683">
                  <c:v>41761</c:v>
                </c:pt>
                <c:pt idx="21684">
                  <c:v>41764</c:v>
                </c:pt>
                <c:pt idx="21685">
                  <c:v>41765</c:v>
                </c:pt>
                <c:pt idx="21686">
                  <c:v>41766</c:v>
                </c:pt>
                <c:pt idx="21687">
                  <c:v>41767</c:v>
                </c:pt>
                <c:pt idx="21688">
                  <c:v>41768</c:v>
                </c:pt>
                <c:pt idx="21689">
                  <c:v>41771</c:v>
                </c:pt>
                <c:pt idx="21690">
                  <c:v>41772</c:v>
                </c:pt>
                <c:pt idx="21691">
                  <c:v>41773</c:v>
                </c:pt>
                <c:pt idx="21692">
                  <c:v>41774</c:v>
                </c:pt>
                <c:pt idx="21693">
                  <c:v>41775</c:v>
                </c:pt>
                <c:pt idx="21694">
                  <c:v>41778</c:v>
                </c:pt>
                <c:pt idx="21695">
                  <c:v>41779</c:v>
                </c:pt>
                <c:pt idx="21696">
                  <c:v>41780</c:v>
                </c:pt>
                <c:pt idx="21697">
                  <c:v>41781</c:v>
                </c:pt>
                <c:pt idx="21698">
                  <c:v>41782</c:v>
                </c:pt>
                <c:pt idx="21699">
                  <c:v>41786</c:v>
                </c:pt>
                <c:pt idx="21700">
                  <c:v>41787</c:v>
                </c:pt>
                <c:pt idx="21701">
                  <c:v>41788</c:v>
                </c:pt>
                <c:pt idx="21702">
                  <c:v>41789</c:v>
                </c:pt>
                <c:pt idx="21703">
                  <c:v>41792</c:v>
                </c:pt>
                <c:pt idx="21704">
                  <c:v>41793</c:v>
                </c:pt>
                <c:pt idx="21705">
                  <c:v>41794</c:v>
                </c:pt>
                <c:pt idx="21706">
                  <c:v>41795</c:v>
                </c:pt>
                <c:pt idx="21707">
                  <c:v>41796</c:v>
                </c:pt>
                <c:pt idx="21708">
                  <c:v>41799</c:v>
                </c:pt>
                <c:pt idx="21709">
                  <c:v>41800</c:v>
                </c:pt>
                <c:pt idx="21710">
                  <c:v>41801</c:v>
                </c:pt>
                <c:pt idx="21711">
                  <c:v>41802</c:v>
                </c:pt>
                <c:pt idx="21712">
                  <c:v>41803</c:v>
                </c:pt>
                <c:pt idx="21713">
                  <c:v>41806</c:v>
                </c:pt>
                <c:pt idx="21714">
                  <c:v>41807</c:v>
                </c:pt>
                <c:pt idx="21715">
                  <c:v>41808</c:v>
                </c:pt>
                <c:pt idx="21716">
                  <c:v>41809</c:v>
                </c:pt>
                <c:pt idx="21717">
                  <c:v>41810</c:v>
                </c:pt>
                <c:pt idx="21718">
                  <c:v>41813</c:v>
                </c:pt>
                <c:pt idx="21719">
                  <c:v>41814</c:v>
                </c:pt>
                <c:pt idx="21720">
                  <c:v>41815</c:v>
                </c:pt>
                <c:pt idx="21721">
                  <c:v>41816</c:v>
                </c:pt>
                <c:pt idx="21722">
                  <c:v>41817</c:v>
                </c:pt>
                <c:pt idx="21723">
                  <c:v>41820</c:v>
                </c:pt>
                <c:pt idx="21724">
                  <c:v>41821</c:v>
                </c:pt>
                <c:pt idx="21725">
                  <c:v>41822</c:v>
                </c:pt>
                <c:pt idx="21726">
                  <c:v>41823</c:v>
                </c:pt>
                <c:pt idx="21727">
                  <c:v>41827</c:v>
                </c:pt>
                <c:pt idx="21728">
                  <c:v>41828</c:v>
                </c:pt>
                <c:pt idx="21729">
                  <c:v>41829</c:v>
                </c:pt>
                <c:pt idx="21730">
                  <c:v>41830</c:v>
                </c:pt>
                <c:pt idx="21731">
                  <c:v>41831</c:v>
                </c:pt>
                <c:pt idx="21732">
                  <c:v>41834</c:v>
                </c:pt>
                <c:pt idx="21733">
                  <c:v>41835</c:v>
                </c:pt>
                <c:pt idx="21734">
                  <c:v>41836</c:v>
                </c:pt>
                <c:pt idx="21735">
                  <c:v>41837</c:v>
                </c:pt>
                <c:pt idx="21736">
                  <c:v>41838</c:v>
                </c:pt>
                <c:pt idx="21737">
                  <c:v>41841</c:v>
                </c:pt>
                <c:pt idx="21738">
                  <c:v>41842</c:v>
                </c:pt>
                <c:pt idx="21739">
                  <c:v>41843</c:v>
                </c:pt>
                <c:pt idx="21740">
                  <c:v>41844</c:v>
                </c:pt>
                <c:pt idx="21741">
                  <c:v>41845</c:v>
                </c:pt>
                <c:pt idx="21742">
                  <c:v>41848</c:v>
                </c:pt>
                <c:pt idx="21743">
                  <c:v>41849</c:v>
                </c:pt>
                <c:pt idx="21744">
                  <c:v>41850</c:v>
                </c:pt>
                <c:pt idx="21745">
                  <c:v>41851</c:v>
                </c:pt>
                <c:pt idx="21746">
                  <c:v>41852</c:v>
                </c:pt>
                <c:pt idx="21747">
                  <c:v>41855</c:v>
                </c:pt>
                <c:pt idx="21748">
                  <c:v>41856</c:v>
                </c:pt>
                <c:pt idx="21749">
                  <c:v>41857</c:v>
                </c:pt>
                <c:pt idx="21750">
                  <c:v>41858</c:v>
                </c:pt>
                <c:pt idx="21751">
                  <c:v>41859</c:v>
                </c:pt>
                <c:pt idx="21752">
                  <c:v>41862</c:v>
                </c:pt>
                <c:pt idx="21753">
                  <c:v>41863</c:v>
                </c:pt>
                <c:pt idx="21754">
                  <c:v>41864</c:v>
                </c:pt>
                <c:pt idx="21755">
                  <c:v>41865</c:v>
                </c:pt>
                <c:pt idx="21756">
                  <c:v>41866</c:v>
                </c:pt>
                <c:pt idx="21757">
                  <c:v>41869</c:v>
                </c:pt>
                <c:pt idx="21758">
                  <c:v>41870</c:v>
                </c:pt>
                <c:pt idx="21759">
                  <c:v>41871</c:v>
                </c:pt>
                <c:pt idx="21760">
                  <c:v>41872</c:v>
                </c:pt>
                <c:pt idx="21761">
                  <c:v>41873</c:v>
                </c:pt>
                <c:pt idx="21762">
                  <c:v>41876</c:v>
                </c:pt>
                <c:pt idx="21763">
                  <c:v>41877</c:v>
                </c:pt>
                <c:pt idx="21764">
                  <c:v>41878</c:v>
                </c:pt>
                <c:pt idx="21765">
                  <c:v>41879</c:v>
                </c:pt>
                <c:pt idx="21766">
                  <c:v>41880</c:v>
                </c:pt>
                <c:pt idx="21767">
                  <c:v>41884</c:v>
                </c:pt>
                <c:pt idx="21768">
                  <c:v>41885</c:v>
                </c:pt>
                <c:pt idx="21769">
                  <c:v>41886</c:v>
                </c:pt>
                <c:pt idx="21770">
                  <c:v>41887</c:v>
                </c:pt>
                <c:pt idx="21771">
                  <c:v>41890</c:v>
                </c:pt>
                <c:pt idx="21772">
                  <c:v>41891</c:v>
                </c:pt>
                <c:pt idx="21773">
                  <c:v>41892</c:v>
                </c:pt>
                <c:pt idx="21774">
                  <c:v>41893</c:v>
                </c:pt>
                <c:pt idx="21775">
                  <c:v>41894</c:v>
                </c:pt>
                <c:pt idx="21776">
                  <c:v>41897</c:v>
                </c:pt>
                <c:pt idx="21777">
                  <c:v>41898</c:v>
                </c:pt>
                <c:pt idx="21778">
                  <c:v>41899</c:v>
                </c:pt>
                <c:pt idx="21779">
                  <c:v>41900</c:v>
                </c:pt>
                <c:pt idx="21780">
                  <c:v>41901</c:v>
                </c:pt>
                <c:pt idx="21781">
                  <c:v>41904</c:v>
                </c:pt>
                <c:pt idx="21782">
                  <c:v>41905</c:v>
                </c:pt>
                <c:pt idx="21783">
                  <c:v>41906</c:v>
                </c:pt>
                <c:pt idx="21784">
                  <c:v>41907</c:v>
                </c:pt>
                <c:pt idx="21785">
                  <c:v>41908</c:v>
                </c:pt>
                <c:pt idx="21786">
                  <c:v>41911</c:v>
                </c:pt>
                <c:pt idx="21787">
                  <c:v>41912</c:v>
                </c:pt>
                <c:pt idx="21788">
                  <c:v>41913</c:v>
                </c:pt>
                <c:pt idx="21789">
                  <c:v>41914</c:v>
                </c:pt>
                <c:pt idx="21790">
                  <c:v>41915</c:v>
                </c:pt>
                <c:pt idx="21791">
                  <c:v>41918</c:v>
                </c:pt>
                <c:pt idx="21792">
                  <c:v>41919</c:v>
                </c:pt>
                <c:pt idx="21793">
                  <c:v>41920</c:v>
                </c:pt>
                <c:pt idx="21794">
                  <c:v>41921</c:v>
                </c:pt>
                <c:pt idx="21795">
                  <c:v>41922</c:v>
                </c:pt>
                <c:pt idx="21796">
                  <c:v>41925</c:v>
                </c:pt>
                <c:pt idx="21797">
                  <c:v>41926</c:v>
                </c:pt>
                <c:pt idx="21798">
                  <c:v>41927</c:v>
                </c:pt>
                <c:pt idx="21799">
                  <c:v>41928</c:v>
                </c:pt>
                <c:pt idx="21800">
                  <c:v>41929</c:v>
                </c:pt>
                <c:pt idx="21801">
                  <c:v>41932</c:v>
                </c:pt>
                <c:pt idx="21802">
                  <c:v>41933</c:v>
                </c:pt>
                <c:pt idx="21803">
                  <c:v>41934</c:v>
                </c:pt>
                <c:pt idx="21804">
                  <c:v>41935</c:v>
                </c:pt>
                <c:pt idx="21805">
                  <c:v>41936</c:v>
                </c:pt>
                <c:pt idx="21806">
                  <c:v>41939</c:v>
                </c:pt>
                <c:pt idx="21807">
                  <c:v>41940</c:v>
                </c:pt>
                <c:pt idx="21808">
                  <c:v>41941</c:v>
                </c:pt>
                <c:pt idx="21809">
                  <c:v>41942</c:v>
                </c:pt>
                <c:pt idx="21810">
                  <c:v>41943</c:v>
                </c:pt>
                <c:pt idx="21811">
                  <c:v>41946</c:v>
                </c:pt>
                <c:pt idx="21812">
                  <c:v>41947</c:v>
                </c:pt>
                <c:pt idx="21813">
                  <c:v>41948</c:v>
                </c:pt>
                <c:pt idx="21814">
                  <c:v>41949</c:v>
                </c:pt>
                <c:pt idx="21815">
                  <c:v>41950</c:v>
                </c:pt>
                <c:pt idx="21816">
                  <c:v>41953</c:v>
                </c:pt>
                <c:pt idx="21817">
                  <c:v>41954</c:v>
                </c:pt>
                <c:pt idx="21818">
                  <c:v>41955</c:v>
                </c:pt>
                <c:pt idx="21819">
                  <c:v>41956</c:v>
                </c:pt>
                <c:pt idx="21820">
                  <c:v>41957</c:v>
                </c:pt>
                <c:pt idx="21821">
                  <c:v>41960</c:v>
                </c:pt>
                <c:pt idx="21822">
                  <c:v>41961</c:v>
                </c:pt>
                <c:pt idx="21823">
                  <c:v>41962</c:v>
                </c:pt>
                <c:pt idx="21824">
                  <c:v>41963</c:v>
                </c:pt>
                <c:pt idx="21825">
                  <c:v>41964</c:v>
                </c:pt>
                <c:pt idx="21826">
                  <c:v>41967</c:v>
                </c:pt>
                <c:pt idx="21827">
                  <c:v>41968</c:v>
                </c:pt>
                <c:pt idx="21828">
                  <c:v>41969</c:v>
                </c:pt>
                <c:pt idx="21829">
                  <c:v>41971</c:v>
                </c:pt>
                <c:pt idx="21830">
                  <c:v>41974</c:v>
                </c:pt>
                <c:pt idx="21831">
                  <c:v>41975</c:v>
                </c:pt>
                <c:pt idx="21832">
                  <c:v>41976</c:v>
                </c:pt>
                <c:pt idx="21833">
                  <c:v>41977</c:v>
                </c:pt>
                <c:pt idx="21834">
                  <c:v>41978</c:v>
                </c:pt>
                <c:pt idx="21835">
                  <c:v>41981</c:v>
                </c:pt>
                <c:pt idx="21836">
                  <c:v>41982</c:v>
                </c:pt>
                <c:pt idx="21837">
                  <c:v>41983</c:v>
                </c:pt>
                <c:pt idx="21838">
                  <c:v>41984</c:v>
                </c:pt>
                <c:pt idx="21839">
                  <c:v>41985</c:v>
                </c:pt>
                <c:pt idx="21840">
                  <c:v>41988</c:v>
                </c:pt>
                <c:pt idx="21841">
                  <c:v>41989</c:v>
                </c:pt>
                <c:pt idx="21842">
                  <c:v>41990</c:v>
                </c:pt>
                <c:pt idx="21843">
                  <c:v>41991</c:v>
                </c:pt>
                <c:pt idx="21844">
                  <c:v>41992</c:v>
                </c:pt>
                <c:pt idx="21845">
                  <c:v>41995</c:v>
                </c:pt>
                <c:pt idx="21846">
                  <c:v>41996</c:v>
                </c:pt>
                <c:pt idx="21847">
                  <c:v>41997</c:v>
                </c:pt>
                <c:pt idx="21848">
                  <c:v>41999</c:v>
                </c:pt>
                <c:pt idx="21849">
                  <c:v>42002</c:v>
                </c:pt>
                <c:pt idx="21850">
                  <c:v>42003</c:v>
                </c:pt>
                <c:pt idx="21851">
                  <c:v>42004</c:v>
                </c:pt>
                <c:pt idx="21852">
                  <c:v>42006</c:v>
                </c:pt>
                <c:pt idx="21853">
                  <c:v>42009</c:v>
                </c:pt>
                <c:pt idx="21854">
                  <c:v>42010</c:v>
                </c:pt>
                <c:pt idx="21855">
                  <c:v>42011</c:v>
                </c:pt>
                <c:pt idx="21856">
                  <c:v>42012</c:v>
                </c:pt>
                <c:pt idx="21857">
                  <c:v>42013</c:v>
                </c:pt>
                <c:pt idx="21858">
                  <c:v>42016</c:v>
                </c:pt>
                <c:pt idx="21859">
                  <c:v>42017</c:v>
                </c:pt>
                <c:pt idx="21860">
                  <c:v>42018</c:v>
                </c:pt>
                <c:pt idx="21861">
                  <c:v>42019</c:v>
                </c:pt>
                <c:pt idx="21862">
                  <c:v>42020</c:v>
                </c:pt>
                <c:pt idx="21863">
                  <c:v>42024</c:v>
                </c:pt>
                <c:pt idx="21864">
                  <c:v>42025</c:v>
                </c:pt>
                <c:pt idx="21865">
                  <c:v>42026</c:v>
                </c:pt>
                <c:pt idx="21866">
                  <c:v>42027</c:v>
                </c:pt>
                <c:pt idx="21867">
                  <c:v>42030</c:v>
                </c:pt>
                <c:pt idx="21868">
                  <c:v>42031</c:v>
                </c:pt>
                <c:pt idx="21869">
                  <c:v>42032</c:v>
                </c:pt>
                <c:pt idx="21870">
                  <c:v>42033</c:v>
                </c:pt>
                <c:pt idx="21871">
                  <c:v>42034</c:v>
                </c:pt>
                <c:pt idx="21872">
                  <c:v>42037</c:v>
                </c:pt>
                <c:pt idx="21873">
                  <c:v>42038</c:v>
                </c:pt>
                <c:pt idx="21874">
                  <c:v>42039</c:v>
                </c:pt>
                <c:pt idx="21875">
                  <c:v>42040</c:v>
                </c:pt>
                <c:pt idx="21876">
                  <c:v>42041</c:v>
                </c:pt>
                <c:pt idx="21877">
                  <c:v>42044</c:v>
                </c:pt>
                <c:pt idx="21878">
                  <c:v>42045</c:v>
                </c:pt>
                <c:pt idx="21879">
                  <c:v>42046</c:v>
                </c:pt>
                <c:pt idx="21880">
                  <c:v>42047</c:v>
                </c:pt>
                <c:pt idx="21881">
                  <c:v>42048</c:v>
                </c:pt>
                <c:pt idx="21882">
                  <c:v>42052</c:v>
                </c:pt>
                <c:pt idx="21883">
                  <c:v>42053</c:v>
                </c:pt>
                <c:pt idx="21884">
                  <c:v>42054</c:v>
                </c:pt>
                <c:pt idx="21885">
                  <c:v>42055</c:v>
                </c:pt>
                <c:pt idx="21886">
                  <c:v>42058</c:v>
                </c:pt>
                <c:pt idx="21887">
                  <c:v>42059</c:v>
                </c:pt>
                <c:pt idx="21888">
                  <c:v>42060</c:v>
                </c:pt>
                <c:pt idx="21889">
                  <c:v>42061</c:v>
                </c:pt>
                <c:pt idx="21890">
                  <c:v>42062</c:v>
                </c:pt>
                <c:pt idx="21891">
                  <c:v>42065</c:v>
                </c:pt>
                <c:pt idx="21892">
                  <c:v>42066</c:v>
                </c:pt>
                <c:pt idx="21893">
                  <c:v>42067</c:v>
                </c:pt>
                <c:pt idx="21894">
                  <c:v>42068</c:v>
                </c:pt>
                <c:pt idx="21895">
                  <c:v>42069</c:v>
                </c:pt>
                <c:pt idx="21896">
                  <c:v>42072</c:v>
                </c:pt>
                <c:pt idx="21897">
                  <c:v>42073</c:v>
                </c:pt>
                <c:pt idx="21898">
                  <c:v>42074</c:v>
                </c:pt>
                <c:pt idx="21899">
                  <c:v>42075</c:v>
                </c:pt>
                <c:pt idx="21900">
                  <c:v>42076</c:v>
                </c:pt>
                <c:pt idx="21901">
                  <c:v>42079</c:v>
                </c:pt>
                <c:pt idx="21902">
                  <c:v>42080</c:v>
                </c:pt>
                <c:pt idx="21903">
                  <c:v>42081</c:v>
                </c:pt>
                <c:pt idx="21904">
                  <c:v>42082</c:v>
                </c:pt>
                <c:pt idx="21905">
                  <c:v>42083</c:v>
                </c:pt>
                <c:pt idx="21906">
                  <c:v>42086</c:v>
                </c:pt>
                <c:pt idx="21907">
                  <c:v>42087</c:v>
                </c:pt>
                <c:pt idx="21908">
                  <c:v>42088</c:v>
                </c:pt>
                <c:pt idx="21909">
                  <c:v>42089</c:v>
                </c:pt>
                <c:pt idx="21910">
                  <c:v>42090</c:v>
                </c:pt>
                <c:pt idx="21911">
                  <c:v>42093</c:v>
                </c:pt>
                <c:pt idx="21912">
                  <c:v>42094</c:v>
                </c:pt>
                <c:pt idx="21913">
                  <c:v>42095</c:v>
                </c:pt>
                <c:pt idx="21914">
                  <c:v>42096</c:v>
                </c:pt>
                <c:pt idx="21915">
                  <c:v>42100</c:v>
                </c:pt>
                <c:pt idx="21916">
                  <c:v>42101</c:v>
                </c:pt>
                <c:pt idx="21917">
                  <c:v>42102</c:v>
                </c:pt>
                <c:pt idx="21918">
                  <c:v>42103</c:v>
                </c:pt>
                <c:pt idx="21919">
                  <c:v>42104</c:v>
                </c:pt>
                <c:pt idx="21920">
                  <c:v>42107</c:v>
                </c:pt>
                <c:pt idx="21921">
                  <c:v>42108</c:v>
                </c:pt>
                <c:pt idx="21922">
                  <c:v>42109</c:v>
                </c:pt>
                <c:pt idx="21923">
                  <c:v>42110</c:v>
                </c:pt>
                <c:pt idx="21924">
                  <c:v>42111</c:v>
                </c:pt>
                <c:pt idx="21925">
                  <c:v>42114</c:v>
                </c:pt>
                <c:pt idx="21926">
                  <c:v>42115</c:v>
                </c:pt>
                <c:pt idx="21927">
                  <c:v>42116</c:v>
                </c:pt>
                <c:pt idx="21928">
                  <c:v>42117</c:v>
                </c:pt>
                <c:pt idx="21929">
                  <c:v>42118</c:v>
                </c:pt>
                <c:pt idx="21930">
                  <c:v>42121</c:v>
                </c:pt>
                <c:pt idx="21931">
                  <c:v>42122</c:v>
                </c:pt>
                <c:pt idx="21932">
                  <c:v>42123</c:v>
                </c:pt>
                <c:pt idx="21933">
                  <c:v>42124</c:v>
                </c:pt>
                <c:pt idx="21934">
                  <c:v>42125</c:v>
                </c:pt>
                <c:pt idx="21935">
                  <c:v>42128</c:v>
                </c:pt>
                <c:pt idx="21936">
                  <c:v>42129</c:v>
                </c:pt>
                <c:pt idx="21937">
                  <c:v>42130</c:v>
                </c:pt>
                <c:pt idx="21938">
                  <c:v>42131</c:v>
                </c:pt>
                <c:pt idx="21939">
                  <c:v>42132</c:v>
                </c:pt>
                <c:pt idx="21940">
                  <c:v>42135</c:v>
                </c:pt>
                <c:pt idx="21941">
                  <c:v>42136</c:v>
                </c:pt>
                <c:pt idx="21942">
                  <c:v>42137</c:v>
                </c:pt>
                <c:pt idx="21943">
                  <c:v>42138</c:v>
                </c:pt>
                <c:pt idx="21944">
                  <c:v>42139</c:v>
                </c:pt>
                <c:pt idx="21945">
                  <c:v>42142</c:v>
                </c:pt>
                <c:pt idx="21946">
                  <c:v>42143</c:v>
                </c:pt>
                <c:pt idx="21947">
                  <c:v>42144</c:v>
                </c:pt>
                <c:pt idx="21948">
                  <c:v>42145</c:v>
                </c:pt>
                <c:pt idx="21949">
                  <c:v>42146</c:v>
                </c:pt>
                <c:pt idx="21950">
                  <c:v>42150</c:v>
                </c:pt>
                <c:pt idx="21951">
                  <c:v>42151</c:v>
                </c:pt>
                <c:pt idx="21952">
                  <c:v>42152</c:v>
                </c:pt>
                <c:pt idx="21953">
                  <c:v>42153</c:v>
                </c:pt>
                <c:pt idx="21954">
                  <c:v>42156</c:v>
                </c:pt>
                <c:pt idx="21955">
                  <c:v>42157</c:v>
                </c:pt>
                <c:pt idx="21956">
                  <c:v>42158</c:v>
                </c:pt>
                <c:pt idx="21957">
                  <c:v>42159</c:v>
                </c:pt>
                <c:pt idx="21958">
                  <c:v>42160</c:v>
                </c:pt>
                <c:pt idx="21959">
                  <c:v>42163</c:v>
                </c:pt>
                <c:pt idx="21960">
                  <c:v>42164</c:v>
                </c:pt>
                <c:pt idx="21961">
                  <c:v>42165</c:v>
                </c:pt>
                <c:pt idx="21962">
                  <c:v>42166</c:v>
                </c:pt>
                <c:pt idx="21963">
                  <c:v>42167</c:v>
                </c:pt>
                <c:pt idx="21964">
                  <c:v>42170</c:v>
                </c:pt>
                <c:pt idx="21965">
                  <c:v>42171</c:v>
                </c:pt>
                <c:pt idx="21966">
                  <c:v>42172</c:v>
                </c:pt>
                <c:pt idx="21967">
                  <c:v>42173</c:v>
                </c:pt>
                <c:pt idx="21968">
                  <c:v>42174</c:v>
                </c:pt>
                <c:pt idx="21969">
                  <c:v>42177</c:v>
                </c:pt>
                <c:pt idx="21970">
                  <c:v>42178</c:v>
                </c:pt>
                <c:pt idx="21971">
                  <c:v>42179</c:v>
                </c:pt>
                <c:pt idx="21972">
                  <c:v>42180</c:v>
                </c:pt>
                <c:pt idx="21973">
                  <c:v>42181</c:v>
                </c:pt>
                <c:pt idx="21974">
                  <c:v>42184</c:v>
                </c:pt>
                <c:pt idx="21975">
                  <c:v>42185</c:v>
                </c:pt>
                <c:pt idx="21976">
                  <c:v>42186</c:v>
                </c:pt>
                <c:pt idx="21977">
                  <c:v>42187</c:v>
                </c:pt>
                <c:pt idx="21978">
                  <c:v>42191</c:v>
                </c:pt>
                <c:pt idx="21979">
                  <c:v>42192</c:v>
                </c:pt>
                <c:pt idx="21980">
                  <c:v>42193</c:v>
                </c:pt>
                <c:pt idx="21981">
                  <c:v>42194</c:v>
                </c:pt>
                <c:pt idx="21982">
                  <c:v>42195</c:v>
                </c:pt>
                <c:pt idx="21983">
                  <c:v>42198</c:v>
                </c:pt>
                <c:pt idx="21984">
                  <c:v>42199</c:v>
                </c:pt>
                <c:pt idx="21985">
                  <c:v>42200</c:v>
                </c:pt>
                <c:pt idx="21986">
                  <c:v>42201</c:v>
                </c:pt>
                <c:pt idx="21987">
                  <c:v>42202</c:v>
                </c:pt>
                <c:pt idx="21988">
                  <c:v>42205</c:v>
                </c:pt>
                <c:pt idx="21989">
                  <c:v>42206</c:v>
                </c:pt>
                <c:pt idx="21990">
                  <c:v>42207</c:v>
                </c:pt>
                <c:pt idx="21991">
                  <c:v>42208</c:v>
                </c:pt>
                <c:pt idx="21992">
                  <c:v>42209</c:v>
                </c:pt>
                <c:pt idx="21993">
                  <c:v>42212</c:v>
                </c:pt>
                <c:pt idx="21994">
                  <c:v>42213</c:v>
                </c:pt>
                <c:pt idx="21995">
                  <c:v>42214</c:v>
                </c:pt>
                <c:pt idx="21996">
                  <c:v>42215</c:v>
                </c:pt>
                <c:pt idx="21997">
                  <c:v>42216</c:v>
                </c:pt>
                <c:pt idx="21998">
                  <c:v>42219</c:v>
                </c:pt>
                <c:pt idx="21999">
                  <c:v>42220</c:v>
                </c:pt>
                <c:pt idx="22000">
                  <c:v>42221</c:v>
                </c:pt>
                <c:pt idx="22001">
                  <c:v>42222</c:v>
                </c:pt>
                <c:pt idx="22002">
                  <c:v>42223</c:v>
                </c:pt>
                <c:pt idx="22003">
                  <c:v>42226</c:v>
                </c:pt>
                <c:pt idx="22004">
                  <c:v>42227</c:v>
                </c:pt>
                <c:pt idx="22005">
                  <c:v>42228</c:v>
                </c:pt>
                <c:pt idx="22006">
                  <c:v>42229</c:v>
                </c:pt>
                <c:pt idx="22007">
                  <c:v>42230</c:v>
                </c:pt>
                <c:pt idx="22008">
                  <c:v>42233</c:v>
                </c:pt>
                <c:pt idx="22009">
                  <c:v>42234</c:v>
                </c:pt>
                <c:pt idx="22010">
                  <c:v>42235</c:v>
                </c:pt>
                <c:pt idx="22011">
                  <c:v>42236</c:v>
                </c:pt>
                <c:pt idx="22012">
                  <c:v>42237</c:v>
                </c:pt>
                <c:pt idx="22013">
                  <c:v>42240</c:v>
                </c:pt>
                <c:pt idx="22014">
                  <c:v>42241</c:v>
                </c:pt>
                <c:pt idx="22015">
                  <c:v>42242</c:v>
                </c:pt>
                <c:pt idx="22016">
                  <c:v>42243</c:v>
                </c:pt>
                <c:pt idx="22017">
                  <c:v>42244</c:v>
                </c:pt>
                <c:pt idx="22018">
                  <c:v>42247</c:v>
                </c:pt>
                <c:pt idx="22019">
                  <c:v>42248</c:v>
                </c:pt>
                <c:pt idx="22020">
                  <c:v>42249</c:v>
                </c:pt>
                <c:pt idx="22021">
                  <c:v>42250</c:v>
                </c:pt>
                <c:pt idx="22022">
                  <c:v>42251</c:v>
                </c:pt>
                <c:pt idx="22023">
                  <c:v>42255</c:v>
                </c:pt>
                <c:pt idx="22024">
                  <c:v>42256</c:v>
                </c:pt>
                <c:pt idx="22025">
                  <c:v>42257</c:v>
                </c:pt>
                <c:pt idx="22026">
                  <c:v>42258</c:v>
                </c:pt>
                <c:pt idx="22027">
                  <c:v>42261</c:v>
                </c:pt>
                <c:pt idx="22028">
                  <c:v>42262</c:v>
                </c:pt>
                <c:pt idx="22029">
                  <c:v>42263</c:v>
                </c:pt>
                <c:pt idx="22030">
                  <c:v>42264</c:v>
                </c:pt>
                <c:pt idx="22031">
                  <c:v>42265</c:v>
                </c:pt>
                <c:pt idx="22032">
                  <c:v>42268</c:v>
                </c:pt>
                <c:pt idx="22033">
                  <c:v>42269</c:v>
                </c:pt>
                <c:pt idx="22034">
                  <c:v>42270</c:v>
                </c:pt>
                <c:pt idx="22035">
                  <c:v>42271</c:v>
                </c:pt>
                <c:pt idx="22036">
                  <c:v>42272</c:v>
                </c:pt>
                <c:pt idx="22037">
                  <c:v>42275</c:v>
                </c:pt>
                <c:pt idx="22038">
                  <c:v>42276</c:v>
                </c:pt>
                <c:pt idx="22039">
                  <c:v>42277</c:v>
                </c:pt>
                <c:pt idx="22040">
                  <c:v>42278</c:v>
                </c:pt>
                <c:pt idx="22041">
                  <c:v>42279</c:v>
                </c:pt>
                <c:pt idx="22042">
                  <c:v>42282</c:v>
                </c:pt>
                <c:pt idx="22043">
                  <c:v>42283</c:v>
                </c:pt>
                <c:pt idx="22044">
                  <c:v>42284</c:v>
                </c:pt>
                <c:pt idx="22045">
                  <c:v>42285</c:v>
                </c:pt>
                <c:pt idx="22046">
                  <c:v>42286</c:v>
                </c:pt>
                <c:pt idx="22047">
                  <c:v>42289</c:v>
                </c:pt>
                <c:pt idx="22048">
                  <c:v>42290</c:v>
                </c:pt>
                <c:pt idx="22049">
                  <c:v>42291</c:v>
                </c:pt>
                <c:pt idx="22050">
                  <c:v>42292</c:v>
                </c:pt>
                <c:pt idx="22051">
                  <c:v>42293</c:v>
                </c:pt>
                <c:pt idx="22052">
                  <c:v>42296</c:v>
                </c:pt>
                <c:pt idx="22053">
                  <c:v>42297</c:v>
                </c:pt>
                <c:pt idx="22054">
                  <c:v>42298</c:v>
                </c:pt>
                <c:pt idx="22055">
                  <c:v>42299</c:v>
                </c:pt>
                <c:pt idx="22056">
                  <c:v>42300</c:v>
                </c:pt>
                <c:pt idx="22057">
                  <c:v>42303</c:v>
                </c:pt>
                <c:pt idx="22058">
                  <c:v>42304</c:v>
                </c:pt>
                <c:pt idx="22059">
                  <c:v>42305</c:v>
                </c:pt>
                <c:pt idx="22060">
                  <c:v>42306</c:v>
                </c:pt>
                <c:pt idx="22061">
                  <c:v>42307</c:v>
                </c:pt>
                <c:pt idx="22062">
                  <c:v>42310</c:v>
                </c:pt>
                <c:pt idx="22063">
                  <c:v>42311</c:v>
                </c:pt>
                <c:pt idx="22064">
                  <c:v>42312</c:v>
                </c:pt>
                <c:pt idx="22065">
                  <c:v>42313</c:v>
                </c:pt>
                <c:pt idx="22066">
                  <c:v>42314</c:v>
                </c:pt>
                <c:pt idx="22067">
                  <c:v>42317</c:v>
                </c:pt>
                <c:pt idx="22068">
                  <c:v>42318</c:v>
                </c:pt>
                <c:pt idx="22069">
                  <c:v>42319</c:v>
                </c:pt>
                <c:pt idx="22070">
                  <c:v>42320</c:v>
                </c:pt>
                <c:pt idx="22071">
                  <c:v>42321</c:v>
                </c:pt>
                <c:pt idx="22072">
                  <c:v>42324</c:v>
                </c:pt>
                <c:pt idx="22073">
                  <c:v>42325</c:v>
                </c:pt>
                <c:pt idx="22074">
                  <c:v>42326</c:v>
                </c:pt>
                <c:pt idx="22075">
                  <c:v>42327</c:v>
                </c:pt>
                <c:pt idx="22076">
                  <c:v>42328</c:v>
                </c:pt>
                <c:pt idx="22077">
                  <c:v>42331</c:v>
                </c:pt>
                <c:pt idx="22078">
                  <c:v>42332</c:v>
                </c:pt>
                <c:pt idx="22079">
                  <c:v>42333</c:v>
                </c:pt>
                <c:pt idx="22080">
                  <c:v>42335</c:v>
                </c:pt>
                <c:pt idx="22081">
                  <c:v>42338</c:v>
                </c:pt>
                <c:pt idx="22082">
                  <c:v>42339</c:v>
                </c:pt>
                <c:pt idx="22083">
                  <c:v>42340</c:v>
                </c:pt>
                <c:pt idx="22084">
                  <c:v>42341</c:v>
                </c:pt>
                <c:pt idx="22085">
                  <c:v>42342</c:v>
                </c:pt>
                <c:pt idx="22086">
                  <c:v>42345</c:v>
                </c:pt>
                <c:pt idx="22087">
                  <c:v>42346</c:v>
                </c:pt>
                <c:pt idx="22088">
                  <c:v>42347</c:v>
                </c:pt>
                <c:pt idx="22089">
                  <c:v>42348</c:v>
                </c:pt>
                <c:pt idx="22090">
                  <c:v>42349</c:v>
                </c:pt>
                <c:pt idx="22091">
                  <c:v>42352</c:v>
                </c:pt>
                <c:pt idx="22092">
                  <c:v>42353</c:v>
                </c:pt>
                <c:pt idx="22093">
                  <c:v>42354</c:v>
                </c:pt>
                <c:pt idx="22094">
                  <c:v>42355</c:v>
                </c:pt>
                <c:pt idx="22095">
                  <c:v>42356</c:v>
                </c:pt>
                <c:pt idx="22096">
                  <c:v>42359</c:v>
                </c:pt>
                <c:pt idx="22097">
                  <c:v>42360</c:v>
                </c:pt>
                <c:pt idx="22098">
                  <c:v>42361</c:v>
                </c:pt>
                <c:pt idx="22099">
                  <c:v>42362</c:v>
                </c:pt>
                <c:pt idx="22100">
                  <c:v>42366</c:v>
                </c:pt>
                <c:pt idx="22101">
                  <c:v>42367</c:v>
                </c:pt>
                <c:pt idx="22102">
                  <c:v>42368</c:v>
                </c:pt>
                <c:pt idx="22103">
                  <c:v>42369</c:v>
                </c:pt>
                <c:pt idx="22104">
                  <c:v>42373</c:v>
                </c:pt>
                <c:pt idx="22105">
                  <c:v>42374</c:v>
                </c:pt>
                <c:pt idx="22106">
                  <c:v>42375</c:v>
                </c:pt>
                <c:pt idx="22107">
                  <c:v>42376</c:v>
                </c:pt>
                <c:pt idx="22108">
                  <c:v>42377</c:v>
                </c:pt>
                <c:pt idx="22109">
                  <c:v>42380</c:v>
                </c:pt>
                <c:pt idx="22110">
                  <c:v>42381</c:v>
                </c:pt>
                <c:pt idx="22111">
                  <c:v>42382</c:v>
                </c:pt>
                <c:pt idx="22112">
                  <c:v>42383</c:v>
                </c:pt>
                <c:pt idx="22113">
                  <c:v>42384</c:v>
                </c:pt>
                <c:pt idx="22114">
                  <c:v>42388</c:v>
                </c:pt>
                <c:pt idx="22115">
                  <c:v>42389</c:v>
                </c:pt>
                <c:pt idx="22116">
                  <c:v>42390</c:v>
                </c:pt>
                <c:pt idx="22117">
                  <c:v>42391</c:v>
                </c:pt>
                <c:pt idx="22118">
                  <c:v>42394</c:v>
                </c:pt>
                <c:pt idx="22119">
                  <c:v>42395</c:v>
                </c:pt>
                <c:pt idx="22120">
                  <c:v>42396</c:v>
                </c:pt>
                <c:pt idx="22121">
                  <c:v>42397</c:v>
                </c:pt>
                <c:pt idx="22122">
                  <c:v>42398</c:v>
                </c:pt>
                <c:pt idx="22123">
                  <c:v>42401</c:v>
                </c:pt>
                <c:pt idx="22124">
                  <c:v>42402</c:v>
                </c:pt>
                <c:pt idx="22125">
                  <c:v>42403</c:v>
                </c:pt>
                <c:pt idx="22126">
                  <c:v>42404</c:v>
                </c:pt>
                <c:pt idx="22127">
                  <c:v>42405</c:v>
                </c:pt>
                <c:pt idx="22128">
                  <c:v>42408</c:v>
                </c:pt>
                <c:pt idx="22129">
                  <c:v>42409</c:v>
                </c:pt>
                <c:pt idx="22130">
                  <c:v>42410</c:v>
                </c:pt>
                <c:pt idx="22131">
                  <c:v>42411</c:v>
                </c:pt>
                <c:pt idx="22132">
                  <c:v>42412</c:v>
                </c:pt>
                <c:pt idx="22133">
                  <c:v>42416</c:v>
                </c:pt>
                <c:pt idx="22134">
                  <c:v>42417</c:v>
                </c:pt>
                <c:pt idx="22135">
                  <c:v>42418</c:v>
                </c:pt>
                <c:pt idx="22136">
                  <c:v>42419</c:v>
                </c:pt>
                <c:pt idx="22137">
                  <c:v>42422</c:v>
                </c:pt>
                <c:pt idx="22138">
                  <c:v>42423</c:v>
                </c:pt>
                <c:pt idx="22139">
                  <c:v>42424</c:v>
                </c:pt>
                <c:pt idx="22140">
                  <c:v>42425</c:v>
                </c:pt>
                <c:pt idx="22141">
                  <c:v>42426</c:v>
                </c:pt>
                <c:pt idx="22142">
                  <c:v>42429</c:v>
                </c:pt>
                <c:pt idx="22143">
                  <c:v>42430</c:v>
                </c:pt>
                <c:pt idx="22144">
                  <c:v>42431</c:v>
                </c:pt>
                <c:pt idx="22145">
                  <c:v>42432</c:v>
                </c:pt>
                <c:pt idx="22146">
                  <c:v>42433</c:v>
                </c:pt>
                <c:pt idx="22147">
                  <c:v>42436</c:v>
                </c:pt>
                <c:pt idx="22148">
                  <c:v>42437</c:v>
                </c:pt>
                <c:pt idx="22149">
                  <c:v>42438</c:v>
                </c:pt>
                <c:pt idx="22150">
                  <c:v>42439</c:v>
                </c:pt>
                <c:pt idx="22151">
                  <c:v>42440</c:v>
                </c:pt>
                <c:pt idx="22152">
                  <c:v>42443</c:v>
                </c:pt>
                <c:pt idx="22153">
                  <c:v>42444</c:v>
                </c:pt>
                <c:pt idx="22154">
                  <c:v>42445</c:v>
                </c:pt>
                <c:pt idx="22155">
                  <c:v>42446</c:v>
                </c:pt>
                <c:pt idx="22156">
                  <c:v>42447</c:v>
                </c:pt>
                <c:pt idx="22157">
                  <c:v>42450</c:v>
                </c:pt>
                <c:pt idx="22158">
                  <c:v>42451</c:v>
                </c:pt>
                <c:pt idx="22159">
                  <c:v>42452</c:v>
                </c:pt>
                <c:pt idx="22160">
                  <c:v>42453</c:v>
                </c:pt>
                <c:pt idx="22161">
                  <c:v>42457</c:v>
                </c:pt>
                <c:pt idx="22162">
                  <c:v>42458</c:v>
                </c:pt>
                <c:pt idx="22163">
                  <c:v>42459</c:v>
                </c:pt>
                <c:pt idx="22164">
                  <c:v>42460</c:v>
                </c:pt>
                <c:pt idx="22165">
                  <c:v>42461</c:v>
                </c:pt>
                <c:pt idx="22166">
                  <c:v>42464</c:v>
                </c:pt>
                <c:pt idx="22167">
                  <c:v>42465</c:v>
                </c:pt>
                <c:pt idx="22168">
                  <c:v>42466</c:v>
                </c:pt>
                <c:pt idx="22169">
                  <c:v>42467</c:v>
                </c:pt>
                <c:pt idx="22170">
                  <c:v>42468</c:v>
                </c:pt>
                <c:pt idx="22171">
                  <c:v>42471</c:v>
                </c:pt>
                <c:pt idx="22172">
                  <c:v>42472</c:v>
                </c:pt>
                <c:pt idx="22173">
                  <c:v>42473</c:v>
                </c:pt>
                <c:pt idx="22174">
                  <c:v>42474</c:v>
                </c:pt>
                <c:pt idx="22175">
                  <c:v>42475</c:v>
                </c:pt>
                <c:pt idx="22176">
                  <c:v>42478</c:v>
                </c:pt>
                <c:pt idx="22177">
                  <c:v>42479</c:v>
                </c:pt>
                <c:pt idx="22178">
                  <c:v>42480</c:v>
                </c:pt>
                <c:pt idx="22179">
                  <c:v>42481</c:v>
                </c:pt>
                <c:pt idx="22180">
                  <c:v>42482</c:v>
                </c:pt>
                <c:pt idx="22181">
                  <c:v>42485</c:v>
                </c:pt>
                <c:pt idx="22182">
                  <c:v>42486</c:v>
                </c:pt>
                <c:pt idx="22183">
                  <c:v>42487</c:v>
                </c:pt>
                <c:pt idx="22184">
                  <c:v>42488</c:v>
                </c:pt>
                <c:pt idx="22185">
                  <c:v>42489</c:v>
                </c:pt>
                <c:pt idx="22186">
                  <c:v>42492</c:v>
                </c:pt>
                <c:pt idx="22187">
                  <c:v>42493</c:v>
                </c:pt>
                <c:pt idx="22188">
                  <c:v>42494</c:v>
                </c:pt>
                <c:pt idx="22189">
                  <c:v>42495</c:v>
                </c:pt>
                <c:pt idx="22190">
                  <c:v>42496</c:v>
                </c:pt>
                <c:pt idx="22191">
                  <c:v>42499</c:v>
                </c:pt>
                <c:pt idx="22192">
                  <c:v>42500</c:v>
                </c:pt>
                <c:pt idx="22193">
                  <c:v>42501</c:v>
                </c:pt>
                <c:pt idx="22194">
                  <c:v>42502</c:v>
                </c:pt>
                <c:pt idx="22195">
                  <c:v>42503</c:v>
                </c:pt>
                <c:pt idx="22196">
                  <c:v>42506</c:v>
                </c:pt>
                <c:pt idx="22197">
                  <c:v>42507</c:v>
                </c:pt>
                <c:pt idx="22198">
                  <c:v>42508</c:v>
                </c:pt>
                <c:pt idx="22199">
                  <c:v>42509</c:v>
                </c:pt>
                <c:pt idx="22200">
                  <c:v>42510</c:v>
                </c:pt>
                <c:pt idx="22201">
                  <c:v>42513</c:v>
                </c:pt>
                <c:pt idx="22202">
                  <c:v>42514</c:v>
                </c:pt>
                <c:pt idx="22203">
                  <c:v>42515</c:v>
                </c:pt>
                <c:pt idx="22204">
                  <c:v>42516</c:v>
                </c:pt>
                <c:pt idx="22205">
                  <c:v>42517</c:v>
                </c:pt>
                <c:pt idx="22206">
                  <c:v>42521</c:v>
                </c:pt>
                <c:pt idx="22207">
                  <c:v>42522</c:v>
                </c:pt>
                <c:pt idx="22208">
                  <c:v>42523</c:v>
                </c:pt>
                <c:pt idx="22209">
                  <c:v>42524</c:v>
                </c:pt>
                <c:pt idx="22210">
                  <c:v>42527</c:v>
                </c:pt>
                <c:pt idx="22211">
                  <c:v>42528</c:v>
                </c:pt>
                <c:pt idx="22212">
                  <c:v>42529</c:v>
                </c:pt>
                <c:pt idx="22213">
                  <c:v>42530</c:v>
                </c:pt>
                <c:pt idx="22214">
                  <c:v>42531</c:v>
                </c:pt>
                <c:pt idx="22215">
                  <c:v>42534</c:v>
                </c:pt>
                <c:pt idx="22216">
                  <c:v>42535</c:v>
                </c:pt>
                <c:pt idx="22217">
                  <c:v>42536</c:v>
                </c:pt>
                <c:pt idx="22218">
                  <c:v>42537</c:v>
                </c:pt>
                <c:pt idx="22219">
                  <c:v>42538</c:v>
                </c:pt>
                <c:pt idx="22220">
                  <c:v>42541</c:v>
                </c:pt>
                <c:pt idx="22221">
                  <c:v>42542</c:v>
                </c:pt>
                <c:pt idx="22222">
                  <c:v>42543</c:v>
                </c:pt>
                <c:pt idx="22223">
                  <c:v>42544</c:v>
                </c:pt>
                <c:pt idx="22224">
                  <c:v>42545</c:v>
                </c:pt>
                <c:pt idx="22225">
                  <c:v>42548</c:v>
                </c:pt>
                <c:pt idx="22226">
                  <c:v>42549</c:v>
                </c:pt>
                <c:pt idx="22227">
                  <c:v>42550</c:v>
                </c:pt>
                <c:pt idx="22228">
                  <c:v>42551</c:v>
                </c:pt>
                <c:pt idx="22229">
                  <c:v>42552</c:v>
                </c:pt>
                <c:pt idx="22230">
                  <c:v>42556</c:v>
                </c:pt>
                <c:pt idx="22231">
                  <c:v>42557</c:v>
                </c:pt>
                <c:pt idx="22232">
                  <c:v>42558</c:v>
                </c:pt>
                <c:pt idx="22233">
                  <c:v>42559</c:v>
                </c:pt>
                <c:pt idx="22234">
                  <c:v>42562</c:v>
                </c:pt>
                <c:pt idx="22235">
                  <c:v>42563</c:v>
                </c:pt>
                <c:pt idx="22236">
                  <c:v>42564</c:v>
                </c:pt>
                <c:pt idx="22237">
                  <c:v>42565</c:v>
                </c:pt>
                <c:pt idx="22238">
                  <c:v>42566</c:v>
                </c:pt>
                <c:pt idx="22239">
                  <c:v>42569</c:v>
                </c:pt>
                <c:pt idx="22240">
                  <c:v>42570</c:v>
                </c:pt>
                <c:pt idx="22241">
                  <c:v>42571</c:v>
                </c:pt>
                <c:pt idx="22242">
                  <c:v>42572</c:v>
                </c:pt>
                <c:pt idx="22243">
                  <c:v>42573</c:v>
                </c:pt>
                <c:pt idx="22244">
                  <c:v>42576</c:v>
                </c:pt>
                <c:pt idx="22245">
                  <c:v>42577</c:v>
                </c:pt>
                <c:pt idx="22246">
                  <c:v>42578</c:v>
                </c:pt>
                <c:pt idx="22247">
                  <c:v>42579</c:v>
                </c:pt>
                <c:pt idx="22248">
                  <c:v>42580</c:v>
                </c:pt>
                <c:pt idx="22249">
                  <c:v>42583</c:v>
                </c:pt>
                <c:pt idx="22250">
                  <c:v>42584</c:v>
                </c:pt>
                <c:pt idx="22251">
                  <c:v>42585</c:v>
                </c:pt>
                <c:pt idx="22252">
                  <c:v>42586</c:v>
                </c:pt>
                <c:pt idx="22253">
                  <c:v>42587</c:v>
                </c:pt>
                <c:pt idx="22254">
                  <c:v>42590</c:v>
                </c:pt>
                <c:pt idx="22255">
                  <c:v>42591</c:v>
                </c:pt>
                <c:pt idx="22256">
                  <c:v>42592</c:v>
                </c:pt>
                <c:pt idx="22257">
                  <c:v>42593</c:v>
                </c:pt>
                <c:pt idx="22258">
                  <c:v>42594</c:v>
                </c:pt>
                <c:pt idx="22259">
                  <c:v>42597</c:v>
                </c:pt>
                <c:pt idx="22260">
                  <c:v>42598</c:v>
                </c:pt>
                <c:pt idx="22261">
                  <c:v>42599</c:v>
                </c:pt>
                <c:pt idx="22262">
                  <c:v>42600</c:v>
                </c:pt>
                <c:pt idx="22263">
                  <c:v>42601</c:v>
                </c:pt>
                <c:pt idx="22264">
                  <c:v>42604</c:v>
                </c:pt>
                <c:pt idx="22265">
                  <c:v>42605</c:v>
                </c:pt>
                <c:pt idx="22266">
                  <c:v>42606</c:v>
                </c:pt>
                <c:pt idx="22267">
                  <c:v>42607</c:v>
                </c:pt>
                <c:pt idx="22268">
                  <c:v>42608</c:v>
                </c:pt>
                <c:pt idx="22269">
                  <c:v>42611</c:v>
                </c:pt>
                <c:pt idx="22270">
                  <c:v>42612</c:v>
                </c:pt>
                <c:pt idx="22271">
                  <c:v>42613</c:v>
                </c:pt>
                <c:pt idx="22272">
                  <c:v>42614</c:v>
                </c:pt>
                <c:pt idx="22273">
                  <c:v>42615</c:v>
                </c:pt>
                <c:pt idx="22274">
                  <c:v>42619</c:v>
                </c:pt>
                <c:pt idx="22275">
                  <c:v>42620</c:v>
                </c:pt>
                <c:pt idx="22276">
                  <c:v>42621</c:v>
                </c:pt>
                <c:pt idx="22277">
                  <c:v>42622</c:v>
                </c:pt>
                <c:pt idx="22278">
                  <c:v>42625</c:v>
                </c:pt>
                <c:pt idx="22279">
                  <c:v>42626</c:v>
                </c:pt>
                <c:pt idx="22280">
                  <c:v>42627</c:v>
                </c:pt>
                <c:pt idx="22281">
                  <c:v>42628</c:v>
                </c:pt>
                <c:pt idx="22282">
                  <c:v>42629</c:v>
                </c:pt>
                <c:pt idx="22283">
                  <c:v>42632</c:v>
                </c:pt>
                <c:pt idx="22284">
                  <c:v>42633</c:v>
                </c:pt>
                <c:pt idx="22285">
                  <c:v>42634</c:v>
                </c:pt>
                <c:pt idx="22286">
                  <c:v>42635</c:v>
                </c:pt>
                <c:pt idx="22287">
                  <c:v>42636</c:v>
                </c:pt>
                <c:pt idx="22288">
                  <c:v>42639</c:v>
                </c:pt>
                <c:pt idx="22289">
                  <c:v>42640</c:v>
                </c:pt>
                <c:pt idx="22290">
                  <c:v>42641</c:v>
                </c:pt>
                <c:pt idx="22291">
                  <c:v>42642</c:v>
                </c:pt>
                <c:pt idx="22292">
                  <c:v>42643</c:v>
                </c:pt>
                <c:pt idx="22293">
                  <c:v>42646</c:v>
                </c:pt>
                <c:pt idx="22294">
                  <c:v>42647</c:v>
                </c:pt>
                <c:pt idx="22295">
                  <c:v>42648</c:v>
                </c:pt>
                <c:pt idx="22296">
                  <c:v>42649</c:v>
                </c:pt>
                <c:pt idx="22297">
                  <c:v>42650</c:v>
                </c:pt>
                <c:pt idx="22298">
                  <c:v>42653</c:v>
                </c:pt>
                <c:pt idx="22299">
                  <c:v>42654</c:v>
                </c:pt>
                <c:pt idx="22300">
                  <c:v>42655</c:v>
                </c:pt>
                <c:pt idx="22301">
                  <c:v>42656</c:v>
                </c:pt>
                <c:pt idx="22302">
                  <c:v>42657</c:v>
                </c:pt>
                <c:pt idx="22303">
                  <c:v>42660</c:v>
                </c:pt>
                <c:pt idx="22304">
                  <c:v>42661</c:v>
                </c:pt>
                <c:pt idx="22305">
                  <c:v>42662</c:v>
                </c:pt>
                <c:pt idx="22306">
                  <c:v>42663</c:v>
                </c:pt>
                <c:pt idx="22307">
                  <c:v>42664</c:v>
                </c:pt>
                <c:pt idx="22308">
                  <c:v>42667</c:v>
                </c:pt>
                <c:pt idx="22309">
                  <c:v>42668</c:v>
                </c:pt>
                <c:pt idx="22310">
                  <c:v>42669</c:v>
                </c:pt>
                <c:pt idx="22311">
                  <c:v>42670</c:v>
                </c:pt>
                <c:pt idx="22312">
                  <c:v>42671</c:v>
                </c:pt>
                <c:pt idx="22313">
                  <c:v>42674</c:v>
                </c:pt>
                <c:pt idx="22314">
                  <c:v>42675</c:v>
                </c:pt>
                <c:pt idx="22315">
                  <c:v>42676</c:v>
                </c:pt>
                <c:pt idx="22316">
                  <c:v>42677</c:v>
                </c:pt>
                <c:pt idx="22317">
                  <c:v>42678</c:v>
                </c:pt>
                <c:pt idx="22318">
                  <c:v>42681</c:v>
                </c:pt>
                <c:pt idx="22319">
                  <c:v>42682</c:v>
                </c:pt>
                <c:pt idx="22320">
                  <c:v>42683</c:v>
                </c:pt>
                <c:pt idx="22321">
                  <c:v>42684</c:v>
                </c:pt>
                <c:pt idx="22322">
                  <c:v>42685</c:v>
                </c:pt>
                <c:pt idx="22323">
                  <c:v>42688</c:v>
                </c:pt>
                <c:pt idx="22324">
                  <c:v>42689</c:v>
                </c:pt>
                <c:pt idx="22325">
                  <c:v>42690</c:v>
                </c:pt>
                <c:pt idx="22326">
                  <c:v>42691</c:v>
                </c:pt>
                <c:pt idx="22327">
                  <c:v>42692</c:v>
                </c:pt>
                <c:pt idx="22328">
                  <c:v>42695</c:v>
                </c:pt>
                <c:pt idx="22329">
                  <c:v>42696</c:v>
                </c:pt>
                <c:pt idx="22330">
                  <c:v>42697</c:v>
                </c:pt>
                <c:pt idx="22331">
                  <c:v>42699</c:v>
                </c:pt>
                <c:pt idx="22332">
                  <c:v>42702</c:v>
                </c:pt>
                <c:pt idx="22333">
                  <c:v>42703</c:v>
                </c:pt>
                <c:pt idx="22334">
                  <c:v>42704</c:v>
                </c:pt>
                <c:pt idx="22335">
                  <c:v>42705</c:v>
                </c:pt>
                <c:pt idx="22336">
                  <c:v>42706</c:v>
                </c:pt>
                <c:pt idx="22337">
                  <c:v>42709</c:v>
                </c:pt>
                <c:pt idx="22338">
                  <c:v>42710</c:v>
                </c:pt>
                <c:pt idx="22339">
                  <c:v>42711</c:v>
                </c:pt>
                <c:pt idx="22340">
                  <c:v>42712</c:v>
                </c:pt>
                <c:pt idx="22341">
                  <c:v>42713</c:v>
                </c:pt>
                <c:pt idx="22342">
                  <c:v>42716</c:v>
                </c:pt>
                <c:pt idx="22343">
                  <c:v>42717</c:v>
                </c:pt>
                <c:pt idx="22344">
                  <c:v>42718</c:v>
                </c:pt>
                <c:pt idx="22345">
                  <c:v>42719</c:v>
                </c:pt>
                <c:pt idx="22346">
                  <c:v>42720</c:v>
                </c:pt>
                <c:pt idx="22347">
                  <c:v>42723</c:v>
                </c:pt>
                <c:pt idx="22348">
                  <c:v>42724</c:v>
                </c:pt>
                <c:pt idx="22349">
                  <c:v>42725</c:v>
                </c:pt>
                <c:pt idx="22350">
                  <c:v>42726</c:v>
                </c:pt>
                <c:pt idx="22351">
                  <c:v>42727</c:v>
                </c:pt>
                <c:pt idx="22352">
                  <c:v>42731</c:v>
                </c:pt>
                <c:pt idx="22353">
                  <c:v>42732</c:v>
                </c:pt>
                <c:pt idx="22354">
                  <c:v>42733</c:v>
                </c:pt>
                <c:pt idx="22355">
                  <c:v>42734</c:v>
                </c:pt>
                <c:pt idx="22356">
                  <c:v>42738</c:v>
                </c:pt>
                <c:pt idx="22357">
                  <c:v>42739</c:v>
                </c:pt>
                <c:pt idx="22358">
                  <c:v>42740</c:v>
                </c:pt>
                <c:pt idx="22359">
                  <c:v>42741</c:v>
                </c:pt>
                <c:pt idx="22360">
                  <c:v>42744</c:v>
                </c:pt>
                <c:pt idx="22361">
                  <c:v>42745</c:v>
                </c:pt>
                <c:pt idx="22362">
                  <c:v>42746</c:v>
                </c:pt>
                <c:pt idx="22363">
                  <c:v>42747</c:v>
                </c:pt>
                <c:pt idx="22364">
                  <c:v>42748</c:v>
                </c:pt>
                <c:pt idx="22365">
                  <c:v>42752</c:v>
                </c:pt>
                <c:pt idx="22366">
                  <c:v>42753</c:v>
                </c:pt>
                <c:pt idx="22367">
                  <c:v>42754</c:v>
                </c:pt>
                <c:pt idx="22368">
                  <c:v>42755</c:v>
                </c:pt>
                <c:pt idx="22369">
                  <c:v>42758</c:v>
                </c:pt>
                <c:pt idx="22370">
                  <c:v>42759</c:v>
                </c:pt>
                <c:pt idx="22371">
                  <c:v>42760</c:v>
                </c:pt>
                <c:pt idx="22372">
                  <c:v>42761</c:v>
                </c:pt>
                <c:pt idx="22373">
                  <c:v>42762</c:v>
                </c:pt>
                <c:pt idx="22374">
                  <c:v>42765</c:v>
                </c:pt>
                <c:pt idx="22375">
                  <c:v>42766</c:v>
                </c:pt>
                <c:pt idx="22376">
                  <c:v>42767</c:v>
                </c:pt>
                <c:pt idx="22377">
                  <c:v>42768</c:v>
                </c:pt>
                <c:pt idx="22378">
                  <c:v>42769</c:v>
                </c:pt>
                <c:pt idx="22379">
                  <c:v>42772</c:v>
                </c:pt>
                <c:pt idx="22380">
                  <c:v>42773</c:v>
                </c:pt>
                <c:pt idx="22381">
                  <c:v>42774</c:v>
                </c:pt>
                <c:pt idx="22382">
                  <c:v>42775</c:v>
                </c:pt>
                <c:pt idx="22383">
                  <c:v>42776</c:v>
                </c:pt>
                <c:pt idx="22384">
                  <c:v>42779</c:v>
                </c:pt>
                <c:pt idx="22385">
                  <c:v>42780</c:v>
                </c:pt>
                <c:pt idx="22386">
                  <c:v>42781</c:v>
                </c:pt>
                <c:pt idx="22387">
                  <c:v>42782</c:v>
                </c:pt>
                <c:pt idx="22388">
                  <c:v>42783</c:v>
                </c:pt>
                <c:pt idx="22389">
                  <c:v>42787</c:v>
                </c:pt>
                <c:pt idx="22390">
                  <c:v>42788</c:v>
                </c:pt>
                <c:pt idx="22391">
                  <c:v>42789</c:v>
                </c:pt>
                <c:pt idx="22392">
                  <c:v>42790</c:v>
                </c:pt>
                <c:pt idx="22393">
                  <c:v>42793</c:v>
                </c:pt>
                <c:pt idx="22394">
                  <c:v>42794</c:v>
                </c:pt>
                <c:pt idx="22395">
                  <c:v>42795</c:v>
                </c:pt>
                <c:pt idx="22396">
                  <c:v>42796</c:v>
                </c:pt>
                <c:pt idx="22397">
                  <c:v>42797</c:v>
                </c:pt>
                <c:pt idx="22398">
                  <c:v>42800</c:v>
                </c:pt>
                <c:pt idx="22399">
                  <c:v>42801</c:v>
                </c:pt>
                <c:pt idx="22400">
                  <c:v>42802</c:v>
                </c:pt>
                <c:pt idx="22401">
                  <c:v>42803</c:v>
                </c:pt>
                <c:pt idx="22402">
                  <c:v>42804</c:v>
                </c:pt>
                <c:pt idx="22403">
                  <c:v>42807</c:v>
                </c:pt>
                <c:pt idx="22404">
                  <c:v>42808</c:v>
                </c:pt>
                <c:pt idx="22405">
                  <c:v>42809</c:v>
                </c:pt>
                <c:pt idx="22406">
                  <c:v>42810</c:v>
                </c:pt>
                <c:pt idx="22407">
                  <c:v>42811</c:v>
                </c:pt>
                <c:pt idx="22408">
                  <c:v>42814</c:v>
                </c:pt>
                <c:pt idx="22409">
                  <c:v>42815</c:v>
                </c:pt>
                <c:pt idx="22410">
                  <c:v>42816</c:v>
                </c:pt>
                <c:pt idx="22411">
                  <c:v>42817</c:v>
                </c:pt>
                <c:pt idx="22412">
                  <c:v>42818</c:v>
                </c:pt>
                <c:pt idx="22413">
                  <c:v>42821</c:v>
                </c:pt>
                <c:pt idx="22414">
                  <c:v>42822</c:v>
                </c:pt>
                <c:pt idx="22415">
                  <c:v>42823</c:v>
                </c:pt>
                <c:pt idx="22416">
                  <c:v>42824</c:v>
                </c:pt>
                <c:pt idx="22417">
                  <c:v>42825</c:v>
                </c:pt>
                <c:pt idx="22418">
                  <c:v>42828</c:v>
                </c:pt>
                <c:pt idx="22419">
                  <c:v>42829</c:v>
                </c:pt>
                <c:pt idx="22420">
                  <c:v>42830</c:v>
                </c:pt>
                <c:pt idx="22421">
                  <c:v>42831</c:v>
                </c:pt>
                <c:pt idx="22422">
                  <c:v>42832</c:v>
                </c:pt>
                <c:pt idx="22423">
                  <c:v>42835</c:v>
                </c:pt>
                <c:pt idx="22424">
                  <c:v>42836</c:v>
                </c:pt>
                <c:pt idx="22425">
                  <c:v>42837</c:v>
                </c:pt>
                <c:pt idx="22426">
                  <c:v>42838</c:v>
                </c:pt>
                <c:pt idx="22427">
                  <c:v>42842</c:v>
                </c:pt>
                <c:pt idx="22428">
                  <c:v>42843</c:v>
                </c:pt>
                <c:pt idx="22429">
                  <c:v>42844</c:v>
                </c:pt>
                <c:pt idx="22430">
                  <c:v>42845</c:v>
                </c:pt>
                <c:pt idx="22431">
                  <c:v>42846</c:v>
                </c:pt>
                <c:pt idx="22432">
                  <c:v>42849</c:v>
                </c:pt>
                <c:pt idx="22433">
                  <c:v>42850</c:v>
                </c:pt>
                <c:pt idx="22434">
                  <c:v>42851</c:v>
                </c:pt>
                <c:pt idx="22435">
                  <c:v>42852</c:v>
                </c:pt>
                <c:pt idx="22436">
                  <c:v>42853</c:v>
                </c:pt>
                <c:pt idx="22437">
                  <c:v>42856</c:v>
                </c:pt>
                <c:pt idx="22438">
                  <c:v>42857</c:v>
                </c:pt>
                <c:pt idx="22439">
                  <c:v>42858</c:v>
                </c:pt>
                <c:pt idx="22440">
                  <c:v>42859</c:v>
                </c:pt>
                <c:pt idx="22441">
                  <c:v>42860</c:v>
                </c:pt>
                <c:pt idx="22442">
                  <c:v>42863</c:v>
                </c:pt>
                <c:pt idx="22443">
                  <c:v>42864</c:v>
                </c:pt>
                <c:pt idx="22444">
                  <c:v>42865</c:v>
                </c:pt>
                <c:pt idx="22445">
                  <c:v>42866</c:v>
                </c:pt>
                <c:pt idx="22446">
                  <c:v>42867</c:v>
                </c:pt>
                <c:pt idx="22447">
                  <c:v>42870</c:v>
                </c:pt>
                <c:pt idx="22448">
                  <c:v>42871</c:v>
                </c:pt>
                <c:pt idx="22449">
                  <c:v>42872</c:v>
                </c:pt>
                <c:pt idx="22450">
                  <c:v>42873</c:v>
                </c:pt>
                <c:pt idx="22451">
                  <c:v>42874</c:v>
                </c:pt>
                <c:pt idx="22452">
                  <c:v>42877</c:v>
                </c:pt>
                <c:pt idx="22453">
                  <c:v>42878</c:v>
                </c:pt>
                <c:pt idx="22454">
                  <c:v>42879</c:v>
                </c:pt>
                <c:pt idx="22455">
                  <c:v>42880</c:v>
                </c:pt>
                <c:pt idx="22456">
                  <c:v>42881</c:v>
                </c:pt>
                <c:pt idx="22457">
                  <c:v>42885</c:v>
                </c:pt>
                <c:pt idx="22458">
                  <c:v>42886</c:v>
                </c:pt>
                <c:pt idx="22459">
                  <c:v>42887</c:v>
                </c:pt>
                <c:pt idx="22460">
                  <c:v>42888</c:v>
                </c:pt>
                <c:pt idx="22461">
                  <c:v>42891</c:v>
                </c:pt>
                <c:pt idx="22462">
                  <c:v>42892</c:v>
                </c:pt>
                <c:pt idx="22463">
                  <c:v>42893</c:v>
                </c:pt>
                <c:pt idx="22464">
                  <c:v>42894</c:v>
                </c:pt>
                <c:pt idx="22465">
                  <c:v>42895</c:v>
                </c:pt>
                <c:pt idx="22466">
                  <c:v>42898</c:v>
                </c:pt>
                <c:pt idx="22467">
                  <c:v>42899</c:v>
                </c:pt>
                <c:pt idx="22468">
                  <c:v>42900</c:v>
                </c:pt>
                <c:pt idx="22469">
                  <c:v>42901</c:v>
                </c:pt>
                <c:pt idx="22470">
                  <c:v>42902</c:v>
                </c:pt>
                <c:pt idx="22471">
                  <c:v>42905</c:v>
                </c:pt>
                <c:pt idx="22472">
                  <c:v>42906</c:v>
                </c:pt>
                <c:pt idx="22473">
                  <c:v>42907</c:v>
                </c:pt>
                <c:pt idx="22474">
                  <c:v>42908</c:v>
                </c:pt>
                <c:pt idx="22475">
                  <c:v>42909</c:v>
                </c:pt>
                <c:pt idx="22476">
                  <c:v>42912</c:v>
                </c:pt>
                <c:pt idx="22477">
                  <c:v>42913</c:v>
                </c:pt>
                <c:pt idx="22478">
                  <c:v>42914</c:v>
                </c:pt>
                <c:pt idx="22479">
                  <c:v>42915</c:v>
                </c:pt>
                <c:pt idx="22480">
                  <c:v>42916</c:v>
                </c:pt>
                <c:pt idx="22481">
                  <c:v>42919</c:v>
                </c:pt>
                <c:pt idx="22482">
                  <c:v>42921</c:v>
                </c:pt>
                <c:pt idx="22483">
                  <c:v>42922</c:v>
                </c:pt>
                <c:pt idx="22484">
                  <c:v>42923</c:v>
                </c:pt>
                <c:pt idx="22485">
                  <c:v>42926</c:v>
                </c:pt>
                <c:pt idx="22486">
                  <c:v>42927</c:v>
                </c:pt>
                <c:pt idx="22487">
                  <c:v>42928</c:v>
                </c:pt>
                <c:pt idx="22488">
                  <c:v>42929</c:v>
                </c:pt>
                <c:pt idx="22489">
                  <c:v>42930</c:v>
                </c:pt>
                <c:pt idx="22490">
                  <c:v>42933</c:v>
                </c:pt>
                <c:pt idx="22491">
                  <c:v>42934</c:v>
                </c:pt>
                <c:pt idx="22492">
                  <c:v>42935</c:v>
                </c:pt>
                <c:pt idx="22493">
                  <c:v>42936</c:v>
                </c:pt>
                <c:pt idx="22494">
                  <c:v>42937</c:v>
                </c:pt>
                <c:pt idx="22495">
                  <c:v>42940</c:v>
                </c:pt>
                <c:pt idx="22496">
                  <c:v>42941</c:v>
                </c:pt>
                <c:pt idx="22497">
                  <c:v>42942</c:v>
                </c:pt>
                <c:pt idx="22498">
                  <c:v>42943</c:v>
                </c:pt>
                <c:pt idx="22499">
                  <c:v>42944</c:v>
                </c:pt>
                <c:pt idx="22500">
                  <c:v>42947</c:v>
                </c:pt>
                <c:pt idx="22501">
                  <c:v>42948</c:v>
                </c:pt>
                <c:pt idx="22502">
                  <c:v>42949</c:v>
                </c:pt>
                <c:pt idx="22503">
                  <c:v>42950</c:v>
                </c:pt>
                <c:pt idx="22504">
                  <c:v>42951</c:v>
                </c:pt>
                <c:pt idx="22505">
                  <c:v>42954</c:v>
                </c:pt>
                <c:pt idx="22506">
                  <c:v>42955</c:v>
                </c:pt>
                <c:pt idx="22507">
                  <c:v>42956</c:v>
                </c:pt>
                <c:pt idx="22508">
                  <c:v>42957</c:v>
                </c:pt>
                <c:pt idx="22509">
                  <c:v>42958</c:v>
                </c:pt>
                <c:pt idx="22510">
                  <c:v>42961</c:v>
                </c:pt>
                <c:pt idx="22511">
                  <c:v>42962</c:v>
                </c:pt>
                <c:pt idx="22512">
                  <c:v>42963</c:v>
                </c:pt>
                <c:pt idx="22513">
                  <c:v>42964</c:v>
                </c:pt>
                <c:pt idx="22514">
                  <c:v>42965</c:v>
                </c:pt>
                <c:pt idx="22515">
                  <c:v>42968</c:v>
                </c:pt>
                <c:pt idx="22516">
                  <c:v>42969</c:v>
                </c:pt>
                <c:pt idx="22517">
                  <c:v>42970</c:v>
                </c:pt>
                <c:pt idx="22518">
                  <c:v>42971</c:v>
                </c:pt>
                <c:pt idx="22519">
                  <c:v>42972</c:v>
                </c:pt>
                <c:pt idx="22520">
                  <c:v>42975</c:v>
                </c:pt>
                <c:pt idx="22521">
                  <c:v>42976</c:v>
                </c:pt>
                <c:pt idx="22522">
                  <c:v>42977</c:v>
                </c:pt>
                <c:pt idx="22523">
                  <c:v>42978</c:v>
                </c:pt>
                <c:pt idx="22524">
                  <c:v>42979</c:v>
                </c:pt>
                <c:pt idx="22525">
                  <c:v>42983</c:v>
                </c:pt>
                <c:pt idx="22526">
                  <c:v>42984</c:v>
                </c:pt>
                <c:pt idx="22527">
                  <c:v>42985</c:v>
                </c:pt>
                <c:pt idx="22528">
                  <c:v>42986</c:v>
                </c:pt>
                <c:pt idx="22529">
                  <c:v>42989</c:v>
                </c:pt>
                <c:pt idx="22530">
                  <c:v>42990</c:v>
                </c:pt>
                <c:pt idx="22531">
                  <c:v>42991</c:v>
                </c:pt>
                <c:pt idx="22532">
                  <c:v>42992</c:v>
                </c:pt>
                <c:pt idx="22533">
                  <c:v>42993</c:v>
                </c:pt>
                <c:pt idx="22534">
                  <c:v>42996</c:v>
                </c:pt>
                <c:pt idx="22535">
                  <c:v>42997</c:v>
                </c:pt>
                <c:pt idx="22536">
                  <c:v>42998</c:v>
                </c:pt>
                <c:pt idx="22537">
                  <c:v>42999</c:v>
                </c:pt>
                <c:pt idx="22538">
                  <c:v>43000</c:v>
                </c:pt>
                <c:pt idx="22539">
                  <c:v>43003</c:v>
                </c:pt>
                <c:pt idx="22540">
                  <c:v>43004</c:v>
                </c:pt>
                <c:pt idx="22541">
                  <c:v>43005</c:v>
                </c:pt>
                <c:pt idx="22542">
                  <c:v>43006</c:v>
                </c:pt>
                <c:pt idx="22543">
                  <c:v>43007</c:v>
                </c:pt>
                <c:pt idx="22544">
                  <c:v>43010</c:v>
                </c:pt>
                <c:pt idx="22545">
                  <c:v>43011</c:v>
                </c:pt>
                <c:pt idx="22546">
                  <c:v>43012</c:v>
                </c:pt>
                <c:pt idx="22547">
                  <c:v>43013</c:v>
                </c:pt>
                <c:pt idx="22548">
                  <c:v>43014</c:v>
                </c:pt>
                <c:pt idx="22549">
                  <c:v>43017</c:v>
                </c:pt>
                <c:pt idx="22550">
                  <c:v>43018</c:v>
                </c:pt>
                <c:pt idx="22551">
                  <c:v>43019</c:v>
                </c:pt>
                <c:pt idx="22552">
                  <c:v>43020</c:v>
                </c:pt>
                <c:pt idx="22553">
                  <c:v>43021</c:v>
                </c:pt>
                <c:pt idx="22554">
                  <c:v>43024</c:v>
                </c:pt>
                <c:pt idx="22555">
                  <c:v>43025</c:v>
                </c:pt>
                <c:pt idx="22556">
                  <c:v>43026</c:v>
                </c:pt>
                <c:pt idx="22557">
                  <c:v>43027</c:v>
                </c:pt>
                <c:pt idx="22558">
                  <c:v>43028</c:v>
                </c:pt>
                <c:pt idx="22559">
                  <c:v>43031</c:v>
                </c:pt>
                <c:pt idx="22560">
                  <c:v>43032</c:v>
                </c:pt>
                <c:pt idx="22561">
                  <c:v>43033</c:v>
                </c:pt>
                <c:pt idx="22562">
                  <c:v>43034</c:v>
                </c:pt>
                <c:pt idx="22563">
                  <c:v>43035</c:v>
                </c:pt>
                <c:pt idx="22564">
                  <c:v>43038</c:v>
                </c:pt>
                <c:pt idx="22565">
                  <c:v>43039</c:v>
                </c:pt>
                <c:pt idx="22566">
                  <c:v>43040</c:v>
                </c:pt>
                <c:pt idx="22567">
                  <c:v>43041</c:v>
                </c:pt>
                <c:pt idx="22568">
                  <c:v>43042</c:v>
                </c:pt>
                <c:pt idx="22569">
                  <c:v>43045</c:v>
                </c:pt>
                <c:pt idx="22570">
                  <c:v>43046</c:v>
                </c:pt>
                <c:pt idx="22571">
                  <c:v>43047</c:v>
                </c:pt>
                <c:pt idx="22572">
                  <c:v>43048</c:v>
                </c:pt>
                <c:pt idx="22573">
                  <c:v>43049</c:v>
                </c:pt>
                <c:pt idx="22574">
                  <c:v>43052</c:v>
                </c:pt>
                <c:pt idx="22575">
                  <c:v>43053</c:v>
                </c:pt>
                <c:pt idx="22576">
                  <c:v>43054</c:v>
                </c:pt>
                <c:pt idx="22577">
                  <c:v>43055</c:v>
                </c:pt>
                <c:pt idx="22578">
                  <c:v>43056</c:v>
                </c:pt>
                <c:pt idx="22579">
                  <c:v>43059</c:v>
                </c:pt>
                <c:pt idx="22580">
                  <c:v>43060</c:v>
                </c:pt>
                <c:pt idx="22581">
                  <c:v>43061</c:v>
                </c:pt>
                <c:pt idx="22582">
                  <c:v>43063</c:v>
                </c:pt>
                <c:pt idx="22583">
                  <c:v>43066</c:v>
                </c:pt>
                <c:pt idx="22584">
                  <c:v>43067</c:v>
                </c:pt>
                <c:pt idx="22585">
                  <c:v>43068</c:v>
                </c:pt>
                <c:pt idx="22586">
                  <c:v>43069</c:v>
                </c:pt>
                <c:pt idx="22587">
                  <c:v>43070</c:v>
                </c:pt>
                <c:pt idx="22588">
                  <c:v>43073</c:v>
                </c:pt>
                <c:pt idx="22589">
                  <c:v>43074</c:v>
                </c:pt>
                <c:pt idx="22590">
                  <c:v>43075</c:v>
                </c:pt>
                <c:pt idx="22591">
                  <c:v>43076</c:v>
                </c:pt>
                <c:pt idx="22592">
                  <c:v>43077</c:v>
                </c:pt>
                <c:pt idx="22593">
                  <c:v>43080</c:v>
                </c:pt>
                <c:pt idx="22594">
                  <c:v>43081</c:v>
                </c:pt>
                <c:pt idx="22595">
                  <c:v>43082</c:v>
                </c:pt>
                <c:pt idx="22596">
                  <c:v>43083</c:v>
                </c:pt>
                <c:pt idx="22597">
                  <c:v>43084</c:v>
                </c:pt>
                <c:pt idx="22598">
                  <c:v>43087</c:v>
                </c:pt>
                <c:pt idx="22599">
                  <c:v>43088</c:v>
                </c:pt>
                <c:pt idx="22600">
                  <c:v>43089</c:v>
                </c:pt>
                <c:pt idx="22601">
                  <c:v>43090</c:v>
                </c:pt>
                <c:pt idx="22602">
                  <c:v>43091</c:v>
                </c:pt>
                <c:pt idx="22603">
                  <c:v>43095</c:v>
                </c:pt>
                <c:pt idx="22604">
                  <c:v>43096</c:v>
                </c:pt>
                <c:pt idx="22605">
                  <c:v>43097</c:v>
                </c:pt>
                <c:pt idx="22606">
                  <c:v>43098</c:v>
                </c:pt>
                <c:pt idx="22607">
                  <c:v>43102</c:v>
                </c:pt>
                <c:pt idx="22608">
                  <c:v>43103</c:v>
                </c:pt>
                <c:pt idx="22609">
                  <c:v>43104</c:v>
                </c:pt>
                <c:pt idx="22610">
                  <c:v>43105</c:v>
                </c:pt>
                <c:pt idx="22611">
                  <c:v>43108</c:v>
                </c:pt>
                <c:pt idx="22612">
                  <c:v>43109</c:v>
                </c:pt>
                <c:pt idx="22613">
                  <c:v>43110</c:v>
                </c:pt>
                <c:pt idx="22614">
                  <c:v>43111</c:v>
                </c:pt>
                <c:pt idx="22615">
                  <c:v>43112</c:v>
                </c:pt>
                <c:pt idx="22616">
                  <c:v>43116</c:v>
                </c:pt>
                <c:pt idx="22617">
                  <c:v>43117</c:v>
                </c:pt>
                <c:pt idx="22618">
                  <c:v>43118</c:v>
                </c:pt>
                <c:pt idx="22619">
                  <c:v>43119</c:v>
                </c:pt>
                <c:pt idx="22620">
                  <c:v>43122</c:v>
                </c:pt>
                <c:pt idx="22621">
                  <c:v>43123</c:v>
                </c:pt>
                <c:pt idx="22622">
                  <c:v>43124</c:v>
                </c:pt>
                <c:pt idx="22623">
                  <c:v>43125</c:v>
                </c:pt>
                <c:pt idx="22624">
                  <c:v>43126</c:v>
                </c:pt>
                <c:pt idx="22625">
                  <c:v>43129</c:v>
                </c:pt>
                <c:pt idx="22626">
                  <c:v>43130</c:v>
                </c:pt>
                <c:pt idx="22627">
                  <c:v>43131</c:v>
                </c:pt>
                <c:pt idx="22628">
                  <c:v>43132</c:v>
                </c:pt>
                <c:pt idx="22629">
                  <c:v>43133</c:v>
                </c:pt>
                <c:pt idx="22630">
                  <c:v>43136</c:v>
                </c:pt>
                <c:pt idx="22631">
                  <c:v>43137</c:v>
                </c:pt>
                <c:pt idx="22632">
                  <c:v>43138</c:v>
                </c:pt>
                <c:pt idx="22633">
                  <c:v>43139</c:v>
                </c:pt>
                <c:pt idx="22634">
                  <c:v>43140</c:v>
                </c:pt>
                <c:pt idx="22635">
                  <c:v>43143</c:v>
                </c:pt>
                <c:pt idx="22636">
                  <c:v>43144</c:v>
                </c:pt>
                <c:pt idx="22637">
                  <c:v>43145</c:v>
                </c:pt>
                <c:pt idx="22638">
                  <c:v>43146</c:v>
                </c:pt>
                <c:pt idx="22639">
                  <c:v>43147</c:v>
                </c:pt>
                <c:pt idx="22640">
                  <c:v>43151</c:v>
                </c:pt>
                <c:pt idx="22641">
                  <c:v>43152</c:v>
                </c:pt>
                <c:pt idx="22642">
                  <c:v>43153</c:v>
                </c:pt>
                <c:pt idx="22643">
                  <c:v>43154</c:v>
                </c:pt>
                <c:pt idx="22644">
                  <c:v>43157</c:v>
                </c:pt>
                <c:pt idx="22645">
                  <c:v>43158</c:v>
                </c:pt>
                <c:pt idx="22646">
                  <c:v>43159</c:v>
                </c:pt>
                <c:pt idx="22647">
                  <c:v>43160</c:v>
                </c:pt>
                <c:pt idx="22648">
                  <c:v>43161</c:v>
                </c:pt>
                <c:pt idx="22649">
                  <c:v>43164</c:v>
                </c:pt>
                <c:pt idx="22650">
                  <c:v>43165</c:v>
                </c:pt>
                <c:pt idx="22651">
                  <c:v>43166</c:v>
                </c:pt>
                <c:pt idx="22652">
                  <c:v>43167</c:v>
                </c:pt>
                <c:pt idx="22653">
                  <c:v>43168</c:v>
                </c:pt>
                <c:pt idx="22654">
                  <c:v>43171</c:v>
                </c:pt>
                <c:pt idx="22655">
                  <c:v>43172</c:v>
                </c:pt>
                <c:pt idx="22656">
                  <c:v>43173</c:v>
                </c:pt>
                <c:pt idx="22657">
                  <c:v>43174</c:v>
                </c:pt>
                <c:pt idx="22658">
                  <c:v>43175</c:v>
                </c:pt>
                <c:pt idx="22659">
                  <c:v>43178</c:v>
                </c:pt>
                <c:pt idx="22660">
                  <c:v>43179</c:v>
                </c:pt>
                <c:pt idx="22661">
                  <c:v>43180</c:v>
                </c:pt>
                <c:pt idx="22662">
                  <c:v>43181</c:v>
                </c:pt>
                <c:pt idx="22663">
                  <c:v>43182</c:v>
                </c:pt>
                <c:pt idx="22664">
                  <c:v>43185</c:v>
                </c:pt>
                <c:pt idx="22665">
                  <c:v>43186</c:v>
                </c:pt>
                <c:pt idx="22666">
                  <c:v>43187</c:v>
                </c:pt>
                <c:pt idx="22667">
                  <c:v>43188</c:v>
                </c:pt>
                <c:pt idx="22668">
                  <c:v>43192</c:v>
                </c:pt>
                <c:pt idx="22669">
                  <c:v>43193</c:v>
                </c:pt>
                <c:pt idx="22670">
                  <c:v>43194</c:v>
                </c:pt>
                <c:pt idx="22671">
                  <c:v>43195</c:v>
                </c:pt>
                <c:pt idx="22672">
                  <c:v>43196</c:v>
                </c:pt>
                <c:pt idx="22673">
                  <c:v>43199</c:v>
                </c:pt>
                <c:pt idx="22674">
                  <c:v>43200</c:v>
                </c:pt>
                <c:pt idx="22675">
                  <c:v>43201</c:v>
                </c:pt>
                <c:pt idx="22676">
                  <c:v>43202</c:v>
                </c:pt>
                <c:pt idx="22677">
                  <c:v>43203</c:v>
                </c:pt>
                <c:pt idx="22678">
                  <c:v>43206</c:v>
                </c:pt>
                <c:pt idx="22679">
                  <c:v>43207</c:v>
                </c:pt>
                <c:pt idx="22680">
                  <c:v>43208</c:v>
                </c:pt>
                <c:pt idx="22681">
                  <c:v>43209</c:v>
                </c:pt>
                <c:pt idx="22682">
                  <c:v>43210</c:v>
                </c:pt>
                <c:pt idx="22683">
                  <c:v>43213</c:v>
                </c:pt>
                <c:pt idx="22684">
                  <c:v>43214</c:v>
                </c:pt>
                <c:pt idx="22685">
                  <c:v>43215</c:v>
                </c:pt>
                <c:pt idx="22686">
                  <c:v>43216</c:v>
                </c:pt>
                <c:pt idx="22687">
                  <c:v>43217</c:v>
                </c:pt>
                <c:pt idx="22688">
                  <c:v>43220</c:v>
                </c:pt>
                <c:pt idx="22689">
                  <c:v>43221</c:v>
                </c:pt>
                <c:pt idx="22690">
                  <c:v>43222</c:v>
                </c:pt>
                <c:pt idx="22691">
                  <c:v>43223</c:v>
                </c:pt>
                <c:pt idx="22692">
                  <c:v>43224</c:v>
                </c:pt>
                <c:pt idx="22693">
                  <c:v>43227</c:v>
                </c:pt>
                <c:pt idx="22694">
                  <c:v>43228</c:v>
                </c:pt>
                <c:pt idx="22695">
                  <c:v>43229</c:v>
                </c:pt>
                <c:pt idx="22696">
                  <c:v>43230</c:v>
                </c:pt>
                <c:pt idx="22697">
                  <c:v>43231</c:v>
                </c:pt>
                <c:pt idx="22698">
                  <c:v>43234</c:v>
                </c:pt>
                <c:pt idx="22699">
                  <c:v>43235</c:v>
                </c:pt>
                <c:pt idx="22700">
                  <c:v>43236</c:v>
                </c:pt>
                <c:pt idx="22701">
                  <c:v>43237</c:v>
                </c:pt>
                <c:pt idx="22702">
                  <c:v>43238</c:v>
                </c:pt>
                <c:pt idx="22703">
                  <c:v>43241</c:v>
                </c:pt>
                <c:pt idx="22704">
                  <c:v>43242</c:v>
                </c:pt>
                <c:pt idx="22705">
                  <c:v>43243</c:v>
                </c:pt>
                <c:pt idx="22706">
                  <c:v>43244</c:v>
                </c:pt>
                <c:pt idx="22707">
                  <c:v>43245</c:v>
                </c:pt>
                <c:pt idx="22708">
                  <c:v>43249</c:v>
                </c:pt>
                <c:pt idx="22709">
                  <c:v>43250</c:v>
                </c:pt>
                <c:pt idx="22710">
                  <c:v>43251</c:v>
                </c:pt>
                <c:pt idx="22711">
                  <c:v>43252</c:v>
                </c:pt>
                <c:pt idx="22712">
                  <c:v>43255</c:v>
                </c:pt>
                <c:pt idx="22713">
                  <c:v>43256</c:v>
                </c:pt>
                <c:pt idx="22714">
                  <c:v>43257</c:v>
                </c:pt>
                <c:pt idx="22715">
                  <c:v>43258</c:v>
                </c:pt>
                <c:pt idx="22716">
                  <c:v>43259</c:v>
                </c:pt>
                <c:pt idx="22717">
                  <c:v>43262</c:v>
                </c:pt>
                <c:pt idx="22718">
                  <c:v>43263</c:v>
                </c:pt>
                <c:pt idx="22719">
                  <c:v>43264</c:v>
                </c:pt>
                <c:pt idx="22720">
                  <c:v>43265</c:v>
                </c:pt>
                <c:pt idx="22721">
                  <c:v>43266</c:v>
                </c:pt>
                <c:pt idx="22722">
                  <c:v>43269</c:v>
                </c:pt>
                <c:pt idx="22723">
                  <c:v>43270</c:v>
                </c:pt>
                <c:pt idx="22724">
                  <c:v>43271</c:v>
                </c:pt>
                <c:pt idx="22725">
                  <c:v>43272</c:v>
                </c:pt>
                <c:pt idx="22726">
                  <c:v>43273</c:v>
                </c:pt>
                <c:pt idx="22727">
                  <c:v>43276</c:v>
                </c:pt>
                <c:pt idx="22728">
                  <c:v>43277</c:v>
                </c:pt>
                <c:pt idx="22729">
                  <c:v>43278</c:v>
                </c:pt>
                <c:pt idx="22730">
                  <c:v>43279</c:v>
                </c:pt>
                <c:pt idx="22731">
                  <c:v>43280</c:v>
                </c:pt>
                <c:pt idx="22732">
                  <c:v>43283</c:v>
                </c:pt>
                <c:pt idx="22733">
                  <c:v>43284</c:v>
                </c:pt>
                <c:pt idx="22734">
                  <c:v>43286</c:v>
                </c:pt>
                <c:pt idx="22735">
                  <c:v>43287</c:v>
                </c:pt>
                <c:pt idx="22736">
                  <c:v>43290</c:v>
                </c:pt>
                <c:pt idx="22737">
                  <c:v>43291</c:v>
                </c:pt>
                <c:pt idx="22738">
                  <c:v>43292</c:v>
                </c:pt>
                <c:pt idx="22739">
                  <c:v>43293</c:v>
                </c:pt>
                <c:pt idx="22740">
                  <c:v>43294</c:v>
                </c:pt>
                <c:pt idx="22741">
                  <c:v>43297</c:v>
                </c:pt>
                <c:pt idx="22742">
                  <c:v>43298</c:v>
                </c:pt>
                <c:pt idx="22743">
                  <c:v>43299</c:v>
                </c:pt>
                <c:pt idx="22744">
                  <c:v>43300</c:v>
                </c:pt>
                <c:pt idx="22745">
                  <c:v>43301</c:v>
                </c:pt>
                <c:pt idx="22746">
                  <c:v>43304</c:v>
                </c:pt>
                <c:pt idx="22747">
                  <c:v>43305</c:v>
                </c:pt>
                <c:pt idx="22748">
                  <c:v>43306</c:v>
                </c:pt>
                <c:pt idx="22749">
                  <c:v>43307</c:v>
                </c:pt>
                <c:pt idx="22750">
                  <c:v>43308</c:v>
                </c:pt>
                <c:pt idx="22751">
                  <c:v>43311</c:v>
                </c:pt>
                <c:pt idx="22752">
                  <c:v>43312</c:v>
                </c:pt>
                <c:pt idx="22753">
                  <c:v>43313</c:v>
                </c:pt>
                <c:pt idx="22754">
                  <c:v>43314</c:v>
                </c:pt>
                <c:pt idx="22755">
                  <c:v>43315</c:v>
                </c:pt>
                <c:pt idx="22756">
                  <c:v>43318</c:v>
                </c:pt>
                <c:pt idx="22757">
                  <c:v>43319</c:v>
                </c:pt>
                <c:pt idx="22758">
                  <c:v>43320</c:v>
                </c:pt>
                <c:pt idx="22759">
                  <c:v>43321</c:v>
                </c:pt>
                <c:pt idx="22760">
                  <c:v>43322</c:v>
                </c:pt>
                <c:pt idx="22761">
                  <c:v>43325</c:v>
                </c:pt>
                <c:pt idx="22762">
                  <c:v>43326</c:v>
                </c:pt>
                <c:pt idx="22763">
                  <c:v>43327</c:v>
                </c:pt>
                <c:pt idx="22764">
                  <c:v>43328</c:v>
                </c:pt>
                <c:pt idx="22765">
                  <c:v>43329</c:v>
                </c:pt>
                <c:pt idx="22766">
                  <c:v>43332</c:v>
                </c:pt>
                <c:pt idx="22767">
                  <c:v>43333</c:v>
                </c:pt>
                <c:pt idx="22768">
                  <c:v>43334</c:v>
                </c:pt>
                <c:pt idx="22769">
                  <c:v>43335</c:v>
                </c:pt>
                <c:pt idx="22770">
                  <c:v>43336</c:v>
                </c:pt>
                <c:pt idx="22771">
                  <c:v>43339</c:v>
                </c:pt>
                <c:pt idx="22772">
                  <c:v>43340</c:v>
                </c:pt>
                <c:pt idx="22773">
                  <c:v>43341</c:v>
                </c:pt>
                <c:pt idx="22774">
                  <c:v>43342</c:v>
                </c:pt>
                <c:pt idx="22775">
                  <c:v>43343</c:v>
                </c:pt>
                <c:pt idx="22776">
                  <c:v>43347</c:v>
                </c:pt>
                <c:pt idx="22777">
                  <c:v>43348</c:v>
                </c:pt>
                <c:pt idx="22778">
                  <c:v>43349</c:v>
                </c:pt>
                <c:pt idx="22779">
                  <c:v>43350</c:v>
                </c:pt>
                <c:pt idx="22780">
                  <c:v>43353</c:v>
                </c:pt>
                <c:pt idx="22781">
                  <c:v>43354</c:v>
                </c:pt>
                <c:pt idx="22782">
                  <c:v>43355</c:v>
                </c:pt>
                <c:pt idx="22783">
                  <c:v>43356</c:v>
                </c:pt>
                <c:pt idx="22784">
                  <c:v>43357</c:v>
                </c:pt>
                <c:pt idx="22785">
                  <c:v>43360</c:v>
                </c:pt>
                <c:pt idx="22786">
                  <c:v>43361</c:v>
                </c:pt>
                <c:pt idx="22787">
                  <c:v>43362</c:v>
                </c:pt>
                <c:pt idx="22788">
                  <c:v>43363</c:v>
                </c:pt>
                <c:pt idx="22789">
                  <c:v>43364</c:v>
                </c:pt>
                <c:pt idx="22790">
                  <c:v>43367</c:v>
                </c:pt>
                <c:pt idx="22791">
                  <c:v>43368</c:v>
                </c:pt>
                <c:pt idx="22792">
                  <c:v>43369</c:v>
                </c:pt>
                <c:pt idx="22793">
                  <c:v>43370</c:v>
                </c:pt>
                <c:pt idx="22794">
                  <c:v>43371</c:v>
                </c:pt>
                <c:pt idx="22795">
                  <c:v>43374</c:v>
                </c:pt>
                <c:pt idx="22796">
                  <c:v>43375</c:v>
                </c:pt>
                <c:pt idx="22797">
                  <c:v>43376</c:v>
                </c:pt>
                <c:pt idx="22798">
                  <c:v>43377</c:v>
                </c:pt>
                <c:pt idx="22799">
                  <c:v>43378</c:v>
                </c:pt>
                <c:pt idx="22800">
                  <c:v>43381</c:v>
                </c:pt>
                <c:pt idx="22801">
                  <c:v>43382</c:v>
                </c:pt>
                <c:pt idx="22802">
                  <c:v>43383</c:v>
                </c:pt>
                <c:pt idx="22803">
                  <c:v>43384</c:v>
                </c:pt>
                <c:pt idx="22804">
                  <c:v>43385</c:v>
                </c:pt>
                <c:pt idx="22805">
                  <c:v>43388</c:v>
                </c:pt>
                <c:pt idx="22806">
                  <c:v>43389</c:v>
                </c:pt>
                <c:pt idx="22807">
                  <c:v>43390</c:v>
                </c:pt>
                <c:pt idx="22808">
                  <c:v>43391</c:v>
                </c:pt>
                <c:pt idx="22809">
                  <c:v>43392</c:v>
                </c:pt>
                <c:pt idx="22810">
                  <c:v>43395</c:v>
                </c:pt>
                <c:pt idx="22811">
                  <c:v>43396</c:v>
                </c:pt>
                <c:pt idx="22812">
                  <c:v>43397</c:v>
                </c:pt>
                <c:pt idx="22813">
                  <c:v>43398</c:v>
                </c:pt>
                <c:pt idx="22814">
                  <c:v>43399</c:v>
                </c:pt>
                <c:pt idx="22815">
                  <c:v>43402</c:v>
                </c:pt>
                <c:pt idx="22816">
                  <c:v>43403</c:v>
                </c:pt>
                <c:pt idx="22817">
                  <c:v>43404</c:v>
                </c:pt>
                <c:pt idx="22818">
                  <c:v>43405</c:v>
                </c:pt>
                <c:pt idx="22819">
                  <c:v>43406</c:v>
                </c:pt>
                <c:pt idx="22820">
                  <c:v>43409</c:v>
                </c:pt>
                <c:pt idx="22821">
                  <c:v>43410</c:v>
                </c:pt>
                <c:pt idx="22822">
                  <c:v>43411</c:v>
                </c:pt>
                <c:pt idx="22823">
                  <c:v>43412</c:v>
                </c:pt>
                <c:pt idx="22824">
                  <c:v>43413</c:v>
                </c:pt>
                <c:pt idx="22825">
                  <c:v>43416</c:v>
                </c:pt>
                <c:pt idx="22826">
                  <c:v>43417</c:v>
                </c:pt>
                <c:pt idx="22827">
                  <c:v>43418</c:v>
                </c:pt>
                <c:pt idx="22828">
                  <c:v>43419</c:v>
                </c:pt>
                <c:pt idx="22829">
                  <c:v>43420</c:v>
                </c:pt>
                <c:pt idx="22830">
                  <c:v>43423</c:v>
                </c:pt>
                <c:pt idx="22831">
                  <c:v>43424</c:v>
                </c:pt>
                <c:pt idx="22832">
                  <c:v>43425</c:v>
                </c:pt>
                <c:pt idx="22833">
                  <c:v>43427</c:v>
                </c:pt>
                <c:pt idx="22834">
                  <c:v>43430</c:v>
                </c:pt>
                <c:pt idx="22835">
                  <c:v>43431</c:v>
                </c:pt>
                <c:pt idx="22836">
                  <c:v>43432</c:v>
                </c:pt>
                <c:pt idx="22837">
                  <c:v>43433</c:v>
                </c:pt>
                <c:pt idx="22838">
                  <c:v>43434</c:v>
                </c:pt>
                <c:pt idx="22839">
                  <c:v>43437</c:v>
                </c:pt>
                <c:pt idx="22840">
                  <c:v>43438</c:v>
                </c:pt>
                <c:pt idx="22841">
                  <c:v>43440</c:v>
                </c:pt>
                <c:pt idx="22842">
                  <c:v>43441</c:v>
                </c:pt>
                <c:pt idx="22843">
                  <c:v>43444</c:v>
                </c:pt>
                <c:pt idx="22844">
                  <c:v>43445</c:v>
                </c:pt>
                <c:pt idx="22845">
                  <c:v>43446</c:v>
                </c:pt>
                <c:pt idx="22846">
                  <c:v>43447</c:v>
                </c:pt>
                <c:pt idx="22847">
                  <c:v>43448</c:v>
                </c:pt>
                <c:pt idx="22848">
                  <c:v>43451</c:v>
                </c:pt>
                <c:pt idx="22849">
                  <c:v>43452</c:v>
                </c:pt>
                <c:pt idx="22850">
                  <c:v>43453</c:v>
                </c:pt>
                <c:pt idx="22851">
                  <c:v>43454</c:v>
                </c:pt>
                <c:pt idx="22852">
                  <c:v>43455</c:v>
                </c:pt>
                <c:pt idx="22853">
                  <c:v>43458</c:v>
                </c:pt>
                <c:pt idx="22854">
                  <c:v>43460</c:v>
                </c:pt>
                <c:pt idx="22855">
                  <c:v>43461</c:v>
                </c:pt>
                <c:pt idx="22856">
                  <c:v>43462</c:v>
                </c:pt>
                <c:pt idx="22857">
                  <c:v>43465</c:v>
                </c:pt>
                <c:pt idx="22858">
                  <c:v>43467</c:v>
                </c:pt>
                <c:pt idx="22859">
                  <c:v>43468</c:v>
                </c:pt>
                <c:pt idx="22860">
                  <c:v>43469</c:v>
                </c:pt>
                <c:pt idx="22861">
                  <c:v>43472</c:v>
                </c:pt>
                <c:pt idx="22862">
                  <c:v>43473</c:v>
                </c:pt>
                <c:pt idx="22863">
                  <c:v>43474</c:v>
                </c:pt>
                <c:pt idx="22864">
                  <c:v>43475</c:v>
                </c:pt>
                <c:pt idx="22865">
                  <c:v>43476</c:v>
                </c:pt>
                <c:pt idx="22866">
                  <c:v>43479</c:v>
                </c:pt>
                <c:pt idx="22867">
                  <c:v>43480</c:v>
                </c:pt>
                <c:pt idx="22868">
                  <c:v>43481</c:v>
                </c:pt>
                <c:pt idx="22869">
                  <c:v>43482</c:v>
                </c:pt>
                <c:pt idx="22870">
                  <c:v>43483</c:v>
                </c:pt>
                <c:pt idx="22871">
                  <c:v>43487</c:v>
                </c:pt>
                <c:pt idx="22872">
                  <c:v>43488</c:v>
                </c:pt>
                <c:pt idx="22873">
                  <c:v>43489</c:v>
                </c:pt>
                <c:pt idx="22874">
                  <c:v>43490</c:v>
                </c:pt>
                <c:pt idx="22875">
                  <c:v>43493</c:v>
                </c:pt>
                <c:pt idx="22876">
                  <c:v>43494</c:v>
                </c:pt>
                <c:pt idx="22877">
                  <c:v>43495</c:v>
                </c:pt>
                <c:pt idx="22878">
                  <c:v>43496</c:v>
                </c:pt>
                <c:pt idx="22879">
                  <c:v>43497</c:v>
                </c:pt>
                <c:pt idx="22880">
                  <c:v>43500</c:v>
                </c:pt>
                <c:pt idx="22881">
                  <c:v>43501</c:v>
                </c:pt>
                <c:pt idx="22882">
                  <c:v>43502</c:v>
                </c:pt>
                <c:pt idx="22883">
                  <c:v>43503</c:v>
                </c:pt>
                <c:pt idx="22884">
                  <c:v>43504</c:v>
                </c:pt>
                <c:pt idx="22885">
                  <c:v>43507</c:v>
                </c:pt>
                <c:pt idx="22886">
                  <c:v>43508</c:v>
                </c:pt>
                <c:pt idx="22887">
                  <c:v>43509</c:v>
                </c:pt>
                <c:pt idx="22888">
                  <c:v>43510</c:v>
                </c:pt>
                <c:pt idx="22889">
                  <c:v>43511</c:v>
                </c:pt>
                <c:pt idx="22890">
                  <c:v>43515</c:v>
                </c:pt>
                <c:pt idx="22891">
                  <c:v>43516</c:v>
                </c:pt>
                <c:pt idx="22892">
                  <c:v>43517</c:v>
                </c:pt>
                <c:pt idx="22893">
                  <c:v>43518</c:v>
                </c:pt>
                <c:pt idx="22894">
                  <c:v>43521</c:v>
                </c:pt>
                <c:pt idx="22895">
                  <c:v>43522</c:v>
                </c:pt>
                <c:pt idx="22896">
                  <c:v>43523</c:v>
                </c:pt>
                <c:pt idx="22897">
                  <c:v>43524</c:v>
                </c:pt>
                <c:pt idx="22898">
                  <c:v>43525</c:v>
                </c:pt>
                <c:pt idx="22899">
                  <c:v>43528</c:v>
                </c:pt>
                <c:pt idx="22900">
                  <c:v>43529</c:v>
                </c:pt>
                <c:pt idx="22901">
                  <c:v>43530</c:v>
                </c:pt>
                <c:pt idx="22902">
                  <c:v>43531</c:v>
                </c:pt>
                <c:pt idx="22903">
                  <c:v>43532</c:v>
                </c:pt>
                <c:pt idx="22904">
                  <c:v>43535</c:v>
                </c:pt>
                <c:pt idx="22905">
                  <c:v>43536</c:v>
                </c:pt>
                <c:pt idx="22906">
                  <c:v>43537</c:v>
                </c:pt>
                <c:pt idx="22907">
                  <c:v>43538</c:v>
                </c:pt>
                <c:pt idx="22908">
                  <c:v>43539</c:v>
                </c:pt>
                <c:pt idx="22909">
                  <c:v>43542</c:v>
                </c:pt>
                <c:pt idx="22910">
                  <c:v>43543</c:v>
                </c:pt>
                <c:pt idx="22911">
                  <c:v>43544</c:v>
                </c:pt>
                <c:pt idx="22912">
                  <c:v>43545</c:v>
                </c:pt>
                <c:pt idx="22913">
                  <c:v>43546</c:v>
                </c:pt>
                <c:pt idx="22914">
                  <c:v>43549</c:v>
                </c:pt>
                <c:pt idx="22915">
                  <c:v>43550</c:v>
                </c:pt>
                <c:pt idx="22916">
                  <c:v>43551</c:v>
                </c:pt>
                <c:pt idx="22917">
                  <c:v>43552</c:v>
                </c:pt>
                <c:pt idx="22918">
                  <c:v>43553</c:v>
                </c:pt>
                <c:pt idx="22919">
                  <c:v>43556</c:v>
                </c:pt>
                <c:pt idx="22920">
                  <c:v>43557</c:v>
                </c:pt>
                <c:pt idx="22921">
                  <c:v>43558</c:v>
                </c:pt>
                <c:pt idx="22922">
                  <c:v>43559</c:v>
                </c:pt>
                <c:pt idx="22923">
                  <c:v>43560</c:v>
                </c:pt>
                <c:pt idx="22924">
                  <c:v>43563</c:v>
                </c:pt>
                <c:pt idx="22925">
                  <c:v>43564</c:v>
                </c:pt>
                <c:pt idx="22926">
                  <c:v>43565</c:v>
                </c:pt>
                <c:pt idx="22927">
                  <c:v>43566</c:v>
                </c:pt>
                <c:pt idx="22928">
                  <c:v>43567</c:v>
                </c:pt>
                <c:pt idx="22929">
                  <c:v>43570</c:v>
                </c:pt>
                <c:pt idx="22930">
                  <c:v>43571</c:v>
                </c:pt>
                <c:pt idx="22931">
                  <c:v>43572</c:v>
                </c:pt>
                <c:pt idx="22932">
                  <c:v>43573</c:v>
                </c:pt>
                <c:pt idx="22933">
                  <c:v>43577</c:v>
                </c:pt>
                <c:pt idx="22934">
                  <c:v>43578</c:v>
                </c:pt>
                <c:pt idx="22935">
                  <c:v>43579</c:v>
                </c:pt>
                <c:pt idx="22936">
                  <c:v>43580</c:v>
                </c:pt>
                <c:pt idx="22937">
                  <c:v>43581</c:v>
                </c:pt>
                <c:pt idx="22938">
                  <c:v>43584</c:v>
                </c:pt>
                <c:pt idx="22939">
                  <c:v>43585</c:v>
                </c:pt>
                <c:pt idx="22940">
                  <c:v>43586</c:v>
                </c:pt>
                <c:pt idx="22941">
                  <c:v>43587</c:v>
                </c:pt>
                <c:pt idx="22942">
                  <c:v>43588</c:v>
                </c:pt>
                <c:pt idx="22943">
                  <c:v>43591</c:v>
                </c:pt>
                <c:pt idx="22944">
                  <c:v>43592</c:v>
                </c:pt>
                <c:pt idx="22945">
                  <c:v>43593</c:v>
                </c:pt>
                <c:pt idx="22946">
                  <c:v>43594</c:v>
                </c:pt>
                <c:pt idx="22947">
                  <c:v>43595</c:v>
                </c:pt>
                <c:pt idx="22948">
                  <c:v>43598</c:v>
                </c:pt>
                <c:pt idx="22949">
                  <c:v>43599</c:v>
                </c:pt>
                <c:pt idx="22950">
                  <c:v>43600</c:v>
                </c:pt>
                <c:pt idx="22951">
                  <c:v>43601</c:v>
                </c:pt>
                <c:pt idx="22952">
                  <c:v>43602</c:v>
                </c:pt>
                <c:pt idx="22953">
                  <c:v>43605</c:v>
                </c:pt>
                <c:pt idx="22954">
                  <c:v>43606</c:v>
                </c:pt>
                <c:pt idx="22955">
                  <c:v>43607</c:v>
                </c:pt>
                <c:pt idx="22956">
                  <c:v>43608</c:v>
                </c:pt>
                <c:pt idx="22957">
                  <c:v>43609</c:v>
                </c:pt>
                <c:pt idx="22958">
                  <c:v>43613</c:v>
                </c:pt>
                <c:pt idx="22959">
                  <c:v>43614</c:v>
                </c:pt>
                <c:pt idx="22960">
                  <c:v>43615</c:v>
                </c:pt>
                <c:pt idx="22961">
                  <c:v>43616</c:v>
                </c:pt>
                <c:pt idx="22962">
                  <c:v>43619</c:v>
                </c:pt>
                <c:pt idx="22963">
                  <c:v>43620</c:v>
                </c:pt>
                <c:pt idx="22964">
                  <c:v>43621</c:v>
                </c:pt>
                <c:pt idx="22965">
                  <c:v>43622</c:v>
                </c:pt>
                <c:pt idx="22966">
                  <c:v>43623</c:v>
                </c:pt>
                <c:pt idx="22967">
                  <c:v>43626</c:v>
                </c:pt>
                <c:pt idx="22968">
                  <c:v>43627</c:v>
                </c:pt>
                <c:pt idx="22969">
                  <c:v>43628</c:v>
                </c:pt>
                <c:pt idx="22970">
                  <c:v>43629</c:v>
                </c:pt>
                <c:pt idx="22971">
                  <c:v>43630</c:v>
                </c:pt>
                <c:pt idx="22972">
                  <c:v>43633</c:v>
                </c:pt>
                <c:pt idx="22973">
                  <c:v>43634</c:v>
                </c:pt>
                <c:pt idx="22974">
                  <c:v>43635</c:v>
                </c:pt>
                <c:pt idx="22975">
                  <c:v>43636</c:v>
                </c:pt>
                <c:pt idx="22976">
                  <c:v>43637</c:v>
                </c:pt>
                <c:pt idx="22977">
                  <c:v>43640</c:v>
                </c:pt>
                <c:pt idx="22978">
                  <c:v>43641</c:v>
                </c:pt>
                <c:pt idx="22979">
                  <c:v>43642</c:v>
                </c:pt>
                <c:pt idx="22980">
                  <c:v>43643</c:v>
                </c:pt>
                <c:pt idx="22981">
                  <c:v>43644</c:v>
                </c:pt>
                <c:pt idx="22982">
                  <c:v>43647</c:v>
                </c:pt>
                <c:pt idx="22983">
                  <c:v>43648</c:v>
                </c:pt>
                <c:pt idx="22984">
                  <c:v>43649</c:v>
                </c:pt>
                <c:pt idx="22985">
                  <c:v>43651</c:v>
                </c:pt>
                <c:pt idx="22986">
                  <c:v>43654</c:v>
                </c:pt>
                <c:pt idx="22987">
                  <c:v>43655</c:v>
                </c:pt>
                <c:pt idx="22988">
                  <c:v>43656</c:v>
                </c:pt>
                <c:pt idx="22989">
                  <c:v>43657</c:v>
                </c:pt>
                <c:pt idx="22990">
                  <c:v>43658</c:v>
                </c:pt>
                <c:pt idx="22991">
                  <c:v>43661</c:v>
                </c:pt>
                <c:pt idx="22992">
                  <c:v>43662</c:v>
                </c:pt>
                <c:pt idx="22993">
                  <c:v>43663</c:v>
                </c:pt>
                <c:pt idx="22994">
                  <c:v>43664</c:v>
                </c:pt>
                <c:pt idx="22995">
                  <c:v>43665</c:v>
                </c:pt>
                <c:pt idx="22996">
                  <c:v>43668</c:v>
                </c:pt>
                <c:pt idx="22997">
                  <c:v>43669</c:v>
                </c:pt>
                <c:pt idx="22998">
                  <c:v>43670</c:v>
                </c:pt>
                <c:pt idx="22999">
                  <c:v>43671</c:v>
                </c:pt>
                <c:pt idx="23000">
                  <c:v>43672</c:v>
                </c:pt>
                <c:pt idx="23001">
                  <c:v>43675</c:v>
                </c:pt>
                <c:pt idx="23002">
                  <c:v>43676</c:v>
                </c:pt>
                <c:pt idx="23003">
                  <c:v>43677</c:v>
                </c:pt>
                <c:pt idx="23004">
                  <c:v>43678</c:v>
                </c:pt>
                <c:pt idx="23005">
                  <c:v>43679</c:v>
                </c:pt>
                <c:pt idx="23006">
                  <c:v>43682</c:v>
                </c:pt>
                <c:pt idx="23007">
                  <c:v>43683</c:v>
                </c:pt>
                <c:pt idx="23008">
                  <c:v>43684</c:v>
                </c:pt>
                <c:pt idx="23009">
                  <c:v>43685</c:v>
                </c:pt>
                <c:pt idx="23010">
                  <c:v>43686</c:v>
                </c:pt>
                <c:pt idx="23011">
                  <c:v>43689</c:v>
                </c:pt>
                <c:pt idx="23012">
                  <c:v>43690</c:v>
                </c:pt>
                <c:pt idx="23013">
                  <c:v>43691</c:v>
                </c:pt>
                <c:pt idx="23014">
                  <c:v>43692</c:v>
                </c:pt>
                <c:pt idx="23015">
                  <c:v>43693</c:v>
                </c:pt>
                <c:pt idx="23016">
                  <c:v>43696</c:v>
                </c:pt>
                <c:pt idx="23017">
                  <c:v>43697</c:v>
                </c:pt>
                <c:pt idx="23018">
                  <c:v>43698</c:v>
                </c:pt>
                <c:pt idx="23019">
                  <c:v>43699</c:v>
                </c:pt>
                <c:pt idx="23020">
                  <c:v>43700</c:v>
                </c:pt>
                <c:pt idx="23021">
                  <c:v>43703</c:v>
                </c:pt>
                <c:pt idx="23022">
                  <c:v>43704</c:v>
                </c:pt>
                <c:pt idx="23023">
                  <c:v>43705</c:v>
                </c:pt>
                <c:pt idx="23024">
                  <c:v>43706</c:v>
                </c:pt>
                <c:pt idx="23025">
                  <c:v>43707</c:v>
                </c:pt>
                <c:pt idx="23026">
                  <c:v>43711</c:v>
                </c:pt>
                <c:pt idx="23027">
                  <c:v>43712</c:v>
                </c:pt>
                <c:pt idx="23028">
                  <c:v>43713</c:v>
                </c:pt>
                <c:pt idx="23029">
                  <c:v>43714</c:v>
                </c:pt>
                <c:pt idx="23030">
                  <c:v>43717</c:v>
                </c:pt>
                <c:pt idx="23031">
                  <c:v>43718</c:v>
                </c:pt>
                <c:pt idx="23032">
                  <c:v>43719</c:v>
                </c:pt>
                <c:pt idx="23033">
                  <c:v>43720</c:v>
                </c:pt>
                <c:pt idx="23034">
                  <c:v>43721</c:v>
                </c:pt>
                <c:pt idx="23035">
                  <c:v>43724</c:v>
                </c:pt>
                <c:pt idx="23036">
                  <c:v>43725</c:v>
                </c:pt>
                <c:pt idx="23037">
                  <c:v>43726</c:v>
                </c:pt>
                <c:pt idx="23038">
                  <c:v>43727</c:v>
                </c:pt>
                <c:pt idx="23039">
                  <c:v>43728</c:v>
                </c:pt>
                <c:pt idx="23040">
                  <c:v>43731</c:v>
                </c:pt>
                <c:pt idx="23041">
                  <c:v>43732</c:v>
                </c:pt>
                <c:pt idx="23042">
                  <c:v>43733</c:v>
                </c:pt>
                <c:pt idx="23043">
                  <c:v>43734</c:v>
                </c:pt>
                <c:pt idx="23044">
                  <c:v>43735</c:v>
                </c:pt>
                <c:pt idx="23045">
                  <c:v>43738</c:v>
                </c:pt>
                <c:pt idx="23046">
                  <c:v>43739</c:v>
                </c:pt>
                <c:pt idx="23047">
                  <c:v>43740</c:v>
                </c:pt>
                <c:pt idx="23048">
                  <c:v>43741</c:v>
                </c:pt>
                <c:pt idx="23049">
                  <c:v>43742</c:v>
                </c:pt>
                <c:pt idx="23050">
                  <c:v>43745</c:v>
                </c:pt>
                <c:pt idx="23051">
                  <c:v>43746</c:v>
                </c:pt>
                <c:pt idx="23052">
                  <c:v>43747</c:v>
                </c:pt>
                <c:pt idx="23053">
                  <c:v>43748</c:v>
                </c:pt>
                <c:pt idx="23054">
                  <c:v>43749</c:v>
                </c:pt>
                <c:pt idx="23055">
                  <c:v>43752</c:v>
                </c:pt>
                <c:pt idx="23056">
                  <c:v>43753</c:v>
                </c:pt>
                <c:pt idx="23057">
                  <c:v>43754</c:v>
                </c:pt>
                <c:pt idx="23058">
                  <c:v>43755</c:v>
                </c:pt>
                <c:pt idx="23059">
                  <c:v>43756</c:v>
                </c:pt>
                <c:pt idx="23060">
                  <c:v>43759</c:v>
                </c:pt>
                <c:pt idx="23061">
                  <c:v>43760</c:v>
                </c:pt>
                <c:pt idx="23062">
                  <c:v>43761</c:v>
                </c:pt>
                <c:pt idx="23063">
                  <c:v>43762</c:v>
                </c:pt>
                <c:pt idx="23064">
                  <c:v>43763</c:v>
                </c:pt>
                <c:pt idx="23065">
                  <c:v>43766</c:v>
                </c:pt>
                <c:pt idx="23066">
                  <c:v>43767</c:v>
                </c:pt>
                <c:pt idx="23067">
                  <c:v>43768</c:v>
                </c:pt>
                <c:pt idx="23068">
                  <c:v>43769</c:v>
                </c:pt>
                <c:pt idx="23069">
                  <c:v>43770</c:v>
                </c:pt>
                <c:pt idx="23070">
                  <c:v>43773</c:v>
                </c:pt>
                <c:pt idx="23071">
                  <c:v>43774</c:v>
                </c:pt>
                <c:pt idx="23072">
                  <c:v>43775</c:v>
                </c:pt>
                <c:pt idx="23073">
                  <c:v>43776</c:v>
                </c:pt>
                <c:pt idx="23074">
                  <c:v>43777</c:v>
                </c:pt>
                <c:pt idx="23075">
                  <c:v>43780</c:v>
                </c:pt>
                <c:pt idx="23076">
                  <c:v>43781</c:v>
                </c:pt>
                <c:pt idx="23077">
                  <c:v>43782</c:v>
                </c:pt>
                <c:pt idx="23078">
                  <c:v>43783</c:v>
                </c:pt>
                <c:pt idx="23079">
                  <c:v>43784</c:v>
                </c:pt>
                <c:pt idx="23080">
                  <c:v>43787</c:v>
                </c:pt>
                <c:pt idx="23081">
                  <c:v>43788</c:v>
                </c:pt>
                <c:pt idx="23082">
                  <c:v>43789</c:v>
                </c:pt>
                <c:pt idx="23083">
                  <c:v>43790</c:v>
                </c:pt>
                <c:pt idx="23084">
                  <c:v>43791</c:v>
                </c:pt>
                <c:pt idx="23085">
                  <c:v>43794</c:v>
                </c:pt>
                <c:pt idx="23086">
                  <c:v>43795</c:v>
                </c:pt>
                <c:pt idx="23087">
                  <c:v>43796</c:v>
                </c:pt>
                <c:pt idx="23088">
                  <c:v>43798</c:v>
                </c:pt>
                <c:pt idx="23089">
                  <c:v>43801</c:v>
                </c:pt>
                <c:pt idx="23090">
                  <c:v>43802</c:v>
                </c:pt>
                <c:pt idx="23091">
                  <c:v>43803</c:v>
                </c:pt>
                <c:pt idx="23092">
                  <c:v>43804</c:v>
                </c:pt>
                <c:pt idx="23093">
                  <c:v>43805</c:v>
                </c:pt>
                <c:pt idx="23094">
                  <c:v>43808</c:v>
                </c:pt>
                <c:pt idx="23095">
                  <c:v>43809</c:v>
                </c:pt>
                <c:pt idx="23096">
                  <c:v>43810</c:v>
                </c:pt>
                <c:pt idx="23097">
                  <c:v>43811</c:v>
                </c:pt>
                <c:pt idx="23098">
                  <c:v>43812</c:v>
                </c:pt>
                <c:pt idx="23099">
                  <c:v>43815</c:v>
                </c:pt>
                <c:pt idx="23100">
                  <c:v>43816</c:v>
                </c:pt>
                <c:pt idx="23101">
                  <c:v>43817</c:v>
                </c:pt>
                <c:pt idx="23102">
                  <c:v>43818</c:v>
                </c:pt>
                <c:pt idx="23103">
                  <c:v>43819</c:v>
                </c:pt>
                <c:pt idx="23104">
                  <c:v>43822</c:v>
                </c:pt>
                <c:pt idx="23105">
                  <c:v>43823</c:v>
                </c:pt>
                <c:pt idx="23106">
                  <c:v>43825</c:v>
                </c:pt>
                <c:pt idx="23107">
                  <c:v>43826</c:v>
                </c:pt>
                <c:pt idx="23108">
                  <c:v>43829</c:v>
                </c:pt>
                <c:pt idx="23109">
                  <c:v>43830</c:v>
                </c:pt>
                <c:pt idx="23110">
                  <c:v>43832</c:v>
                </c:pt>
                <c:pt idx="23111">
                  <c:v>43833</c:v>
                </c:pt>
                <c:pt idx="23112">
                  <c:v>43836</c:v>
                </c:pt>
                <c:pt idx="23113">
                  <c:v>43837</c:v>
                </c:pt>
                <c:pt idx="23114">
                  <c:v>43838</c:v>
                </c:pt>
                <c:pt idx="23115">
                  <c:v>43839</c:v>
                </c:pt>
                <c:pt idx="23116">
                  <c:v>43840</c:v>
                </c:pt>
                <c:pt idx="23117">
                  <c:v>43843</c:v>
                </c:pt>
                <c:pt idx="23118">
                  <c:v>43844</c:v>
                </c:pt>
                <c:pt idx="23119">
                  <c:v>43845</c:v>
                </c:pt>
                <c:pt idx="23120">
                  <c:v>43846</c:v>
                </c:pt>
                <c:pt idx="23121">
                  <c:v>43847</c:v>
                </c:pt>
                <c:pt idx="23122">
                  <c:v>43851</c:v>
                </c:pt>
                <c:pt idx="23123">
                  <c:v>43852</c:v>
                </c:pt>
                <c:pt idx="23124">
                  <c:v>43853</c:v>
                </c:pt>
                <c:pt idx="23125">
                  <c:v>43854</c:v>
                </c:pt>
                <c:pt idx="23126">
                  <c:v>43857</c:v>
                </c:pt>
                <c:pt idx="23127">
                  <c:v>43858</c:v>
                </c:pt>
                <c:pt idx="23128">
                  <c:v>43859</c:v>
                </c:pt>
                <c:pt idx="23129">
                  <c:v>43860</c:v>
                </c:pt>
                <c:pt idx="23130">
                  <c:v>43861</c:v>
                </c:pt>
                <c:pt idx="23131">
                  <c:v>43864</c:v>
                </c:pt>
                <c:pt idx="23132">
                  <c:v>43865</c:v>
                </c:pt>
                <c:pt idx="23133">
                  <c:v>43866</c:v>
                </c:pt>
                <c:pt idx="23134">
                  <c:v>43867</c:v>
                </c:pt>
                <c:pt idx="23135">
                  <c:v>43868</c:v>
                </c:pt>
                <c:pt idx="23136">
                  <c:v>43871</c:v>
                </c:pt>
                <c:pt idx="23137">
                  <c:v>43872</c:v>
                </c:pt>
                <c:pt idx="23138">
                  <c:v>43873</c:v>
                </c:pt>
                <c:pt idx="23139">
                  <c:v>43874</c:v>
                </c:pt>
                <c:pt idx="23140">
                  <c:v>43875</c:v>
                </c:pt>
                <c:pt idx="23141">
                  <c:v>43879</c:v>
                </c:pt>
                <c:pt idx="23142">
                  <c:v>43880</c:v>
                </c:pt>
                <c:pt idx="23143">
                  <c:v>43881</c:v>
                </c:pt>
                <c:pt idx="23144">
                  <c:v>43882</c:v>
                </c:pt>
                <c:pt idx="23145">
                  <c:v>43885</c:v>
                </c:pt>
                <c:pt idx="23146">
                  <c:v>43886</c:v>
                </c:pt>
                <c:pt idx="23147">
                  <c:v>43887</c:v>
                </c:pt>
                <c:pt idx="23148">
                  <c:v>43888</c:v>
                </c:pt>
                <c:pt idx="23149">
                  <c:v>43889</c:v>
                </c:pt>
                <c:pt idx="23150">
                  <c:v>43892</c:v>
                </c:pt>
                <c:pt idx="23151">
                  <c:v>43893</c:v>
                </c:pt>
                <c:pt idx="23152">
                  <c:v>43894</c:v>
                </c:pt>
                <c:pt idx="23153">
                  <c:v>43895</c:v>
                </c:pt>
                <c:pt idx="23154">
                  <c:v>43896</c:v>
                </c:pt>
                <c:pt idx="23155">
                  <c:v>43899</c:v>
                </c:pt>
                <c:pt idx="23156">
                  <c:v>43900</c:v>
                </c:pt>
                <c:pt idx="23157">
                  <c:v>43901</c:v>
                </c:pt>
                <c:pt idx="23158">
                  <c:v>43902</c:v>
                </c:pt>
                <c:pt idx="23159">
                  <c:v>43903</c:v>
                </c:pt>
                <c:pt idx="23160">
                  <c:v>43906</c:v>
                </c:pt>
                <c:pt idx="23161">
                  <c:v>43907</c:v>
                </c:pt>
                <c:pt idx="23162">
                  <c:v>43908</c:v>
                </c:pt>
                <c:pt idx="23163">
                  <c:v>43909</c:v>
                </c:pt>
                <c:pt idx="23164">
                  <c:v>43910</c:v>
                </c:pt>
                <c:pt idx="23165">
                  <c:v>43913</c:v>
                </c:pt>
                <c:pt idx="23166">
                  <c:v>43914</c:v>
                </c:pt>
                <c:pt idx="23167">
                  <c:v>43915</c:v>
                </c:pt>
                <c:pt idx="23168">
                  <c:v>43916</c:v>
                </c:pt>
                <c:pt idx="23169">
                  <c:v>43917</c:v>
                </c:pt>
                <c:pt idx="23170">
                  <c:v>43920</c:v>
                </c:pt>
                <c:pt idx="23171">
                  <c:v>43921</c:v>
                </c:pt>
                <c:pt idx="23172">
                  <c:v>43922</c:v>
                </c:pt>
                <c:pt idx="23173">
                  <c:v>43923</c:v>
                </c:pt>
                <c:pt idx="23174">
                  <c:v>43924</c:v>
                </c:pt>
                <c:pt idx="23175">
                  <c:v>43927</c:v>
                </c:pt>
                <c:pt idx="23176">
                  <c:v>43928</c:v>
                </c:pt>
                <c:pt idx="23177">
                  <c:v>43929</c:v>
                </c:pt>
                <c:pt idx="23178">
                  <c:v>43930</c:v>
                </c:pt>
                <c:pt idx="23179">
                  <c:v>43934</c:v>
                </c:pt>
                <c:pt idx="23180">
                  <c:v>43935</c:v>
                </c:pt>
                <c:pt idx="23181">
                  <c:v>43936</c:v>
                </c:pt>
                <c:pt idx="23182">
                  <c:v>43937</c:v>
                </c:pt>
                <c:pt idx="23183">
                  <c:v>43938</c:v>
                </c:pt>
                <c:pt idx="23184">
                  <c:v>43941</c:v>
                </c:pt>
                <c:pt idx="23185">
                  <c:v>43942</c:v>
                </c:pt>
                <c:pt idx="23186">
                  <c:v>43943</c:v>
                </c:pt>
                <c:pt idx="23187">
                  <c:v>43944</c:v>
                </c:pt>
                <c:pt idx="23188">
                  <c:v>43945</c:v>
                </c:pt>
                <c:pt idx="23189">
                  <c:v>43948</c:v>
                </c:pt>
                <c:pt idx="23190">
                  <c:v>43949</c:v>
                </c:pt>
                <c:pt idx="23191">
                  <c:v>43950</c:v>
                </c:pt>
                <c:pt idx="23192">
                  <c:v>43951</c:v>
                </c:pt>
                <c:pt idx="23193">
                  <c:v>43952</c:v>
                </c:pt>
                <c:pt idx="23194">
                  <c:v>43955</c:v>
                </c:pt>
                <c:pt idx="23195">
                  <c:v>43956</c:v>
                </c:pt>
                <c:pt idx="23196">
                  <c:v>43957</c:v>
                </c:pt>
                <c:pt idx="23197">
                  <c:v>43958</c:v>
                </c:pt>
                <c:pt idx="23198">
                  <c:v>43959</c:v>
                </c:pt>
                <c:pt idx="23199">
                  <c:v>43962</c:v>
                </c:pt>
                <c:pt idx="23200">
                  <c:v>43963</c:v>
                </c:pt>
                <c:pt idx="23201">
                  <c:v>43964</c:v>
                </c:pt>
                <c:pt idx="23202">
                  <c:v>43965</c:v>
                </c:pt>
                <c:pt idx="23203">
                  <c:v>43966</c:v>
                </c:pt>
                <c:pt idx="23204">
                  <c:v>43969</c:v>
                </c:pt>
                <c:pt idx="23205">
                  <c:v>43970</c:v>
                </c:pt>
                <c:pt idx="23206">
                  <c:v>43971</c:v>
                </c:pt>
                <c:pt idx="23207">
                  <c:v>43972</c:v>
                </c:pt>
                <c:pt idx="23208">
                  <c:v>43973</c:v>
                </c:pt>
                <c:pt idx="23209">
                  <c:v>43977</c:v>
                </c:pt>
                <c:pt idx="23210">
                  <c:v>43978</c:v>
                </c:pt>
                <c:pt idx="23211">
                  <c:v>43979</c:v>
                </c:pt>
                <c:pt idx="23212">
                  <c:v>43980</c:v>
                </c:pt>
                <c:pt idx="23213">
                  <c:v>43983</c:v>
                </c:pt>
                <c:pt idx="23214">
                  <c:v>43984</c:v>
                </c:pt>
                <c:pt idx="23215">
                  <c:v>43985</c:v>
                </c:pt>
                <c:pt idx="23216">
                  <c:v>43986</c:v>
                </c:pt>
                <c:pt idx="23217">
                  <c:v>43987</c:v>
                </c:pt>
                <c:pt idx="23218">
                  <c:v>43990</c:v>
                </c:pt>
                <c:pt idx="23219">
                  <c:v>43991</c:v>
                </c:pt>
                <c:pt idx="23220">
                  <c:v>43992</c:v>
                </c:pt>
                <c:pt idx="23221">
                  <c:v>43993</c:v>
                </c:pt>
                <c:pt idx="23222">
                  <c:v>43994</c:v>
                </c:pt>
                <c:pt idx="23223">
                  <c:v>43997</c:v>
                </c:pt>
                <c:pt idx="23224">
                  <c:v>43998</c:v>
                </c:pt>
                <c:pt idx="23225">
                  <c:v>43999</c:v>
                </c:pt>
                <c:pt idx="23226">
                  <c:v>44000</c:v>
                </c:pt>
                <c:pt idx="23227">
                  <c:v>44001</c:v>
                </c:pt>
                <c:pt idx="23228">
                  <c:v>44004</c:v>
                </c:pt>
                <c:pt idx="23229">
                  <c:v>44005</c:v>
                </c:pt>
                <c:pt idx="23230">
                  <c:v>44006</c:v>
                </c:pt>
                <c:pt idx="23231">
                  <c:v>44007</c:v>
                </c:pt>
                <c:pt idx="23232">
                  <c:v>44008</c:v>
                </c:pt>
                <c:pt idx="23233">
                  <c:v>44011</c:v>
                </c:pt>
                <c:pt idx="23234">
                  <c:v>44012</c:v>
                </c:pt>
                <c:pt idx="23235">
                  <c:v>44013</c:v>
                </c:pt>
                <c:pt idx="23236">
                  <c:v>44014</c:v>
                </c:pt>
                <c:pt idx="23237">
                  <c:v>44018</c:v>
                </c:pt>
                <c:pt idx="23238">
                  <c:v>44019</c:v>
                </c:pt>
                <c:pt idx="23239">
                  <c:v>44020</c:v>
                </c:pt>
                <c:pt idx="23240">
                  <c:v>44021</c:v>
                </c:pt>
                <c:pt idx="23241">
                  <c:v>44022</c:v>
                </c:pt>
                <c:pt idx="23242">
                  <c:v>44025</c:v>
                </c:pt>
                <c:pt idx="23243">
                  <c:v>44026</c:v>
                </c:pt>
                <c:pt idx="23244">
                  <c:v>44027</c:v>
                </c:pt>
                <c:pt idx="23245">
                  <c:v>44028</c:v>
                </c:pt>
                <c:pt idx="23246">
                  <c:v>44029</c:v>
                </c:pt>
                <c:pt idx="23247">
                  <c:v>44032</c:v>
                </c:pt>
                <c:pt idx="23248">
                  <c:v>44033</c:v>
                </c:pt>
                <c:pt idx="23249">
                  <c:v>44034</c:v>
                </c:pt>
                <c:pt idx="23250">
                  <c:v>44035</c:v>
                </c:pt>
                <c:pt idx="23251">
                  <c:v>44036</c:v>
                </c:pt>
                <c:pt idx="23252">
                  <c:v>44039</c:v>
                </c:pt>
                <c:pt idx="23253">
                  <c:v>44040</c:v>
                </c:pt>
                <c:pt idx="23254">
                  <c:v>44041</c:v>
                </c:pt>
                <c:pt idx="23255">
                  <c:v>44042</c:v>
                </c:pt>
                <c:pt idx="23256">
                  <c:v>44043</c:v>
                </c:pt>
                <c:pt idx="23257">
                  <c:v>44046</c:v>
                </c:pt>
                <c:pt idx="23258">
                  <c:v>44047</c:v>
                </c:pt>
                <c:pt idx="23259">
                  <c:v>44048</c:v>
                </c:pt>
                <c:pt idx="23260">
                  <c:v>44049</c:v>
                </c:pt>
                <c:pt idx="23261">
                  <c:v>44050</c:v>
                </c:pt>
                <c:pt idx="23262">
                  <c:v>44053</c:v>
                </c:pt>
                <c:pt idx="23263">
                  <c:v>44054</c:v>
                </c:pt>
                <c:pt idx="23264">
                  <c:v>44055</c:v>
                </c:pt>
                <c:pt idx="23265">
                  <c:v>44056</c:v>
                </c:pt>
                <c:pt idx="23266">
                  <c:v>44057</c:v>
                </c:pt>
                <c:pt idx="23267">
                  <c:v>44060</c:v>
                </c:pt>
                <c:pt idx="23268">
                  <c:v>44061</c:v>
                </c:pt>
                <c:pt idx="23269">
                  <c:v>44062</c:v>
                </c:pt>
                <c:pt idx="23270">
                  <c:v>44063</c:v>
                </c:pt>
                <c:pt idx="23271">
                  <c:v>44064</c:v>
                </c:pt>
                <c:pt idx="23272">
                  <c:v>44067</c:v>
                </c:pt>
                <c:pt idx="23273">
                  <c:v>44068</c:v>
                </c:pt>
                <c:pt idx="23274">
                  <c:v>44069</c:v>
                </c:pt>
                <c:pt idx="23275">
                  <c:v>44070</c:v>
                </c:pt>
                <c:pt idx="23276">
                  <c:v>44071</c:v>
                </c:pt>
              </c:numCache>
            </c:numRef>
          </c:cat>
          <c:val>
            <c:numRef>
              <c:f>[SPY.xlsx]Volatility!$E$27:$E$23303</c:f>
              <c:numCache>
                <c:formatCode>General</c:formatCode>
                <c:ptCount val="23277"/>
                <c:pt idx="20" formatCode="0.0%">
                  <c:v>0.12346198724198634</c:v>
                </c:pt>
                <c:pt idx="21" formatCode="0.0%">
                  <c:v>0.12280693075333529</c:v>
                </c:pt>
                <c:pt idx="22" formatCode="0.0%">
                  <c:v>0.12281148789855836</c:v>
                </c:pt>
                <c:pt idx="23" formatCode="0.0%">
                  <c:v>0.11976070309693145</c:v>
                </c:pt>
                <c:pt idx="24" formatCode="0.0%">
                  <c:v>0.12641125804464015</c:v>
                </c:pt>
                <c:pt idx="25" formatCode="0.0%">
                  <c:v>0.12300743602194197</c:v>
                </c:pt>
                <c:pt idx="26" formatCode="0.0%">
                  <c:v>0.11996876986483818</c:v>
                </c:pt>
                <c:pt idx="27" formatCode="0.0%">
                  <c:v>0.12021439398415036</c:v>
                </c:pt>
                <c:pt idx="28" formatCode="0.0%">
                  <c:v>0.11834668045254182</c:v>
                </c:pt>
                <c:pt idx="29" formatCode="0.0%">
                  <c:v>0.11618135726422628</c:v>
                </c:pt>
                <c:pt idx="30" formatCode="0.0%">
                  <c:v>0.10107444550549748</c:v>
                </c:pt>
                <c:pt idx="31" formatCode="0.0%">
                  <c:v>0.10153321255481558</c:v>
                </c:pt>
                <c:pt idx="32" formatCode="0.0%">
                  <c:v>0.10174404869277028</c:v>
                </c:pt>
                <c:pt idx="33" formatCode="0.0%">
                  <c:v>0.1174111700089981</c:v>
                </c:pt>
                <c:pt idx="34" formatCode="0.0%">
                  <c:v>0.11554628256896603</c:v>
                </c:pt>
                <c:pt idx="35" formatCode="0.0%">
                  <c:v>0.11589683519093345</c:v>
                </c:pt>
                <c:pt idx="36" formatCode="0.0%">
                  <c:v>0.11456004744004328</c:v>
                </c:pt>
                <c:pt idx="37" formatCode="0.0%">
                  <c:v>0.11033659586281634</c:v>
                </c:pt>
                <c:pt idx="38" formatCode="0.0%">
                  <c:v>0.10740556472886816</c:v>
                </c:pt>
                <c:pt idx="39" formatCode="0.0%">
                  <c:v>0.10712888156594645</c:v>
                </c:pt>
                <c:pt idx="40" formatCode="0.0%">
                  <c:v>0.10347518386021295</c:v>
                </c:pt>
                <c:pt idx="41" formatCode="0.0%">
                  <c:v>0.10226984044141509</c:v>
                </c:pt>
                <c:pt idx="42" formatCode="0.0%">
                  <c:v>0.10214494995727193</c:v>
                </c:pt>
                <c:pt idx="43" formatCode="0.0%">
                  <c:v>0.11529653327966315</c:v>
                </c:pt>
                <c:pt idx="44" formatCode="0.0%">
                  <c:v>0.10622531574815898</c:v>
                </c:pt>
                <c:pt idx="45" formatCode="0.0%">
                  <c:v>0.10789418559874943</c:v>
                </c:pt>
                <c:pt idx="46" formatCode="0.0%">
                  <c:v>0.10835624054629278</c:v>
                </c:pt>
                <c:pt idx="47" formatCode="0.0%">
                  <c:v>0.12180228285392489</c:v>
                </c:pt>
                <c:pt idx="48" formatCode="0.0%">
                  <c:v>0.12192585437154575</c:v>
                </c:pt>
                <c:pt idx="49" formatCode="0.0%">
                  <c:v>0.12347142252138947</c:v>
                </c:pt>
                <c:pt idx="50" formatCode="0.0%">
                  <c:v>0.12087691436140575</c:v>
                </c:pt>
                <c:pt idx="51" formatCode="0.0%">
                  <c:v>0.12209060354301568</c:v>
                </c:pt>
                <c:pt idx="52" formatCode="0.0%">
                  <c:v>0.12434236969586415</c:v>
                </c:pt>
                <c:pt idx="53" formatCode="0.0%">
                  <c:v>9.79126970573162E-2</c:v>
                </c:pt>
                <c:pt idx="54" formatCode="0.0%">
                  <c:v>9.2023812778317921E-2</c:v>
                </c:pt>
                <c:pt idx="55" formatCode="0.0%">
                  <c:v>9.2694530954203797E-2</c:v>
                </c:pt>
                <c:pt idx="56" formatCode="0.0%">
                  <c:v>9.5395567118155056E-2</c:v>
                </c:pt>
                <c:pt idx="57" formatCode="0.0%">
                  <c:v>9.7234518348570956E-2</c:v>
                </c:pt>
                <c:pt idx="58" formatCode="0.0%">
                  <c:v>9.7695756135063747E-2</c:v>
                </c:pt>
                <c:pt idx="59" formatCode="0.0%">
                  <c:v>0.10519807474629869</c:v>
                </c:pt>
                <c:pt idx="60" formatCode="0.0%">
                  <c:v>0.10849307531403847</c:v>
                </c:pt>
                <c:pt idx="61" formatCode="0.0%">
                  <c:v>0.10830545866665403</c:v>
                </c:pt>
                <c:pt idx="62" formatCode="0.0%">
                  <c:v>0.11575688183008981</c:v>
                </c:pt>
                <c:pt idx="63" formatCode="0.0%">
                  <c:v>0.13929647838639489</c:v>
                </c:pt>
                <c:pt idx="64" formatCode="0.0%">
                  <c:v>0.13932095020593482</c:v>
                </c:pt>
                <c:pt idx="65" formatCode="0.0%">
                  <c:v>0.136911638377504</c:v>
                </c:pt>
                <c:pt idx="66" formatCode="0.0%">
                  <c:v>0.14032390320366986</c:v>
                </c:pt>
                <c:pt idx="67" formatCode="0.0%">
                  <c:v>0.13310094479395521</c:v>
                </c:pt>
                <c:pt idx="68" formatCode="0.0%">
                  <c:v>0.14024094778121823</c:v>
                </c:pt>
                <c:pt idx="69" formatCode="0.0%">
                  <c:v>0.14653026694631846</c:v>
                </c:pt>
                <c:pt idx="70" formatCode="0.0%">
                  <c:v>0.14738624436883796</c:v>
                </c:pt>
                <c:pt idx="71" formatCode="0.0%">
                  <c:v>0.15334938401909048</c:v>
                </c:pt>
                <c:pt idx="72" formatCode="0.0%">
                  <c:v>0.15347103324524083</c:v>
                </c:pt>
                <c:pt idx="73" formatCode="0.0%">
                  <c:v>0.15897110819446655</c:v>
                </c:pt>
                <c:pt idx="74" formatCode="0.0%">
                  <c:v>0.15906694696227885</c:v>
                </c:pt>
                <c:pt idx="75" formatCode="0.0%">
                  <c:v>0.15702992896817392</c:v>
                </c:pt>
                <c:pt idx="76" formatCode="0.0%">
                  <c:v>0.16802016213006329</c:v>
                </c:pt>
                <c:pt idx="77" formatCode="0.0%">
                  <c:v>0.17044147622539088</c:v>
                </c:pt>
                <c:pt idx="78" formatCode="0.0%">
                  <c:v>0.1639744285735602</c:v>
                </c:pt>
                <c:pt idx="79" formatCode="0.0%">
                  <c:v>0.16268920834911516</c:v>
                </c:pt>
                <c:pt idx="80" formatCode="0.0%">
                  <c:v>0.16350781625929225</c:v>
                </c:pt>
                <c:pt idx="81" formatCode="0.0%">
                  <c:v>0.16669408813467432</c:v>
                </c:pt>
                <c:pt idx="82" formatCode="0.0%">
                  <c:v>0.15672821073945026</c:v>
                </c:pt>
                <c:pt idx="83" formatCode="0.0%">
                  <c:v>0.13659119327094893</c:v>
                </c:pt>
                <c:pt idx="84" formatCode="0.0%">
                  <c:v>0.13595509833980443</c:v>
                </c:pt>
                <c:pt idx="85" formatCode="0.0%">
                  <c:v>0.1356164369910329</c:v>
                </c:pt>
                <c:pt idx="86" formatCode="0.0%">
                  <c:v>0.13881556022255587</c:v>
                </c:pt>
                <c:pt idx="87" formatCode="0.0%">
                  <c:v>0.14031168792013343</c:v>
                </c:pt>
                <c:pt idx="88" formatCode="0.0%">
                  <c:v>0.13827838792833072</c:v>
                </c:pt>
                <c:pt idx="89" formatCode="0.0%">
                  <c:v>0.1276181265465173</c:v>
                </c:pt>
                <c:pt idx="90" formatCode="0.0%">
                  <c:v>0.12759570171649634</c:v>
                </c:pt>
                <c:pt idx="91" formatCode="0.0%">
                  <c:v>0.11783952558419397</c:v>
                </c:pt>
                <c:pt idx="92" formatCode="0.0%">
                  <c:v>0.11708029838531518</c:v>
                </c:pt>
                <c:pt idx="93" formatCode="0.0%">
                  <c:v>0.1122260442378744</c:v>
                </c:pt>
                <c:pt idx="94" formatCode="0.0%">
                  <c:v>0.13088142920379811</c:v>
                </c:pt>
                <c:pt idx="95" formatCode="0.0%">
                  <c:v>0.13017310987796368</c:v>
                </c:pt>
                <c:pt idx="96" formatCode="0.0%">
                  <c:v>0.12310477739474222</c:v>
                </c:pt>
                <c:pt idx="97" formatCode="0.0%">
                  <c:v>0.12995035010993644</c:v>
                </c:pt>
                <c:pt idx="98" formatCode="0.0%">
                  <c:v>0.13948602786592113</c:v>
                </c:pt>
                <c:pt idx="99" formatCode="0.0%">
                  <c:v>0.15562508451871979</c:v>
                </c:pt>
                <c:pt idx="100" formatCode="0.0%">
                  <c:v>0.15507183829457954</c:v>
                </c:pt>
                <c:pt idx="101" formatCode="0.0%">
                  <c:v>0.1508087782564769</c:v>
                </c:pt>
                <c:pt idx="102" formatCode="0.0%">
                  <c:v>0.16220708884195145</c:v>
                </c:pt>
                <c:pt idx="103" formatCode="0.0%">
                  <c:v>0.16873226322374429</c:v>
                </c:pt>
                <c:pt idx="104" formatCode="0.0%">
                  <c:v>0.17153567955211896</c:v>
                </c:pt>
                <c:pt idx="105" formatCode="0.0%">
                  <c:v>0.17107492338359054</c:v>
                </c:pt>
                <c:pt idx="106" formatCode="0.0%">
                  <c:v>0.16808378590661965</c:v>
                </c:pt>
                <c:pt idx="107" formatCode="0.0%">
                  <c:v>0.16497186189512505</c:v>
                </c:pt>
                <c:pt idx="108" formatCode="0.0%">
                  <c:v>0.16645833962970644</c:v>
                </c:pt>
                <c:pt idx="109" formatCode="0.0%">
                  <c:v>0.16649732915923082</c:v>
                </c:pt>
                <c:pt idx="110" formatCode="0.0%">
                  <c:v>0.17079622263207928</c:v>
                </c:pt>
                <c:pt idx="111" formatCode="0.0%">
                  <c:v>0.20536013757670973</c:v>
                </c:pt>
                <c:pt idx="112" formatCode="0.0%">
                  <c:v>0.20873071967819745</c:v>
                </c:pt>
                <c:pt idx="113" formatCode="0.0%">
                  <c:v>0.24288013284717774</c:v>
                </c:pt>
                <c:pt idx="114" formatCode="0.0%">
                  <c:v>0.24149575317697453</c:v>
                </c:pt>
                <c:pt idx="115" formatCode="0.0%">
                  <c:v>0.24518789905381266</c:v>
                </c:pt>
                <c:pt idx="116" formatCode="0.0%">
                  <c:v>0.24981963547221531</c:v>
                </c:pt>
                <c:pt idx="117" formatCode="0.0%">
                  <c:v>0.2466023150751242</c:v>
                </c:pt>
                <c:pt idx="118" formatCode="0.0%">
                  <c:v>0.24948296413244883</c:v>
                </c:pt>
                <c:pt idx="119" formatCode="0.0%">
                  <c:v>0.23571111628440142</c:v>
                </c:pt>
                <c:pt idx="120" formatCode="0.0%">
                  <c:v>0.23338069475317022</c:v>
                </c:pt>
                <c:pt idx="121" formatCode="0.0%">
                  <c:v>0.23263997977135534</c:v>
                </c:pt>
                <c:pt idx="122" formatCode="0.0%">
                  <c:v>0.2331503490309422</c:v>
                </c:pt>
                <c:pt idx="123" formatCode="0.0%">
                  <c:v>0.23074601513837312</c:v>
                </c:pt>
                <c:pt idx="124" formatCode="0.0%">
                  <c:v>0.23220035812051354</c:v>
                </c:pt>
                <c:pt idx="125" formatCode="0.0%">
                  <c:v>0.23225820659220522</c:v>
                </c:pt>
                <c:pt idx="126" formatCode="0.0%">
                  <c:v>0.22967785089400994</c:v>
                </c:pt>
                <c:pt idx="127" formatCode="0.0%">
                  <c:v>0.2383108365449717</c:v>
                </c:pt>
                <c:pt idx="128" formatCode="0.0%">
                  <c:v>0.23942916123329985</c:v>
                </c:pt>
                <c:pt idx="129" formatCode="0.0%">
                  <c:v>0.23978413644857649</c:v>
                </c:pt>
                <c:pt idx="130" formatCode="0.0%">
                  <c:v>0.23606698562510611</c:v>
                </c:pt>
                <c:pt idx="131" formatCode="0.0%">
                  <c:v>0.19312171504070935</c:v>
                </c:pt>
                <c:pt idx="132" formatCode="0.0%">
                  <c:v>0.20356180250761874</c:v>
                </c:pt>
                <c:pt idx="133" formatCode="0.0%">
                  <c:v>0.17687477676624583</c:v>
                </c:pt>
                <c:pt idx="134" formatCode="0.0%">
                  <c:v>0.17656439080676742</c:v>
                </c:pt>
                <c:pt idx="135" formatCode="0.0%">
                  <c:v>0.17362417731717747</c:v>
                </c:pt>
                <c:pt idx="136" formatCode="0.0%">
                  <c:v>0.16053834351671667</c:v>
                </c:pt>
                <c:pt idx="137" formatCode="0.0%">
                  <c:v>0.16429958524767863</c:v>
                </c:pt>
                <c:pt idx="138" formatCode="0.0%">
                  <c:v>0.15989314021136228</c:v>
                </c:pt>
                <c:pt idx="139" formatCode="0.0%">
                  <c:v>0.15980508265502105</c:v>
                </c:pt>
                <c:pt idx="140" formatCode="0.0%">
                  <c:v>0.16000927601234649</c:v>
                </c:pt>
                <c:pt idx="141" formatCode="0.0%">
                  <c:v>0.15922388209268767</c:v>
                </c:pt>
                <c:pt idx="142" formatCode="0.0%">
                  <c:v>0.15594167483365212</c:v>
                </c:pt>
                <c:pt idx="143" formatCode="0.0%">
                  <c:v>0.15294297818631489</c:v>
                </c:pt>
                <c:pt idx="144" formatCode="0.0%">
                  <c:v>0.15152535997802258</c:v>
                </c:pt>
                <c:pt idx="145" formatCode="0.0%">
                  <c:v>0.15131140009953806</c:v>
                </c:pt>
                <c:pt idx="146" formatCode="0.0%">
                  <c:v>0.1478047763553787</c:v>
                </c:pt>
                <c:pt idx="147" formatCode="0.0%">
                  <c:v>0.13675799616587536</c:v>
                </c:pt>
                <c:pt idx="148" formatCode="0.0%">
                  <c:v>0.13306033207349016</c:v>
                </c:pt>
                <c:pt idx="149" formatCode="0.0%">
                  <c:v>0.13225188871245044</c:v>
                </c:pt>
                <c:pt idx="150" formatCode="0.0%">
                  <c:v>0.1377980178526706</c:v>
                </c:pt>
                <c:pt idx="151" formatCode="0.0%">
                  <c:v>0.13876959406154249</c:v>
                </c:pt>
                <c:pt idx="152" formatCode="0.0%">
                  <c:v>0.113300121654183</c:v>
                </c:pt>
                <c:pt idx="153" formatCode="0.0%">
                  <c:v>0.10918750436310508</c:v>
                </c:pt>
                <c:pt idx="154" formatCode="0.0%">
                  <c:v>0.10705216798954788</c:v>
                </c:pt>
                <c:pt idx="155" formatCode="0.0%">
                  <c:v>9.2203383504404171E-2</c:v>
                </c:pt>
                <c:pt idx="156" formatCode="0.0%">
                  <c:v>9.7382775441525654E-2</c:v>
                </c:pt>
                <c:pt idx="157" formatCode="0.0%">
                  <c:v>0.10720520735339741</c:v>
                </c:pt>
                <c:pt idx="158" formatCode="0.0%">
                  <c:v>0.10852239745788692</c:v>
                </c:pt>
                <c:pt idx="159" formatCode="0.0%">
                  <c:v>0.1085066103597265</c:v>
                </c:pt>
                <c:pt idx="160" formatCode="0.0%">
                  <c:v>0.10942908062873807</c:v>
                </c:pt>
                <c:pt idx="161" formatCode="0.0%">
                  <c:v>0.11522607270249663</c:v>
                </c:pt>
                <c:pt idx="162" formatCode="0.0%">
                  <c:v>0.11509918343635848</c:v>
                </c:pt>
                <c:pt idx="163" formatCode="0.0%">
                  <c:v>0.11515821477072564</c:v>
                </c:pt>
                <c:pt idx="164" formatCode="0.0%">
                  <c:v>0.122772571555107</c:v>
                </c:pt>
                <c:pt idx="165" formatCode="0.0%">
                  <c:v>0.12277461202719786</c:v>
                </c:pt>
                <c:pt idx="166" formatCode="0.0%">
                  <c:v>0.12314847583995783</c:v>
                </c:pt>
                <c:pt idx="167" formatCode="0.0%">
                  <c:v>0.12258438481216739</c:v>
                </c:pt>
                <c:pt idx="168" formatCode="0.0%">
                  <c:v>0.11947666202069628</c:v>
                </c:pt>
                <c:pt idx="169" formatCode="0.0%">
                  <c:v>0.12374552846791709</c:v>
                </c:pt>
                <c:pt idx="170" formatCode="0.0%">
                  <c:v>0.12059766147535399</c:v>
                </c:pt>
                <c:pt idx="171" formatCode="0.0%">
                  <c:v>0.11684377476435998</c:v>
                </c:pt>
                <c:pt idx="172" formatCode="0.0%">
                  <c:v>0.10704045784577029</c:v>
                </c:pt>
                <c:pt idx="173" formatCode="0.0%">
                  <c:v>0.10734675203188297</c:v>
                </c:pt>
                <c:pt idx="174" formatCode="0.0%">
                  <c:v>0.11370887790002293</c:v>
                </c:pt>
                <c:pt idx="175" formatCode="0.0%">
                  <c:v>0.11406337119293487</c:v>
                </c:pt>
                <c:pt idx="176" formatCode="0.0%">
                  <c:v>0.1037168671898266</c:v>
                </c:pt>
                <c:pt idx="177" formatCode="0.0%">
                  <c:v>9.4378125170959004E-2</c:v>
                </c:pt>
                <c:pt idx="178" formatCode="0.0%">
                  <c:v>9.4732967027235201E-2</c:v>
                </c:pt>
                <c:pt idx="179" formatCode="0.0%">
                  <c:v>9.6069949347756742E-2</c:v>
                </c:pt>
                <c:pt idx="180" formatCode="0.0%">
                  <c:v>0.10336345167929636</c:v>
                </c:pt>
                <c:pt idx="181" formatCode="0.0%">
                  <c:v>9.8148481097063103E-2</c:v>
                </c:pt>
                <c:pt idx="182" formatCode="0.0%">
                  <c:v>9.7190249516144411E-2</c:v>
                </c:pt>
                <c:pt idx="183" formatCode="0.0%">
                  <c:v>9.7712169152336381E-2</c:v>
                </c:pt>
                <c:pt idx="184" formatCode="0.0%">
                  <c:v>8.5620604063164088E-2</c:v>
                </c:pt>
                <c:pt idx="185" formatCode="0.0%">
                  <c:v>8.6523749301378849E-2</c:v>
                </c:pt>
                <c:pt idx="186" formatCode="0.0%">
                  <c:v>8.4702601982159786E-2</c:v>
                </c:pt>
                <c:pt idx="187" formatCode="0.0%">
                  <c:v>9.9583899271188922E-2</c:v>
                </c:pt>
                <c:pt idx="188" formatCode="0.0%">
                  <c:v>9.9627013318724145E-2</c:v>
                </c:pt>
                <c:pt idx="189" formatCode="0.0%">
                  <c:v>9.6607917858987771E-2</c:v>
                </c:pt>
                <c:pt idx="190" formatCode="0.0%">
                  <c:v>9.7745408293793939E-2</c:v>
                </c:pt>
                <c:pt idx="191" formatCode="0.0%">
                  <c:v>9.7477958356630437E-2</c:v>
                </c:pt>
                <c:pt idx="192" formatCode="0.0%">
                  <c:v>9.4905401017178134E-2</c:v>
                </c:pt>
                <c:pt idx="193" formatCode="0.0%">
                  <c:v>9.2227080588274099E-2</c:v>
                </c:pt>
                <c:pt idx="194" formatCode="0.0%">
                  <c:v>8.9253341070390499E-2</c:v>
                </c:pt>
                <c:pt idx="195" formatCode="0.0%">
                  <c:v>8.5912379292529553E-2</c:v>
                </c:pt>
                <c:pt idx="196" formatCode="0.0%">
                  <c:v>9.3065759706556478E-2</c:v>
                </c:pt>
                <c:pt idx="197" formatCode="0.0%">
                  <c:v>9.3963890795007124E-2</c:v>
                </c:pt>
                <c:pt idx="198" formatCode="0.0%">
                  <c:v>9.5969906261650167E-2</c:v>
                </c:pt>
                <c:pt idx="199" formatCode="0.0%">
                  <c:v>9.1900703312870508E-2</c:v>
                </c:pt>
                <c:pt idx="200" formatCode="0.0%">
                  <c:v>8.7209907781870155E-2</c:v>
                </c:pt>
                <c:pt idx="201" formatCode="0.0%">
                  <c:v>8.7094456727583244E-2</c:v>
                </c:pt>
                <c:pt idx="202" formatCode="0.0%">
                  <c:v>8.8213774198955208E-2</c:v>
                </c:pt>
                <c:pt idx="203" formatCode="0.0%">
                  <c:v>9.1226015879644462E-2</c:v>
                </c:pt>
                <c:pt idx="204" formatCode="0.0%">
                  <c:v>9.2899294433049229E-2</c:v>
                </c:pt>
                <c:pt idx="205" formatCode="0.0%">
                  <c:v>9.2574640126393382E-2</c:v>
                </c:pt>
                <c:pt idx="206" formatCode="0.0%">
                  <c:v>9.4070730932023283E-2</c:v>
                </c:pt>
                <c:pt idx="207" formatCode="0.0%">
                  <c:v>9.2612518497561663E-2</c:v>
                </c:pt>
                <c:pt idx="208" formatCode="0.0%">
                  <c:v>0.10640820185501876</c:v>
                </c:pt>
                <c:pt idx="209" formatCode="0.0%">
                  <c:v>0.11100939859565644</c:v>
                </c:pt>
                <c:pt idx="210" formatCode="0.0%">
                  <c:v>0.1103876692589512</c:v>
                </c:pt>
                <c:pt idx="211" formatCode="0.0%">
                  <c:v>0.11856528268116484</c:v>
                </c:pt>
                <c:pt idx="212" formatCode="0.0%">
                  <c:v>0.11912868538507977</c:v>
                </c:pt>
                <c:pt idx="213" formatCode="0.0%">
                  <c:v>0.12507728954542022</c:v>
                </c:pt>
                <c:pt idx="214" formatCode="0.0%">
                  <c:v>0.12586824901016835</c:v>
                </c:pt>
                <c:pt idx="215" formatCode="0.0%">
                  <c:v>0.12909609855030832</c:v>
                </c:pt>
                <c:pt idx="216" formatCode="0.0%">
                  <c:v>0.12670142345491675</c:v>
                </c:pt>
                <c:pt idx="217" formatCode="0.0%">
                  <c:v>0.13163825852216329</c:v>
                </c:pt>
                <c:pt idx="218" formatCode="0.0%">
                  <c:v>0.13099447273097189</c:v>
                </c:pt>
                <c:pt idx="219" formatCode="0.0%">
                  <c:v>0.13136448047980626</c:v>
                </c:pt>
                <c:pt idx="220" formatCode="0.0%">
                  <c:v>0.13166877982088415</c:v>
                </c:pt>
                <c:pt idx="221" formatCode="0.0%">
                  <c:v>0.13822715954292866</c:v>
                </c:pt>
                <c:pt idx="222" formatCode="0.0%">
                  <c:v>0.13849440017630901</c:v>
                </c:pt>
                <c:pt idx="223" formatCode="0.0%">
                  <c:v>0.13451735579629953</c:v>
                </c:pt>
                <c:pt idx="224" formatCode="0.0%">
                  <c:v>0.14972136383274892</c:v>
                </c:pt>
                <c:pt idx="225" formatCode="0.0%">
                  <c:v>0.153804631050804</c:v>
                </c:pt>
                <c:pt idx="226" formatCode="0.0%">
                  <c:v>0.15218767844665751</c:v>
                </c:pt>
                <c:pt idx="227" formatCode="0.0%">
                  <c:v>0.14018278776436946</c:v>
                </c:pt>
                <c:pt idx="228" formatCode="0.0%">
                  <c:v>0.13368010221020774</c:v>
                </c:pt>
                <c:pt idx="229" formatCode="0.0%">
                  <c:v>0.12343617903150877</c:v>
                </c:pt>
                <c:pt idx="230" formatCode="0.0%">
                  <c:v>0.11901503892564402</c:v>
                </c:pt>
                <c:pt idx="231" formatCode="0.0%">
                  <c:v>0.14092941900819239</c:v>
                </c:pt>
                <c:pt idx="232" formatCode="0.0%">
                  <c:v>0.13936197351051968</c:v>
                </c:pt>
                <c:pt idx="233" formatCode="0.0%">
                  <c:v>0.13833056315939118</c:v>
                </c:pt>
                <c:pt idx="234" formatCode="0.0%">
                  <c:v>0.19976296471000188</c:v>
                </c:pt>
                <c:pt idx="235" formatCode="0.0%">
                  <c:v>0.21825078710562645</c:v>
                </c:pt>
                <c:pt idx="236" formatCode="0.0%">
                  <c:v>0.21668560879948345</c:v>
                </c:pt>
                <c:pt idx="237" formatCode="0.0%">
                  <c:v>0.22289872272284839</c:v>
                </c:pt>
                <c:pt idx="238" formatCode="0.0%">
                  <c:v>0.22501206056492332</c:v>
                </c:pt>
                <c:pt idx="239" formatCode="0.0%">
                  <c:v>0.22501058931302231</c:v>
                </c:pt>
                <c:pt idx="240" formatCode="0.0%">
                  <c:v>0.22416917151647323</c:v>
                </c:pt>
                <c:pt idx="241" formatCode="0.0%">
                  <c:v>0.21642915656685255</c:v>
                </c:pt>
                <c:pt idx="242" formatCode="0.0%">
                  <c:v>0.22166220739396203</c:v>
                </c:pt>
                <c:pt idx="243" formatCode="0.0%">
                  <c:v>0.22427501494087315</c:v>
                </c:pt>
                <c:pt idx="244" formatCode="0.0%">
                  <c:v>0.21893295217314027</c:v>
                </c:pt>
                <c:pt idx="245" formatCode="0.0%">
                  <c:v>0.21770625005245267</c:v>
                </c:pt>
                <c:pt idx="246" formatCode="0.0%">
                  <c:v>0.21841091535692445</c:v>
                </c:pt>
                <c:pt idx="247" formatCode="0.0%">
                  <c:v>0.21813971620212369</c:v>
                </c:pt>
                <c:pt idx="248" formatCode="0.0%">
                  <c:v>0.21983825654465527</c:v>
                </c:pt>
                <c:pt idx="249" formatCode="0.0%">
                  <c:v>0.22197016101089065</c:v>
                </c:pt>
                <c:pt idx="250" formatCode="0.0%">
                  <c:v>0.22856570386158118</c:v>
                </c:pt>
                <c:pt idx="251" formatCode="0.0%">
                  <c:v>0.22721274936353467</c:v>
                </c:pt>
                <c:pt idx="252" formatCode="0.0%">
                  <c:v>0.22720393945683326</c:v>
                </c:pt>
                <c:pt idx="253" formatCode="0.0%">
                  <c:v>0.22624210023887753</c:v>
                </c:pt>
                <c:pt idx="254" formatCode="0.0%">
                  <c:v>0.19617756207289372</c:v>
                </c:pt>
                <c:pt idx="255" formatCode="0.0%">
                  <c:v>0.17006935042539068</c:v>
                </c:pt>
                <c:pt idx="256" formatCode="0.0%">
                  <c:v>0.17296612393805733</c:v>
                </c:pt>
                <c:pt idx="257" formatCode="0.0%">
                  <c:v>0.16469053606878162</c:v>
                </c:pt>
                <c:pt idx="258" formatCode="0.0%">
                  <c:v>0.15819615471958667</c:v>
                </c:pt>
                <c:pt idx="259" formatCode="0.0%">
                  <c:v>0.15682783004583228</c:v>
                </c:pt>
                <c:pt idx="260" formatCode="0.0%">
                  <c:v>0.17100490792255849</c:v>
                </c:pt>
                <c:pt idx="261" formatCode="0.0%">
                  <c:v>0.17193645144568001</c:v>
                </c:pt>
                <c:pt idx="262" formatCode="0.0%">
                  <c:v>0.16997956480292212</c:v>
                </c:pt>
                <c:pt idx="263" formatCode="0.0%">
                  <c:v>0.16730305996248385</c:v>
                </c:pt>
                <c:pt idx="264" formatCode="0.0%">
                  <c:v>0.16730251407877922</c:v>
                </c:pt>
                <c:pt idx="265" formatCode="0.0%">
                  <c:v>0.16593569814526635</c:v>
                </c:pt>
                <c:pt idx="266" formatCode="0.0%">
                  <c:v>0.16498925587194321</c:v>
                </c:pt>
                <c:pt idx="267" formatCode="0.0%">
                  <c:v>0.16645730803854764</c:v>
                </c:pt>
                <c:pt idx="268" formatCode="0.0%">
                  <c:v>0.17219379883518562</c:v>
                </c:pt>
                <c:pt idx="269" formatCode="0.0%">
                  <c:v>0.17021100320306712</c:v>
                </c:pt>
                <c:pt idx="270" formatCode="0.0%">
                  <c:v>0.16375587131450411</c:v>
                </c:pt>
                <c:pt idx="271" formatCode="0.0%">
                  <c:v>0.15166478197572464</c:v>
                </c:pt>
                <c:pt idx="272" formatCode="0.0%">
                  <c:v>0.15581675084489421</c:v>
                </c:pt>
                <c:pt idx="273" formatCode="0.0%">
                  <c:v>0.15577713583678701</c:v>
                </c:pt>
                <c:pt idx="274" formatCode="0.0%">
                  <c:v>0.1268706448113413</c:v>
                </c:pt>
                <c:pt idx="275" formatCode="0.0%">
                  <c:v>0.12484238481888169</c:v>
                </c:pt>
                <c:pt idx="276" formatCode="0.0%">
                  <c:v>0.12230679079057917</c:v>
                </c:pt>
                <c:pt idx="277" formatCode="0.0%">
                  <c:v>0.16932890833217107</c:v>
                </c:pt>
                <c:pt idx="278" formatCode="0.0%">
                  <c:v>0.17391236557450943</c:v>
                </c:pt>
                <c:pt idx="279" formatCode="0.0%">
                  <c:v>0.19071465108974833</c:v>
                </c:pt>
                <c:pt idx="280" formatCode="0.0%">
                  <c:v>0.18193927634721929</c:v>
                </c:pt>
                <c:pt idx="281" formatCode="0.0%">
                  <c:v>0.17710441032858007</c:v>
                </c:pt>
                <c:pt idx="282" formatCode="0.0%">
                  <c:v>0.1908920374494304</c:v>
                </c:pt>
                <c:pt idx="283" formatCode="0.0%">
                  <c:v>0.19054058104354885</c:v>
                </c:pt>
                <c:pt idx="284" formatCode="0.0%">
                  <c:v>0.18984176558122984</c:v>
                </c:pt>
                <c:pt idx="285" formatCode="0.0%">
                  <c:v>0.1899507810217213</c:v>
                </c:pt>
                <c:pt idx="286" formatCode="0.0%">
                  <c:v>0.19313654960076854</c:v>
                </c:pt>
                <c:pt idx="287" formatCode="0.0%">
                  <c:v>0.19217496658713901</c:v>
                </c:pt>
                <c:pt idx="288" formatCode="0.0%">
                  <c:v>0.18174778785214202</c:v>
                </c:pt>
                <c:pt idx="289" formatCode="0.0%">
                  <c:v>0.18671539679570104</c:v>
                </c:pt>
                <c:pt idx="290" formatCode="0.0%">
                  <c:v>0.19284633772727494</c:v>
                </c:pt>
                <c:pt idx="291" formatCode="0.0%">
                  <c:v>0.19515997320378223</c:v>
                </c:pt>
                <c:pt idx="292" formatCode="0.0%">
                  <c:v>0.19696661457821654</c:v>
                </c:pt>
                <c:pt idx="293" formatCode="0.0%">
                  <c:v>0.19743211301642061</c:v>
                </c:pt>
                <c:pt idx="294" formatCode="0.0%">
                  <c:v>0.20316963733808358</c:v>
                </c:pt>
                <c:pt idx="295" formatCode="0.0%">
                  <c:v>0.20628273748448855</c:v>
                </c:pt>
                <c:pt idx="296" formatCode="0.0%">
                  <c:v>0.20608290790013367</c:v>
                </c:pt>
                <c:pt idx="297" formatCode="0.0%">
                  <c:v>0.17986993249871078</c:v>
                </c:pt>
                <c:pt idx="298" formatCode="0.0%">
                  <c:v>0.17469234177514659</c:v>
                </c:pt>
                <c:pt idx="299" formatCode="0.0%">
                  <c:v>0.16109318399478523</c:v>
                </c:pt>
                <c:pt idx="300" formatCode="0.0%">
                  <c:v>0.17400551066582565</c:v>
                </c:pt>
                <c:pt idx="301" formatCode="0.0%">
                  <c:v>0.17766780290783526</c:v>
                </c:pt>
                <c:pt idx="302" formatCode="0.0%">
                  <c:v>0.15709652516777242</c:v>
                </c:pt>
                <c:pt idx="303" formatCode="0.0%">
                  <c:v>0.1575534361661014</c:v>
                </c:pt>
                <c:pt idx="304" formatCode="0.0%">
                  <c:v>0.15754549200308801</c:v>
                </c:pt>
                <c:pt idx="305" formatCode="0.0%">
                  <c:v>0.15859543021215086</c:v>
                </c:pt>
                <c:pt idx="306" formatCode="0.0%">
                  <c:v>0.16527404785873975</c:v>
                </c:pt>
                <c:pt idx="307" formatCode="0.0%">
                  <c:v>0.22469873507077953</c:v>
                </c:pt>
                <c:pt idx="308" formatCode="0.0%">
                  <c:v>0.2253999300635762</c:v>
                </c:pt>
                <c:pt idx="309" formatCode="0.0%">
                  <c:v>0.24731293307432037</c:v>
                </c:pt>
                <c:pt idx="310" formatCode="0.0%">
                  <c:v>0.25064431727324282</c:v>
                </c:pt>
                <c:pt idx="311" formatCode="0.0%">
                  <c:v>0.26374398187264203</c:v>
                </c:pt>
                <c:pt idx="312" formatCode="0.0%">
                  <c:v>0.26427022737473482</c:v>
                </c:pt>
                <c:pt idx="313" formatCode="0.0%">
                  <c:v>0.26676717761300456</c:v>
                </c:pt>
                <c:pt idx="314" formatCode="0.0%">
                  <c:v>0.26824439795033567</c:v>
                </c:pt>
                <c:pt idx="315" formatCode="0.0%">
                  <c:v>0.26885851757119977</c:v>
                </c:pt>
                <c:pt idx="316" formatCode="0.0%">
                  <c:v>0.26935286880528891</c:v>
                </c:pt>
                <c:pt idx="317" formatCode="0.0%">
                  <c:v>0.26613738928218911</c:v>
                </c:pt>
                <c:pt idx="318" formatCode="0.0%">
                  <c:v>0.26717289380871584</c:v>
                </c:pt>
                <c:pt idx="319" formatCode="0.0%">
                  <c:v>0.26744421870092921</c:v>
                </c:pt>
                <c:pt idx="320" formatCode="0.0%">
                  <c:v>0.2578424252058612</c:v>
                </c:pt>
                <c:pt idx="321" formatCode="0.0%">
                  <c:v>0.25237807633717496</c:v>
                </c:pt>
                <c:pt idx="322" formatCode="0.0%">
                  <c:v>0.2528833102751093</c:v>
                </c:pt>
                <c:pt idx="323" formatCode="0.0%">
                  <c:v>0.2565730076991079</c:v>
                </c:pt>
                <c:pt idx="324" formatCode="0.0%">
                  <c:v>0.257362237989951</c:v>
                </c:pt>
                <c:pt idx="325" formatCode="0.0%">
                  <c:v>0.25703512860168526</c:v>
                </c:pt>
                <c:pt idx="326" formatCode="0.0%">
                  <c:v>0.25600609634121907</c:v>
                </c:pt>
                <c:pt idx="327" formatCode="0.0%">
                  <c:v>0.20304623718294981</c:v>
                </c:pt>
                <c:pt idx="328" formatCode="0.0%">
                  <c:v>0.20165476120430464</c:v>
                </c:pt>
                <c:pt idx="329" formatCode="0.0%">
                  <c:v>0.17560925715749703</c:v>
                </c:pt>
                <c:pt idx="330" formatCode="0.0%">
                  <c:v>0.16485987291365617</c:v>
                </c:pt>
                <c:pt idx="331" formatCode="0.0%">
                  <c:v>0.13404994486105859</c:v>
                </c:pt>
                <c:pt idx="332" formatCode="0.0%">
                  <c:v>0.1392612249673536</c:v>
                </c:pt>
                <c:pt idx="333" formatCode="0.0%">
                  <c:v>0.12921961408067301</c:v>
                </c:pt>
                <c:pt idx="334" formatCode="0.0%">
                  <c:v>0.1163979717158099</c:v>
                </c:pt>
                <c:pt idx="335" formatCode="0.0%">
                  <c:v>0.11159063188062984</c:v>
                </c:pt>
                <c:pt idx="336" formatCode="0.0%">
                  <c:v>0.10471315131076277</c:v>
                </c:pt>
                <c:pt idx="337" formatCode="0.0%">
                  <c:v>0.10684853254460328</c:v>
                </c:pt>
                <c:pt idx="338" formatCode="0.0%">
                  <c:v>0.10630502539966701</c:v>
                </c:pt>
                <c:pt idx="339" formatCode="0.0%">
                  <c:v>0.10578567825470116</c:v>
                </c:pt>
                <c:pt idx="340" formatCode="0.0%">
                  <c:v>0.11189986336201563</c:v>
                </c:pt>
                <c:pt idx="341" formatCode="0.0%">
                  <c:v>0.15054224510093259</c:v>
                </c:pt>
                <c:pt idx="342" formatCode="0.0%">
                  <c:v>0.1553011323836623</c:v>
                </c:pt>
                <c:pt idx="343" formatCode="0.0%">
                  <c:v>0.15322653698602062</c:v>
                </c:pt>
                <c:pt idx="344" formatCode="0.0%">
                  <c:v>0.1534418818823628</c:v>
                </c:pt>
                <c:pt idx="345" formatCode="0.0%">
                  <c:v>0.15378022931557936</c:v>
                </c:pt>
                <c:pt idx="346" formatCode="0.0%">
                  <c:v>0.17920770319452112</c:v>
                </c:pt>
                <c:pt idx="347" formatCode="0.0%">
                  <c:v>0.18356119571107873</c:v>
                </c:pt>
                <c:pt idx="348" formatCode="0.0%">
                  <c:v>0.22564016132733353</c:v>
                </c:pt>
                <c:pt idx="349" formatCode="0.0%">
                  <c:v>0.24070866697744761</c:v>
                </c:pt>
                <c:pt idx="350" formatCode="0.0%">
                  <c:v>0.24192865390528873</c:v>
                </c:pt>
                <c:pt idx="351" formatCode="0.0%">
                  <c:v>0.27434161631945114</c:v>
                </c:pt>
                <c:pt idx="352" formatCode="0.0%">
                  <c:v>0.27439140577324073</c:v>
                </c:pt>
                <c:pt idx="353" formatCode="0.0%">
                  <c:v>0.27424582494150618</c:v>
                </c:pt>
                <c:pt idx="354" formatCode="0.0%">
                  <c:v>0.27596245177614792</c:v>
                </c:pt>
                <c:pt idx="355" formatCode="0.0%">
                  <c:v>0.28181002851968856</c:v>
                </c:pt>
                <c:pt idx="356" formatCode="0.0%">
                  <c:v>0.28796018607173618</c:v>
                </c:pt>
                <c:pt idx="357" formatCode="0.0%">
                  <c:v>0.28633698095639265</c:v>
                </c:pt>
                <c:pt idx="358" formatCode="0.0%">
                  <c:v>0.28591120039613527</c:v>
                </c:pt>
                <c:pt idx="359" formatCode="0.0%">
                  <c:v>0.28555268429998748</c:v>
                </c:pt>
                <c:pt idx="360" formatCode="0.0%">
                  <c:v>0.28292690377766699</c:v>
                </c:pt>
                <c:pt idx="361" formatCode="0.0%">
                  <c:v>0.26841995122969581</c:v>
                </c:pt>
                <c:pt idx="362" formatCode="0.0%">
                  <c:v>0.26445353665525689</c:v>
                </c:pt>
                <c:pt idx="363" formatCode="0.0%">
                  <c:v>0.27021266946549116</c:v>
                </c:pt>
                <c:pt idx="364" formatCode="0.0%">
                  <c:v>0.26988818484843169</c:v>
                </c:pt>
                <c:pt idx="365" formatCode="0.0%">
                  <c:v>0.27734986635016329</c:v>
                </c:pt>
                <c:pt idx="366" formatCode="0.0%">
                  <c:v>0.25722460250782742</c:v>
                </c:pt>
                <c:pt idx="367" formatCode="0.0%">
                  <c:v>0.25509558058040593</c:v>
                </c:pt>
                <c:pt idx="368" formatCode="0.0%">
                  <c:v>0.21096550374996675</c:v>
                </c:pt>
                <c:pt idx="369" formatCode="0.0%">
                  <c:v>0.19949154848103559</c:v>
                </c:pt>
                <c:pt idx="370" formatCode="0.0%">
                  <c:v>0.19621878302710691</c:v>
                </c:pt>
                <c:pt idx="371" formatCode="0.0%">
                  <c:v>0.12767428903304118</c:v>
                </c:pt>
                <c:pt idx="372" formatCode="0.0%">
                  <c:v>0.12133024209734433</c:v>
                </c:pt>
                <c:pt idx="373" formatCode="0.0%">
                  <c:v>0.12110606694982258</c:v>
                </c:pt>
                <c:pt idx="374" formatCode="0.0%">
                  <c:v>0.12243821720626298</c:v>
                </c:pt>
                <c:pt idx="375" formatCode="0.0%">
                  <c:v>0.1171997739846813</c:v>
                </c:pt>
                <c:pt idx="376" formatCode="0.0%">
                  <c:v>0.11345648555938502</c:v>
                </c:pt>
                <c:pt idx="377" formatCode="0.0%">
                  <c:v>0.11087714350371021</c:v>
                </c:pt>
                <c:pt idx="378" formatCode="0.0%">
                  <c:v>0.1103578824130355</c:v>
                </c:pt>
                <c:pt idx="379" formatCode="0.0%">
                  <c:v>0.10559874864035816</c:v>
                </c:pt>
                <c:pt idx="380" formatCode="0.0%">
                  <c:v>9.4205597058197851E-2</c:v>
                </c:pt>
                <c:pt idx="381" formatCode="0.0%">
                  <c:v>9.8803946801963055E-2</c:v>
                </c:pt>
                <c:pt idx="382" formatCode="0.0%">
                  <c:v>9.8127959412797144E-2</c:v>
                </c:pt>
                <c:pt idx="383" formatCode="0.0%">
                  <c:v>9.3407727016688688E-2</c:v>
                </c:pt>
                <c:pt idx="384" formatCode="0.0%">
                  <c:v>9.8915543103793316E-2</c:v>
                </c:pt>
                <c:pt idx="385" formatCode="0.0%">
                  <c:v>8.5336574559509909E-2</c:v>
                </c:pt>
                <c:pt idx="386" formatCode="0.0%">
                  <c:v>8.4462870017060862E-2</c:v>
                </c:pt>
                <c:pt idx="387" formatCode="0.0%">
                  <c:v>8.2528948781588798E-2</c:v>
                </c:pt>
                <c:pt idx="388" formatCode="0.0%">
                  <c:v>8.2394732617446662E-2</c:v>
                </c:pt>
                <c:pt idx="389" formatCode="0.0%">
                  <c:v>9.9134993383707681E-2</c:v>
                </c:pt>
                <c:pt idx="390" formatCode="0.0%">
                  <c:v>0.10520618668882518</c:v>
                </c:pt>
                <c:pt idx="391" formatCode="0.0%">
                  <c:v>0.10866915654838111</c:v>
                </c:pt>
                <c:pt idx="392" formatCode="0.0%">
                  <c:v>0.10830407441415268</c:v>
                </c:pt>
                <c:pt idx="393" formatCode="0.0%">
                  <c:v>0.11099189207537336</c:v>
                </c:pt>
                <c:pt idx="394" formatCode="0.0%">
                  <c:v>0.12663900121777535</c:v>
                </c:pt>
                <c:pt idx="395" formatCode="0.0%">
                  <c:v>0.12463066187532244</c:v>
                </c:pt>
                <c:pt idx="396" formatCode="0.0%">
                  <c:v>0.12776726626309495</c:v>
                </c:pt>
                <c:pt idx="397" formatCode="0.0%">
                  <c:v>0.12887753158196233</c:v>
                </c:pt>
                <c:pt idx="398" formatCode="0.0%">
                  <c:v>0.13883842197428789</c:v>
                </c:pt>
                <c:pt idx="399" formatCode="0.0%">
                  <c:v>0.13919659382380406</c:v>
                </c:pt>
                <c:pt idx="400" formatCode="0.0%">
                  <c:v>0.13948420035901238</c:v>
                </c:pt>
                <c:pt idx="401" formatCode="0.0%">
                  <c:v>0.14524888233651731</c:v>
                </c:pt>
                <c:pt idx="402" formatCode="0.0%">
                  <c:v>0.14951861264508076</c:v>
                </c:pt>
                <c:pt idx="403" formatCode="0.0%">
                  <c:v>0.20187181012032382</c:v>
                </c:pt>
                <c:pt idx="404" formatCode="0.0%">
                  <c:v>0.22947213939796493</c:v>
                </c:pt>
                <c:pt idx="405" formatCode="0.0%">
                  <c:v>0.23015726250826896</c:v>
                </c:pt>
                <c:pt idx="406" formatCode="0.0%">
                  <c:v>0.2301994296184498</c:v>
                </c:pt>
                <c:pt idx="407" formatCode="0.0%">
                  <c:v>0.22979865499094246</c:v>
                </c:pt>
                <c:pt idx="408" formatCode="0.0%">
                  <c:v>0.23725598976118312</c:v>
                </c:pt>
                <c:pt idx="409" formatCode="0.0%">
                  <c:v>0.23238441595141088</c:v>
                </c:pt>
                <c:pt idx="410" formatCode="0.0%">
                  <c:v>0.22931028083310595</c:v>
                </c:pt>
                <c:pt idx="411" formatCode="0.0%">
                  <c:v>0.22813067510324922</c:v>
                </c:pt>
                <c:pt idx="412" formatCode="0.0%">
                  <c:v>0.22867940400797646</c:v>
                </c:pt>
                <c:pt idx="413" formatCode="0.0%">
                  <c:v>0.22805226638495069</c:v>
                </c:pt>
                <c:pt idx="414" formatCode="0.0%">
                  <c:v>0.21517683683758795</c:v>
                </c:pt>
                <c:pt idx="415" formatCode="0.0%">
                  <c:v>0.2146312162724883</c:v>
                </c:pt>
                <c:pt idx="416" formatCode="0.0%">
                  <c:v>0.21298312946112316</c:v>
                </c:pt>
                <c:pt idx="417" formatCode="0.0%">
                  <c:v>0.21377695796615409</c:v>
                </c:pt>
                <c:pt idx="418" formatCode="0.0%">
                  <c:v>0.21164290241836398</c:v>
                </c:pt>
                <c:pt idx="419" formatCode="0.0%">
                  <c:v>0.21106594194204933</c:v>
                </c:pt>
                <c:pt idx="420" formatCode="0.0%">
                  <c:v>0.21080301932103448</c:v>
                </c:pt>
                <c:pt idx="421" formatCode="0.0%">
                  <c:v>0.22528447085005668</c:v>
                </c:pt>
                <c:pt idx="422" formatCode="0.0%">
                  <c:v>0.23762368407509549</c:v>
                </c:pt>
                <c:pt idx="423" formatCode="0.0%">
                  <c:v>0.1841742567210207</c:v>
                </c:pt>
                <c:pt idx="424" formatCode="0.0%">
                  <c:v>0.17660241964003845</c:v>
                </c:pt>
                <c:pt idx="425" formatCode="0.0%">
                  <c:v>0.17956330812073304</c:v>
                </c:pt>
                <c:pt idx="426" formatCode="0.0%">
                  <c:v>0.18706096992735294</c:v>
                </c:pt>
                <c:pt idx="427" formatCode="0.0%">
                  <c:v>0.18760371361122105</c:v>
                </c:pt>
                <c:pt idx="428" formatCode="0.0%">
                  <c:v>0.18441046392731369</c:v>
                </c:pt>
                <c:pt idx="429" formatCode="0.0%">
                  <c:v>0.18651875285956604</c:v>
                </c:pt>
                <c:pt idx="430" formatCode="0.0%">
                  <c:v>0.1859167313720046</c:v>
                </c:pt>
                <c:pt idx="431" formatCode="0.0%">
                  <c:v>0.18463111982400066</c:v>
                </c:pt>
                <c:pt idx="432" formatCode="0.0%">
                  <c:v>0.18847094084104546</c:v>
                </c:pt>
                <c:pt idx="433" formatCode="0.0%">
                  <c:v>0.18564889404911625</c:v>
                </c:pt>
                <c:pt idx="434" formatCode="0.0%">
                  <c:v>0.19769392737835823</c:v>
                </c:pt>
                <c:pt idx="435" formatCode="0.0%">
                  <c:v>0.19782596451090084</c:v>
                </c:pt>
                <c:pt idx="436" formatCode="0.0%">
                  <c:v>0.20045561640487269</c:v>
                </c:pt>
                <c:pt idx="437" formatCode="0.0%">
                  <c:v>0.22055815352747002</c:v>
                </c:pt>
                <c:pt idx="438" formatCode="0.0%">
                  <c:v>0.21336948827488869</c:v>
                </c:pt>
                <c:pt idx="439" formatCode="0.0%">
                  <c:v>0.21249816489129963</c:v>
                </c:pt>
                <c:pt idx="440" formatCode="0.0%">
                  <c:v>0.21560799992190544</c:v>
                </c:pt>
                <c:pt idx="441" formatCode="0.0%">
                  <c:v>0.24903455227564156</c:v>
                </c:pt>
                <c:pt idx="442" formatCode="0.0%">
                  <c:v>0.22463426215170221</c:v>
                </c:pt>
                <c:pt idx="443" formatCode="0.0%">
                  <c:v>0.32425883396113042</c:v>
                </c:pt>
                <c:pt idx="444" formatCode="0.0%">
                  <c:v>0.31866452595139705</c:v>
                </c:pt>
                <c:pt idx="445" formatCode="0.0%">
                  <c:v>0.3137195028748892</c:v>
                </c:pt>
                <c:pt idx="446" formatCode="0.0%">
                  <c:v>0.3191101193790063</c:v>
                </c:pt>
                <c:pt idx="447" formatCode="0.0%">
                  <c:v>0.31795230973558181</c:v>
                </c:pt>
                <c:pt idx="448" formatCode="0.0%">
                  <c:v>0.31265737006520589</c:v>
                </c:pt>
                <c:pt idx="449" formatCode="0.0%">
                  <c:v>0.3126632725841057</c:v>
                </c:pt>
                <c:pt idx="450" formatCode="0.0%">
                  <c:v>0.33377036594580189</c:v>
                </c:pt>
                <c:pt idx="451" formatCode="0.0%">
                  <c:v>0.34028639504661162</c:v>
                </c:pt>
                <c:pt idx="452" formatCode="0.0%">
                  <c:v>0.35158771321337617</c:v>
                </c:pt>
                <c:pt idx="453" formatCode="0.0%">
                  <c:v>0.3723761111442887</c:v>
                </c:pt>
                <c:pt idx="454" formatCode="0.0%">
                  <c:v>0.37980158255798263</c:v>
                </c:pt>
                <c:pt idx="455" formatCode="0.0%">
                  <c:v>0.42859145070354693</c:v>
                </c:pt>
                <c:pt idx="456" formatCode="0.0%">
                  <c:v>0.43277381871470971</c:v>
                </c:pt>
                <c:pt idx="457" formatCode="0.0%">
                  <c:v>0.43478506397533401</c:v>
                </c:pt>
                <c:pt idx="458" formatCode="0.0%">
                  <c:v>0.63646990958487271</c:v>
                </c:pt>
                <c:pt idx="459" formatCode="0.0%">
                  <c:v>0.71564682758030662</c:v>
                </c:pt>
                <c:pt idx="460" formatCode="0.0%">
                  <c:v>0.86283784543698616</c:v>
                </c:pt>
                <c:pt idx="461" formatCode="0.0%">
                  <c:v>0.88344703905197453</c:v>
                </c:pt>
                <c:pt idx="462" formatCode="0.0%">
                  <c:v>0.89777503548306381</c:v>
                </c:pt>
                <c:pt idx="463" formatCode="0.0%">
                  <c:v>0.91365735131820658</c:v>
                </c:pt>
                <c:pt idx="464" formatCode="0.0%">
                  <c:v>0.93349621457097043</c:v>
                </c:pt>
                <c:pt idx="465" formatCode="0.0%">
                  <c:v>0.93236017885341482</c:v>
                </c:pt>
                <c:pt idx="466" formatCode="0.0%">
                  <c:v>0.93635183323252003</c:v>
                </c:pt>
                <c:pt idx="467" formatCode="0.0%">
                  <c:v>0.9417595082052943</c:v>
                </c:pt>
                <c:pt idx="468" formatCode="0.0%">
                  <c:v>0.94667546426065208</c:v>
                </c:pt>
                <c:pt idx="469" formatCode="0.0%">
                  <c:v>1.0271798498555178</c:v>
                </c:pt>
                <c:pt idx="470" formatCode="0.0%">
                  <c:v>1.0606124527591612</c:v>
                </c:pt>
                <c:pt idx="471" formatCode="0.0%">
                  <c:v>1.0537444839479215</c:v>
                </c:pt>
                <c:pt idx="472" formatCode="0.0%">
                  <c:v>1.067375909537839</c:v>
                </c:pt>
                <c:pt idx="473" formatCode="0.0%">
                  <c:v>1.0746781340073674</c:v>
                </c:pt>
                <c:pt idx="474" formatCode="0.0%">
                  <c:v>1.0733693438397964</c:v>
                </c:pt>
                <c:pt idx="475" formatCode="0.0%">
                  <c:v>1.0589313759220567</c:v>
                </c:pt>
                <c:pt idx="476" formatCode="0.0%">
                  <c:v>1.0557944673135475</c:v>
                </c:pt>
                <c:pt idx="477" formatCode="0.0%">
                  <c:v>1.0541530590555732</c:v>
                </c:pt>
                <c:pt idx="478" formatCode="0.0%">
                  <c:v>0.94364729743661968</c:v>
                </c:pt>
                <c:pt idx="479" formatCode="0.0%">
                  <c:v>0.86168416527846792</c:v>
                </c:pt>
                <c:pt idx="480" formatCode="0.0%">
                  <c:v>0.75498736024852742</c:v>
                </c:pt>
                <c:pt idx="481" formatCode="0.0%">
                  <c:v>0.73431363652360937</c:v>
                </c:pt>
                <c:pt idx="482" formatCode="0.0%">
                  <c:v>0.71101221481399435</c:v>
                </c:pt>
                <c:pt idx="483" formatCode="0.0%">
                  <c:v>0.60524963351208694</c:v>
                </c:pt>
                <c:pt idx="484" formatCode="0.0%">
                  <c:v>0.59361710688156433</c:v>
                </c:pt>
                <c:pt idx="485" formatCode="0.0%">
                  <c:v>0.59234417546932716</c:v>
                </c:pt>
                <c:pt idx="486" formatCode="0.0%">
                  <c:v>0.53862236747743697</c:v>
                </c:pt>
                <c:pt idx="487" formatCode="0.0%">
                  <c:v>0.53394074494782529</c:v>
                </c:pt>
                <c:pt idx="488" formatCode="0.0%">
                  <c:v>0.4786522776940797</c:v>
                </c:pt>
                <c:pt idx="489" formatCode="0.0%">
                  <c:v>0.39589935121233533</c:v>
                </c:pt>
                <c:pt idx="490" formatCode="0.0%">
                  <c:v>0.35321808780134906</c:v>
                </c:pt>
                <c:pt idx="491" formatCode="0.0%">
                  <c:v>0.35152740330524079</c:v>
                </c:pt>
                <c:pt idx="492" formatCode="0.0%">
                  <c:v>0.35219825351315759</c:v>
                </c:pt>
                <c:pt idx="493" formatCode="0.0%">
                  <c:v>0.35694236257431333</c:v>
                </c:pt>
                <c:pt idx="494" formatCode="0.0%">
                  <c:v>0.35148605490170542</c:v>
                </c:pt>
                <c:pt idx="495" formatCode="0.0%">
                  <c:v>0.35312807524075501</c:v>
                </c:pt>
                <c:pt idx="496" formatCode="0.0%">
                  <c:v>0.36177854105871188</c:v>
                </c:pt>
                <c:pt idx="497" formatCode="0.0%">
                  <c:v>0.34576042396219675</c:v>
                </c:pt>
                <c:pt idx="498" formatCode="0.0%">
                  <c:v>0.34302096350905403</c:v>
                </c:pt>
                <c:pt idx="499" formatCode="0.0%">
                  <c:v>0.35573921753785942</c:v>
                </c:pt>
                <c:pt idx="500" formatCode="0.0%">
                  <c:v>0.33823193415233932</c:v>
                </c:pt>
                <c:pt idx="501" formatCode="0.0%">
                  <c:v>0.33075132254737294</c:v>
                </c:pt>
                <c:pt idx="502" formatCode="0.0%">
                  <c:v>0.33374084130596027</c:v>
                </c:pt>
                <c:pt idx="503" formatCode="0.0%">
                  <c:v>0.31895634495272901</c:v>
                </c:pt>
                <c:pt idx="504" formatCode="0.0%">
                  <c:v>0.31900942780066521</c:v>
                </c:pt>
                <c:pt idx="505" formatCode="0.0%">
                  <c:v>0.32347076762646287</c:v>
                </c:pt>
                <c:pt idx="506" formatCode="0.0%">
                  <c:v>0.32265171584892255</c:v>
                </c:pt>
                <c:pt idx="507" formatCode="0.0%">
                  <c:v>0.25283024708729485</c:v>
                </c:pt>
                <c:pt idx="508" formatCode="0.0%">
                  <c:v>0.23666403708285824</c:v>
                </c:pt>
                <c:pt idx="509" formatCode="0.0%">
                  <c:v>0.22846886267735123</c:v>
                </c:pt>
                <c:pt idx="510" formatCode="0.0%">
                  <c:v>0.2268377475174751</c:v>
                </c:pt>
                <c:pt idx="511" formatCode="0.0%">
                  <c:v>0.22787071711828383</c:v>
                </c:pt>
                <c:pt idx="512" formatCode="0.0%">
                  <c:v>0.20667493621060215</c:v>
                </c:pt>
                <c:pt idx="513" formatCode="0.0%">
                  <c:v>0.15957594006078238</c:v>
                </c:pt>
                <c:pt idx="514" formatCode="0.0%">
                  <c:v>0.15972154190713189</c:v>
                </c:pt>
                <c:pt idx="515" formatCode="0.0%">
                  <c:v>0.16098456336439351</c:v>
                </c:pt>
                <c:pt idx="516" formatCode="0.0%">
                  <c:v>0.14747570588399461</c:v>
                </c:pt>
                <c:pt idx="517" formatCode="0.0%">
                  <c:v>0.14774475651304883</c:v>
                </c:pt>
                <c:pt idx="518" formatCode="0.0%">
                  <c:v>0.15057698248735274</c:v>
                </c:pt>
                <c:pt idx="519" formatCode="0.0%">
                  <c:v>0.12669685725458765</c:v>
                </c:pt>
                <c:pt idx="520" formatCode="0.0%">
                  <c:v>0.11448291761876155</c:v>
                </c:pt>
                <c:pt idx="521" formatCode="0.0%">
                  <c:v>0.12111429092349808</c:v>
                </c:pt>
                <c:pt idx="522" formatCode="0.0%">
                  <c:v>0.11774344479269297</c:v>
                </c:pt>
                <c:pt idx="523" formatCode="0.0%">
                  <c:v>0.11333468541305827</c:v>
                </c:pt>
                <c:pt idx="524" formatCode="0.0%">
                  <c:v>0.11625971033037141</c:v>
                </c:pt>
                <c:pt idx="525" formatCode="0.0%">
                  <c:v>0.12088082364798879</c:v>
                </c:pt>
                <c:pt idx="526" formatCode="0.0%">
                  <c:v>0.12137666699531494</c:v>
                </c:pt>
                <c:pt idx="527" formatCode="0.0%">
                  <c:v>0.12065763778107076</c:v>
                </c:pt>
                <c:pt idx="528" formatCode="0.0%">
                  <c:v>0.12175220355503122</c:v>
                </c:pt>
                <c:pt idx="529" formatCode="0.0%">
                  <c:v>0.12199836323353294</c:v>
                </c:pt>
                <c:pt idx="530" formatCode="0.0%">
                  <c:v>0.11644256420158619</c:v>
                </c:pt>
                <c:pt idx="531" formatCode="0.0%">
                  <c:v>0.11020873568706908</c:v>
                </c:pt>
                <c:pt idx="532" formatCode="0.0%">
                  <c:v>0.10954053241312064</c:v>
                </c:pt>
                <c:pt idx="533" formatCode="0.0%">
                  <c:v>0.11876054646987605</c:v>
                </c:pt>
                <c:pt idx="534" formatCode="0.0%">
                  <c:v>0.1422711729410458</c:v>
                </c:pt>
                <c:pt idx="535" formatCode="0.0%">
                  <c:v>0.1443711615497571</c:v>
                </c:pt>
                <c:pt idx="536" formatCode="0.0%">
                  <c:v>0.14903721795151612</c:v>
                </c:pt>
                <c:pt idx="537" formatCode="0.0%">
                  <c:v>0.14721351486459999</c:v>
                </c:pt>
                <c:pt idx="538" formatCode="0.0%">
                  <c:v>0.15743379429279675</c:v>
                </c:pt>
                <c:pt idx="539" formatCode="0.0%">
                  <c:v>0.15417145714300201</c:v>
                </c:pt>
                <c:pt idx="540" formatCode="0.0%">
                  <c:v>0.15565755542670787</c:v>
                </c:pt>
                <c:pt idx="541" formatCode="0.0%">
                  <c:v>0.14886313366861831</c:v>
                </c:pt>
                <c:pt idx="542" formatCode="0.0%">
                  <c:v>0.14996541404333413</c:v>
                </c:pt>
                <c:pt idx="543" formatCode="0.0%">
                  <c:v>0.14854264217724561</c:v>
                </c:pt>
                <c:pt idx="544" formatCode="0.0%">
                  <c:v>0.14549646056283133</c:v>
                </c:pt>
                <c:pt idx="545" formatCode="0.0%">
                  <c:v>0.13920925135258783</c:v>
                </c:pt>
                <c:pt idx="546" formatCode="0.0%">
                  <c:v>0.13810584230199441</c:v>
                </c:pt>
                <c:pt idx="547" formatCode="0.0%">
                  <c:v>0.13686732653621109</c:v>
                </c:pt>
                <c:pt idx="548" formatCode="0.0%">
                  <c:v>0.14061087047624551</c:v>
                </c:pt>
                <c:pt idx="549" formatCode="0.0%">
                  <c:v>0.14197345307834117</c:v>
                </c:pt>
                <c:pt idx="550" formatCode="0.0%">
                  <c:v>0.14405011052622405</c:v>
                </c:pt>
                <c:pt idx="551" formatCode="0.0%">
                  <c:v>0.14669279371228955</c:v>
                </c:pt>
                <c:pt idx="552" formatCode="0.0%">
                  <c:v>0.14997848820654683</c:v>
                </c:pt>
                <c:pt idx="553" formatCode="0.0%">
                  <c:v>0.14543249813028747</c:v>
                </c:pt>
                <c:pt idx="554" formatCode="0.0%">
                  <c:v>0.12290333656524891</c:v>
                </c:pt>
                <c:pt idx="555" formatCode="0.0%">
                  <c:v>0.11876209381008176</c:v>
                </c:pt>
                <c:pt idx="556" formatCode="0.0%">
                  <c:v>0.10858357255759575</c:v>
                </c:pt>
                <c:pt idx="557" formatCode="0.0%">
                  <c:v>0.10935201417298374</c:v>
                </c:pt>
                <c:pt idx="558" formatCode="0.0%">
                  <c:v>0.10398394207839733</c:v>
                </c:pt>
                <c:pt idx="559" formatCode="0.0%">
                  <c:v>0.10443347605920515</c:v>
                </c:pt>
                <c:pt idx="560" formatCode="0.0%">
                  <c:v>0.10673733596712461</c:v>
                </c:pt>
                <c:pt idx="561" formatCode="0.0%">
                  <c:v>0.11077261506723288</c:v>
                </c:pt>
                <c:pt idx="562" formatCode="0.0%">
                  <c:v>0.11157240705731011</c:v>
                </c:pt>
                <c:pt idx="563" formatCode="0.0%">
                  <c:v>0.11545760914551337</c:v>
                </c:pt>
                <c:pt idx="564" formatCode="0.0%">
                  <c:v>0.11321426143304791</c:v>
                </c:pt>
                <c:pt idx="565" formatCode="0.0%">
                  <c:v>0.11986575340830086</c:v>
                </c:pt>
                <c:pt idx="566" formatCode="0.0%">
                  <c:v>0.11998975848947432</c:v>
                </c:pt>
                <c:pt idx="567" formatCode="0.0%">
                  <c:v>0.12445305698647827</c:v>
                </c:pt>
                <c:pt idx="568" formatCode="0.0%">
                  <c:v>0.11934912208110124</c:v>
                </c:pt>
                <c:pt idx="569" formatCode="0.0%">
                  <c:v>0.11972749017272352</c:v>
                </c:pt>
                <c:pt idx="570" formatCode="0.0%">
                  <c:v>0.11621736692698036</c:v>
                </c:pt>
                <c:pt idx="571" formatCode="0.0%">
                  <c:v>0.11924666449201531</c:v>
                </c:pt>
                <c:pt idx="572" formatCode="0.0%">
                  <c:v>0.11811723438599364</c:v>
                </c:pt>
                <c:pt idx="573" formatCode="0.0%">
                  <c:v>0.12383792102090958</c:v>
                </c:pt>
                <c:pt idx="574" formatCode="0.0%">
                  <c:v>0.12469518827314355</c:v>
                </c:pt>
                <c:pt idx="575" formatCode="0.0%">
                  <c:v>0.14503258381282857</c:v>
                </c:pt>
                <c:pt idx="576" formatCode="0.0%">
                  <c:v>0.14637169522551916</c:v>
                </c:pt>
                <c:pt idx="577" formatCode="0.0%">
                  <c:v>0.14574209655031298</c:v>
                </c:pt>
                <c:pt idx="578" formatCode="0.0%">
                  <c:v>0.14234083503889552</c:v>
                </c:pt>
                <c:pt idx="579" formatCode="0.0%">
                  <c:v>0.14209617751587228</c:v>
                </c:pt>
                <c:pt idx="580" formatCode="0.0%">
                  <c:v>0.16035380697117918</c:v>
                </c:pt>
                <c:pt idx="581" formatCode="0.0%">
                  <c:v>0.15419734566732857</c:v>
                </c:pt>
                <c:pt idx="582" formatCode="0.0%">
                  <c:v>0.15246852982455295</c:v>
                </c:pt>
                <c:pt idx="583" formatCode="0.0%">
                  <c:v>0.17102321134864024</c:v>
                </c:pt>
                <c:pt idx="584" formatCode="0.0%">
                  <c:v>0.19855161259710272</c:v>
                </c:pt>
                <c:pt idx="585" formatCode="0.0%">
                  <c:v>0.20098210378041736</c:v>
                </c:pt>
                <c:pt idx="586" formatCode="0.0%">
                  <c:v>0.24250130134552172</c:v>
                </c:pt>
                <c:pt idx="587" formatCode="0.0%">
                  <c:v>0.24856546519295719</c:v>
                </c:pt>
                <c:pt idx="588" formatCode="0.0%">
                  <c:v>0.23891614124555158</c:v>
                </c:pt>
                <c:pt idx="589" formatCode="0.0%">
                  <c:v>0.24567130729115472</c:v>
                </c:pt>
                <c:pt idx="590" formatCode="0.0%">
                  <c:v>0.25700546528344542</c:v>
                </c:pt>
                <c:pt idx="591" formatCode="0.0%">
                  <c:v>0.2640380009905865</c:v>
                </c:pt>
                <c:pt idx="592" formatCode="0.0%">
                  <c:v>0.26568233435734001</c:v>
                </c:pt>
                <c:pt idx="593" formatCode="0.0%">
                  <c:v>0.26994254238024706</c:v>
                </c:pt>
                <c:pt idx="594" formatCode="0.0%">
                  <c:v>0.26869506538583054</c:v>
                </c:pt>
                <c:pt idx="595" formatCode="0.0%">
                  <c:v>0.27206965620624407</c:v>
                </c:pt>
                <c:pt idx="596" formatCode="0.0%">
                  <c:v>0.27034289073348206</c:v>
                </c:pt>
                <c:pt idx="597" formatCode="0.0%">
                  <c:v>0.26966982126992434</c:v>
                </c:pt>
                <c:pt idx="598" formatCode="0.0%">
                  <c:v>0.26993791019241054</c:v>
                </c:pt>
                <c:pt idx="599" formatCode="0.0%">
                  <c:v>0.27394529505157678</c:v>
                </c:pt>
                <c:pt idx="600" formatCode="0.0%">
                  <c:v>0.26613119436812532</c:v>
                </c:pt>
                <c:pt idx="601" formatCode="0.0%">
                  <c:v>0.26618313290754825</c:v>
                </c:pt>
                <c:pt idx="602" formatCode="0.0%">
                  <c:v>0.26578393542017359</c:v>
                </c:pt>
                <c:pt idx="603" formatCode="0.0%">
                  <c:v>0.25154365968001857</c:v>
                </c:pt>
                <c:pt idx="604" formatCode="0.0%">
                  <c:v>0.22441158353531424</c:v>
                </c:pt>
                <c:pt idx="605" formatCode="0.0%">
                  <c:v>0.20494185061538239</c:v>
                </c:pt>
                <c:pt idx="606" formatCode="0.0%">
                  <c:v>0.16997771379342672</c:v>
                </c:pt>
                <c:pt idx="607" formatCode="0.0%">
                  <c:v>0.16503107827661379</c:v>
                </c:pt>
                <c:pt idx="608" formatCode="0.0%">
                  <c:v>0.17617157308324424</c:v>
                </c:pt>
                <c:pt idx="609" formatCode="0.0%">
                  <c:v>0.24420287163092325</c:v>
                </c:pt>
                <c:pt idx="610" formatCode="0.0%">
                  <c:v>0.2586292785843668</c:v>
                </c:pt>
                <c:pt idx="611" formatCode="0.0%">
                  <c:v>0.27719729774113561</c:v>
                </c:pt>
                <c:pt idx="612" formatCode="0.0%">
                  <c:v>0.27430419964385566</c:v>
                </c:pt>
                <c:pt idx="613" formatCode="0.0%">
                  <c:v>0.27365130212358391</c:v>
                </c:pt>
                <c:pt idx="614" formatCode="0.0%">
                  <c:v>0.38009540468334801</c:v>
                </c:pt>
                <c:pt idx="615" formatCode="0.0%">
                  <c:v>0.37782935141808943</c:v>
                </c:pt>
                <c:pt idx="616" formatCode="0.0%">
                  <c:v>0.38803895762938961</c:v>
                </c:pt>
                <c:pt idx="617" formatCode="0.0%">
                  <c:v>0.43435968624514359</c:v>
                </c:pt>
                <c:pt idx="618" formatCode="0.0%">
                  <c:v>0.43847260779611813</c:v>
                </c:pt>
                <c:pt idx="619" formatCode="0.0%">
                  <c:v>0.4332463140648346</c:v>
                </c:pt>
                <c:pt idx="620" formatCode="0.0%">
                  <c:v>0.43796256574011955</c:v>
                </c:pt>
                <c:pt idx="621" formatCode="0.0%">
                  <c:v>0.44126738525476517</c:v>
                </c:pt>
                <c:pt idx="622" formatCode="0.0%">
                  <c:v>0.4541589340039095</c:v>
                </c:pt>
                <c:pt idx="623" formatCode="0.0%">
                  <c:v>0.450976338975484</c:v>
                </c:pt>
                <c:pt idx="624" formatCode="0.0%">
                  <c:v>0.47569231776700177</c:v>
                </c:pt>
                <c:pt idx="625" formatCode="0.0%">
                  <c:v>0.47574535011624441</c:v>
                </c:pt>
                <c:pt idx="626" formatCode="0.0%">
                  <c:v>0.47860636602567885</c:v>
                </c:pt>
                <c:pt idx="627" formatCode="0.0%">
                  <c:v>0.47791113095041887</c:v>
                </c:pt>
                <c:pt idx="628" formatCode="0.0%">
                  <c:v>0.47919727915969351</c:v>
                </c:pt>
                <c:pt idx="629" formatCode="0.0%">
                  <c:v>0.45634592723656214</c:v>
                </c:pt>
                <c:pt idx="630" formatCode="0.0%">
                  <c:v>0.44570419578658693</c:v>
                </c:pt>
                <c:pt idx="631" formatCode="0.0%">
                  <c:v>0.44454460248769279</c:v>
                </c:pt>
                <c:pt idx="632" formatCode="0.0%">
                  <c:v>0.44530090301537339</c:v>
                </c:pt>
                <c:pt idx="633" formatCode="0.0%">
                  <c:v>0.46922175561208068</c:v>
                </c:pt>
                <c:pt idx="634" formatCode="0.0%">
                  <c:v>0.36981516837085104</c:v>
                </c:pt>
                <c:pt idx="635" formatCode="0.0%">
                  <c:v>0.37033895759781377</c:v>
                </c:pt>
                <c:pt idx="636" formatCode="0.0%">
                  <c:v>0.34242720703931129</c:v>
                </c:pt>
                <c:pt idx="637" formatCode="0.0%">
                  <c:v>0.30604815580057843</c:v>
                </c:pt>
                <c:pt idx="638" formatCode="0.0%">
                  <c:v>0.32431860897101766</c:v>
                </c:pt>
                <c:pt idx="639" formatCode="0.0%">
                  <c:v>0.32717056881237783</c:v>
                </c:pt>
                <c:pt idx="640" formatCode="0.0%">
                  <c:v>0.29646686574633785</c:v>
                </c:pt>
                <c:pt idx="641" formatCode="0.0%">
                  <c:v>0.30349265858912239</c:v>
                </c:pt>
                <c:pt idx="642" formatCode="0.0%">
                  <c:v>0.29537159942462965</c:v>
                </c:pt>
                <c:pt idx="643" formatCode="0.0%">
                  <c:v>0.29360850307919123</c:v>
                </c:pt>
                <c:pt idx="644" formatCode="0.0%">
                  <c:v>0.27796925354211149</c:v>
                </c:pt>
                <c:pt idx="645" formatCode="0.0%">
                  <c:v>0.29356637816925768</c:v>
                </c:pt>
                <c:pt idx="646" formatCode="0.0%">
                  <c:v>0.29218053727234755</c:v>
                </c:pt>
                <c:pt idx="647" formatCode="0.0%">
                  <c:v>0.28976932922301107</c:v>
                </c:pt>
                <c:pt idx="648" formatCode="0.0%">
                  <c:v>0.2824163777458874</c:v>
                </c:pt>
                <c:pt idx="649" formatCode="0.0%">
                  <c:v>0.28254713677504245</c:v>
                </c:pt>
                <c:pt idx="650" formatCode="0.0%">
                  <c:v>0.28781510130166643</c:v>
                </c:pt>
                <c:pt idx="651" formatCode="0.0%">
                  <c:v>0.27613114784033432</c:v>
                </c:pt>
                <c:pt idx="652" formatCode="0.0%">
                  <c:v>0.30681470541454009</c:v>
                </c:pt>
                <c:pt idx="653" formatCode="0.0%">
                  <c:v>0.27125209094581287</c:v>
                </c:pt>
                <c:pt idx="654" formatCode="0.0%">
                  <c:v>0.28378334075458261</c:v>
                </c:pt>
                <c:pt idx="655" formatCode="0.0%">
                  <c:v>0.28764387454082702</c:v>
                </c:pt>
                <c:pt idx="656" formatCode="0.0%">
                  <c:v>0.28651880994923923</c:v>
                </c:pt>
                <c:pt idx="657" formatCode="0.0%">
                  <c:v>0.30286802008958302</c:v>
                </c:pt>
                <c:pt idx="658" formatCode="0.0%">
                  <c:v>0.27189092239725876</c:v>
                </c:pt>
                <c:pt idx="659" formatCode="0.0%">
                  <c:v>0.26574878710288846</c:v>
                </c:pt>
                <c:pt idx="660" formatCode="0.0%">
                  <c:v>0.25925781759006539</c:v>
                </c:pt>
                <c:pt idx="661" formatCode="0.0%">
                  <c:v>0.25781553626173159</c:v>
                </c:pt>
                <c:pt idx="662" formatCode="0.0%">
                  <c:v>0.25850304727647649</c:v>
                </c:pt>
                <c:pt idx="663" formatCode="0.0%">
                  <c:v>0.25127764033419037</c:v>
                </c:pt>
                <c:pt idx="664" formatCode="0.0%">
                  <c:v>0.25755471992498569</c:v>
                </c:pt>
                <c:pt idx="665" formatCode="0.0%">
                  <c:v>0.24147140387723878</c:v>
                </c:pt>
                <c:pt idx="666" formatCode="0.0%">
                  <c:v>0.2404287178208524</c:v>
                </c:pt>
                <c:pt idx="667" formatCode="0.0%">
                  <c:v>0.24312895766509904</c:v>
                </c:pt>
                <c:pt idx="668" formatCode="0.0%">
                  <c:v>0.2329766017833815</c:v>
                </c:pt>
                <c:pt idx="669" formatCode="0.0%">
                  <c:v>0.23541517767624737</c:v>
                </c:pt>
                <c:pt idx="670" formatCode="0.0%">
                  <c:v>0.22992895208693939</c:v>
                </c:pt>
                <c:pt idx="671" formatCode="0.0%">
                  <c:v>0.23534928198824884</c:v>
                </c:pt>
                <c:pt idx="672" formatCode="0.0%">
                  <c:v>0.18904156450297471</c:v>
                </c:pt>
                <c:pt idx="673" formatCode="0.0%">
                  <c:v>0.18895844254615135</c:v>
                </c:pt>
                <c:pt idx="674" formatCode="0.0%">
                  <c:v>0.1546792761388151</c:v>
                </c:pt>
                <c:pt idx="675" formatCode="0.0%">
                  <c:v>0.15589848727725242</c:v>
                </c:pt>
                <c:pt idx="676" formatCode="0.0%">
                  <c:v>0.16328682838954944</c:v>
                </c:pt>
                <c:pt idx="677" formatCode="0.0%">
                  <c:v>0.15025430581447641</c:v>
                </c:pt>
                <c:pt idx="678" formatCode="0.0%">
                  <c:v>0.14650541929917807</c:v>
                </c:pt>
                <c:pt idx="679" formatCode="0.0%">
                  <c:v>0.14356713248101188</c:v>
                </c:pt>
                <c:pt idx="680" formatCode="0.0%">
                  <c:v>0.14897284097959354</c:v>
                </c:pt>
                <c:pt idx="681" formatCode="0.0%">
                  <c:v>0.15904480475172086</c:v>
                </c:pt>
                <c:pt idx="682" formatCode="0.0%">
                  <c:v>0.17962315653721231</c:v>
                </c:pt>
                <c:pt idx="683" formatCode="0.0%">
                  <c:v>0.18642401144585052</c:v>
                </c:pt>
                <c:pt idx="684" formatCode="0.0%">
                  <c:v>0.18551897975713619</c:v>
                </c:pt>
                <c:pt idx="685" formatCode="0.0%">
                  <c:v>0.1910716006728741</c:v>
                </c:pt>
                <c:pt idx="686" formatCode="0.0%">
                  <c:v>0.19522669870199774</c:v>
                </c:pt>
                <c:pt idx="687" formatCode="0.0%">
                  <c:v>0.20613773594214954</c:v>
                </c:pt>
                <c:pt idx="688" formatCode="0.0%">
                  <c:v>0.20647883525118335</c:v>
                </c:pt>
                <c:pt idx="689" formatCode="0.0%">
                  <c:v>0.27326916070173779</c:v>
                </c:pt>
                <c:pt idx="690" formatCode="0.0%">
                  <c:v>0.2746420937073748</c:v>
                </c:pt>
                <c:pt idx="691" formatCode="0.0%">
                  <c:v>0.27225360403670718</c:v>
                </c:pt>
                <c:pt idx="692" formatCode="0.0%">
                  <c:v>0.29441019038786037</c:v>
                </c:pt>
                <c:pt idx="693" formatCode="0.0%">
                  <c:v>0.29171425230692044</c:v>
                </c:pt>
                <c:pt idx="694" formatCode="0.0%">
                  <c:v>0.28828426596040324</c:v>
                </c:pt>
                <c:pt idx="695" formatCode="0.0%">
                  <c:v>0.30942492472843064</c:v>
                </c:pt>
                <c:pt idx="696" formatCode="0.0%">
                  <c:v>0.33333069788229186</c:v>
                </c:pt>
                <c:pt idx="697" formatCode="0.0%">
                  <c:v>0.33274251923720505</c:v>
                </c:pt>
                <c:pt idx="698" formatCode="0.0%">
                  <c:v>0.34239998928895393</c:v>
                </c:pt>
                <c:pt idx="699" formatCode="0.0%">
                  <c:v>0.3416013109536194</c:v>
                </c:pt>
                <c:pt idx="700" formatCode="0.0%">
                  <c:v>0.36045161814049875</c:v>
                </c:pt>
                <c:pt idx="701" formatCode="0.0%">
                  <c:v>0.37831458617113184</c:v>
                </c:pt>
                <c:pt idx="702" formatCode="0.0%">
                  <c:v>0.38171890082932614</c:v>
                </c:pt>
                <c:pt idx="703" formatCode="0.0%">
                  <c:v>0.37301689337327898</c:v>
                </c:pt>
                <c:pt idx="704" formatCode="0.0%">
                  <c:v>0.38120293593442656</c:v>
                </c:pt>
                <c:pt idx="705" formatCode="0.0%">
                  <c:v>0.40697571724180548</c:v>
                </c:pt>
                <c:pt idx="706" formatCode="0.0%">
                  <c:v>0.40602480909366118</c:v>
                </c:pt>
                <c:pt idx="707" formatCode="0.0%">
                  <c:v>0.39575172612977688</c:v>
                </c:pt>
                <c:pt idx="708" formatCode="0.0%">
                  <c:v>0.39711261538019604</c:v>
                </c:pt>
                <c:pt idx="709" formatCode="0.0%">
                  <c:v>0.35777419475587025</c:v>
                </c:pt>
                <c:pt idx="710" formatCode="0.0%">
                  <c:v>0.36257198438211879</c:v>
                </c:pt>
                <c:pt idx="711" formatCode="0.0%">
                  <c:v>0.36172531818792297</c:v>
                </c:pt>
                <c:pt idx="712" formatCode="0.0%">
                  <c:v>0.34762845931152114</c:v>
                </c:pt>
                <c:pt idx="713" formatCode="0.0%">
                  <c:v>0.34795649187239736</c:v>
                </c:pt>
                <c:pt idx="714" formatCode="0.0%">
                  <c:v>0.36205292526331601</c:v>
                </c:pt>
                <c:pt idx="715" formatCode="0.0%">
                  <c:v>0.3555047508723635</c:v>
                </c:pt>
                <c:pt idx="716" formatCode="0.0%">
                  <c:v>0.34672362706567317</c:v>
                </c:pt>
                <c:pt idx="717" formatCode="0.0%">
                  <c:v>0.3608857680386045</c:v>
                </c:pt>
                <c:pt idx="718" formatCode="0.0%">
                  <c:v>0.36991469056011406</c:v>
                </c:pt>
                <c:pt idx="719" formatCode="0.0%">
                  <c:v>0.37628333963856248</c:v>
                </c:pt>
                <c:pt idx="720" formatCode="0.0%">
                  <c:v>0.35813412562608848</c:v>
                </c:pt>
                <c:pt idx="721" formatCode="0.0%">
                  <c:v>0.34876824998350264</c:v>
                </c:pt>
                <c:pt idx="722" formatCode="0.0%">
                  <c:v>0.34245220715634667</c:v>
                </c:pt>
                <c:pt idx="723" formatCode="0.0%">
                  <c:v>0.34126727208116819</c:v>
                </c:pt>
                <c:pt idx="724" formatCode="0.0%">
                  <c:v>0.34190457793563256</c:v>
                </c:pt>
                <c:pt idx="725" formatCode="0.0%">
                  <c:v>0.31808675420632548</c:v>
                </c:pt>
                <c:pt idx="726" formatCode="0.0%">
                  <c:v>0.31951246276906892</c:v>
                </c:pt>
                <c:pt idx="727" formatCode="0.0%">
                  <c:v>0.32089424933112987</c:v>
                </c:pt>
                <c:pt idx="728" formatCode="0.0%">
                  <c:v>0.31909292956474922</c:v>
                </c:pt>
                <c:pt idx="729" formatCode="0.0%">
                  <c:v>0.33300562918559579</c:v>
                </c:pt>
                <c:pt idx="730" formatCode="0.0%">
                  <c:v>0.32484321971875424</c:v>
                </c:pt>
                <c:pt idx="731" formatCode="0.0%">
                  <c:v>0.32760937203772345</c:v>
                </c:pt>
                <c:pt idx="732" formatCode="0.0%">
                  <c:v>0.31406093112531569</c:v>
                </c:pt>
                <c:pt idx="733" formatCode="0.0%">
                  <c:v>0.31396802373315669</c:v>
                </c:pt>
                <c:pt idx="734" formatCode="0.0%">
                  <c:v>0.30631208752518141</c:v>
                </c:pt>
                <c:pt idx="735" formatCode="0.0%">
                  <c:v>0.2780434468960627</c:v>
                </c:pt>
                <c:pt idx="736" formatCode="0.0%">
                  <c:v>0.27881003130534104</c:v>
                </c:pt>
                <c:pt idx="737" formatCode="0.0%">
                  <c:v>0.2687132142240965</c:v>
                </c:pt>
                <c:pt idx="738" formatCode="0.0%">
                  <c:v>0.24871040905486327</c:v>
                </c:pt>
                <c:pt idx="739" formatCode="0.0%">
                  <c:v>0.25266149021417633</c:v>
                </c:pt>
                <c:pt idx="740" formatCode="0.0%">
                  <c:v>0.26381251601920763</c:v>
                </c:pt>
                <c:pt idx="741" formatCode="0.0%">
                  <c:v>0.31712941218260188</c:v>
                </c:pt>
                <c:pt idx="742" formatCode="0.0%">
                  <c:v>0.30604077016658465</c:v>
                </c:pt>
                <c:pt idx="743" formatCode="0.0%">
                  <c:v>0.3117117014693141</c:v>
                </c:pt>
                <c:pt idx="744" formatCode="0.0%">
                  <c:v>0.31833059086549659</c:v>
                </c:pt>
                <c:pt idx="745" formatCode="0.0%">
                  <c:v>0.3213713375937477</c:v>
                </c:pt>
                <c:pt idx="746" formatCode="0.0%">
                  <c:v>0.3281842977602405</c:v>
                </c:pt>
                <c:pt idx="747" formatCode="0.0%">
                  <c:v>0.3312479473054008</c:v>
                </c:pt>
                <c:pt idx="748" formatCode="0.0%">
                  <c:v>0.33002948882583738</c:v>
                </c:pt>
                <c:pt idx="749" formatCode="0.0%">
                  <c:v>0.32707479690773689</c:v>
                </c:pt>
                <c:pt idx="750" formatCode="0.0%">
                  <c:v>0.3339625612877174</c:v>
                </c:pt>
                <c:pt idx="751" formatCode="0.0%">
                  <c:v>0.3560470784464842</c:v>
                </c:pt>
                <c:pt idx="752" formatCode="0.0%">
                  <c:v>0.35377385023075397</c:v>
                </c:pt>
                <c:pt idx="753" formatCode="0.0%">
                  <c:v>0.35721025570840964</c:v>
                </c:pt>
                <c:pt idx="754" formatCode="0.0%">
                  <c:v>0.34230647603550313</c:v>
                </c:pt>
                <c:pt idx="755" formatCode="0.0%">
                  <c:v>0.34357146027685043</c:v>
                </c:pt>
                <c:pt idx="756" formatCode="0.0%">
                  <c:v>0.34044382704323117</c:v>
                </c:pt>
                <c:pt idx="757" formatCode="0.0%">
                  <c:v>0.34202090511882149</c:v>
                </c:pt>
                <c:pt idx="758" formatCode="0.0%">
                  <c:v>0.34381279790288605</c:v>
                </c:pt>
                <c:pt idx="759" formatCode="0.0%">
                  <c:v>0.32255442715335975</c:v>
                </c:pt>
                <c:pt idx="760" formatCode="0.0%">
                  <c:v>0.30858223355581432</c:v>
                </c:pt>
                <c:pt idx="761" formatCode="0.0%">
                  <c:v>0.26868329787058709</c:v>
                </c:pt>
                <c:pt idx="762" formatCode="0.0%">
                  <c:v>0.27226297852339071</c:v>
                </c:pt>
                <c:pt idx="763" formatCode="0.0%">
                  <c:v>0.27893490148269334</c:v>
                </c:pt>
                <c:pt idx="764" formatCode="0.0%">
                  <c:v>0.2467189211222805</c:v>
                </c:pt>
                <c:pt idx="765" formatCode="0.0%">
                  <c:v>0.25254143293461323</c:v>
                </c:pt>
                <c:pt idx="766" formatCode="0.0%">
                  <c:v>0.25838948285794461</c:v>
                </c:pt>
                <c:pt idx="767" formatCode="0.0%">
                  <c:v>0.24251588743117336</c:v>
                </c:pt>
                <c:pt idx="768" formatCode="0.0%">
                  <c:v>0.23996183918621461</c:v>
                </c:pt>
                <c:pt idx="769" formatCode="0.0%">
                  <c:v>0.24445756630502141</c:v>
                </c:pt>
                <c:pt idx="770" formatCode="0.0%">
                  <c:v>0.23895951323920178</c:v>
                </c:pt>
                <c:pt idx="771" formatCode="0.0%">
                  <c:v>0.21089671644146618</c:v>
                </c:pt>
                <c:pt idx="772" formatCode="0.0%">
                  <c:v>0.21059278897609873</c:v>
                </c:pt>
                <c:pt idx="773" formatCode="0.0%">
                  <c:v>0.20667301256987294</c:v>
                </c:pt>
                <c:pt idx="774" formatCode="0.0%">
                  <c:v>0.20717702961924325</c:v>
                </c:pt>
                <c:pt idx="775" formatCode="0.0%">
                  <c:v>0.20658622876311153</c:v>
                </c:pt>
                <c:pt idx="776" formatCode="0.0%">
                  <c:v>0.20347112797014816</c:v>
                </c:pt>
                <c:pt idx="777" formatCode="0.0%">
                  <c:v>0.24193194492123515</c:v>
                </c:pt>
                <c:pt idx="778" formatCode="0.0%">
                  <c:v>0.23847193754792478</c:v>
                </c:pt>
                <c:pt idx="779" formatCode="0.0%">
                  <c:v>0.23724778371395755</c:v>
                </c:pt>
                <c:pt idx="780" formatCode="0.0%">
                  <c:v>0.21686072575162976</c:v>
                </c:pt>
                <c:pt idx="781" formatCode="0.0%">
                  <c:v>0.21586035272268711</c:v>
                </c:pt>
                <c:pt idx="782" formatCode="0.0%">
                  <c:v>0.22137695670796737</c:v>
                </c:pt>
                <c:pt idx="783" formatCode="0.0%">
                  <c:v>0.21421944098934911</c:v>
                </c:pt>
                <c:pt idx="784" formatCode="0.0%">
                  <c:v>0.2158591370859381</c:v>
                </c:pt>
                <c:pt idx="785" formatCode="0.0%">
                  <c:v>0.21415343100701112</c:v>
                </c:pt>
                <c:pt idx="786" formatCode="0.0%">
                  <c:v>0.21882973106786999</c:v>
                </c:pt>
                <c:pt idx="787" formatCode="0.0%">
                  <c:v>0.22527798808318683</c:v>
                </c:pt>
                <c:pt idx="788" formatCode="0.0%">
                  <c:v>0.22350376751402945</c:v>
                </c:pt>
                <c:pt idx="789" formatCode="0.0%">
                  <c:v>0.21110062832055118</c:v>
                </c:pt>
                <c:pt idx="790" formatCode="0.0%">
                  <c:v>0.24358302085192857</c:v>
                </c:pt>
                <c:pt idx="791" formatCode="0.0%">
                  <c:v>0.24408791502772895</c:v>
                </c:pt>
                <c:pt idx="792" formatCode="0.0%">
                  <c:v>0.24773578566575569</c:v>
                </c:pt>
                <c:pt idx="793" formatCode="0.0%">
                  <c:v>0.2545381037440872</c:v>
                </c:pt>
                <c:pt idx="794" formatCode="0.0%">
                  <c:v>0.26993243154408519</c:v>
                </c:pt>
                <c:pt idx="795" formatCode="0.0%">
                  <c:v>0.27829163610417695</c:v>
                </c:pt>
                <c:pt idx="796" formatCode="0.0%">
                  <c:v>0.27930393900356681</c:v>
                </c:pt>
                <c:pt idx="797" formatCode="0.0%">
                  <c:v>0.24692558562639899</c:v>
                </c:pt>
                <c:pt idx="798" formatCode="0.0%">
                  <c:v>0.24274674221066692</c:v>
                </c:pt>
                <c:pt idx="799" formatCode="0.0%">
                  <c:v>0.24322141498898514</c:v>
                </c:pt>
                <c:pt idx="800" formatCode="0.0%">
                  <c:v>0.25823111224386253</c:v>
                </c:pt>
                <c:pt idx="801" formatCode="0.0%">
                  <c:v>0.26020565534936307</c:v>
                </c:pt>
                <c:pt idx="802" formatCode="0.0%">
                  <c:v>0.25502778877438559</c:v>
                </c:pt>
                <c:pt idx="803" formatCode="0.0%">
                  <c:v>0.25599301132611435</c:v>
                </c:pt>
                <c:pt idx="804" formatCode="0.0%">
                  <c:v>0.25270998712164711</c:v>
                </c:pt>
                <c:pt idx="805" formatCode="0.0%">
                  <c:v>0.25504141019640358</c:v>
                </c:pt>
                <c:pt idx="806" formatCode="0.0%">
                  <c:v>0.23824397909108661</c:v>
                </c:pt>
                <c:pt idx="807" formatCode="0.0%">
                  <c:v>0.23590111213067844</c:v>
                </c:pt>
                <c:pt idx="808" formatCode="0.0%">
                  <c:v>0.23605785493444373</c:v>
                </c:pt>
                <c:pt idx="809" formatCode="0.0%">
                  <c:v>0.24311206727150406</c:v>
                </c:pt>
                <c:pt idx="810" formatCode="0.0%">
                  <c:v>0.24886153780387282</c:v>
                </c:pt>
                <c:pt idx="811" formatCode="0.0%">
                  <c:v>0.24929561955882767</c:v>
                </c:pt>
                <c:pt idx="812" formatCode="0.0%">
                  <c:v>0.24970514056225471</c:v>
                </c:pt>
                <c:pt idx="813" formatCode="0.0%">
                  <c:v>0.23526393740353202</c:v>
                </c:pt>
                <c:pt idx="814" formatCode="0.0%">
                  <c:v>0.22690921652193585</c:v>
                </c:pt>
                <c:pt idx="815" formatCode="0.0%">
                  <c:v>0.20510878166060723</c:v>
                </c:pt>
                <c:pt idx="816" formatCode="0.0%">
                  <c:v>0.21456512895251642</c:v>
                </c:pt>
                <c:pt idx="817" formatCode="0.0%">
                  <c:v>0.21274307434061573</c:v>
                </c:pt>
                <c:pt idx="818" formatCode="0.0%">
                  <c:v>0.21342776639915001</c:v>
                </c:pt>
                <c:pt idx="819" formatCode="0.0%">
                  <c:v>0.22304397228803949</c:v>
                </c:pt>
                <c:pt idx="820" formatCode="0.0%">
                  <c:v>0.20094484735655721</c:v>
                </c:pt>
                <c:pt idx="821" formatCode="0.0%">
                  <c:v>0.20802145449422058</c:v>
                </c:pt>
                <c:pt idx="822" formatCode="0.0%">
                  <c:v>0.19963770147655813</c:v>
                </c:pt>
                <c:pt idx="823" formatCode="0.0%">
                  <c:v>0.19272905044395225</c:v>
                </c:pt>
                <c:pt idx="824" formatCode="0.0%">
                  <c:v>0.20458261512427908</c:v>
                </c:pt>
                <c:pt idx="825" formatCode="0.0%">
                  <c:v>0.21418225457872073</c:v>
                </c:pt>
                <c:pt idx="826" formatCode="0.0%">
                  <c:v>0.21362107693023186</c:v>
                </c:pt>
                <c:pt idx="827" formatCode="0.0%">
                  <c:v>0.21818691839391466</c:v>
                </c:pt>
                <c:pt idx="828" formatCode="0.0%">
                  <c:v>0.2185244454353206</c:v>
                </c:pt>
                <c:pt idx="829" formatCode="0.0%">
                  <c:v>0.23734762166638124</c:v>
                </c:pt>
                <c:pt idx="830" formatCode="0.0%">
                  <c:v>0.21851084542014187</c:v>
                </c:pt>
                <c:pt idx="831" formatCode="0.0%">
                  <c:v>0.22190585625100048</c:v>
                </c:pt>
                <c:pt idx="832" formatCode="0.0%">
                  <c:v>0.29828208573579496</c:v>
                </c:pt>
                <c:pt idx="833" formatCode="0.0%">
                  <c:v>0.31125191407919856</c:v>
                </c:pt>
                <c:pt idx="834" formatCode="0.0%">
                  <c:v>0.33201811535075904</c:v>
                </c:pt>
                <c:pt idx="835" formatCode="0.0%">
                  <c:v>0.33065460593089002</c:v>
                </c:pt>
                <c:pt idx="836" formatCode="0.0%">
                  <c:v>0.32586059406781059</c:v>
                </c:pt>
                <c:pt idx="837" formatCode="0.0%">
                  <c:v>0.32585810144734012</c:v>
                </c:pt>
                <c:pt idx="838" formatCode="0.0%">
                  <c:v>0.35057011606667765</c:v>
                </c:pt>
                <c:pt idx="839" formatCode="0.0%">
                  <c:v>0.34609577273783021</c:v>
                </c:pt>
                <c:pt idx="840" formatCode="0.0%">
                  <c:v>0.34541339922879249</c:v>
                </c:pt>
                <c:pt idx="841" formatCode="0.0%">
                  <c:v>0.34051076570449029</c:v>
                </c:pt>
                <c:pt idx="842" formatCode="0.0%">
                  <c:v>0.34555588105361035</c:v>
                </c:pt>
                <c:pt idx="843" formatCode="0.0%">
                  <c:v>0.34527860131277516</c:v>
                </c:pt>
                <c:pt idx="844" formatCode="0.0%">
                  <c:v>0.36289898971891915</c:v>
                </c:pt>
                <c:pt idx="845" formatCode="0.0%">
                  <c:v>0.35598870988169901</c:v>
                </c:pt>
                <c:pt idx="846" formatCode="0.0%">
                  <c:v>0.35157237139676306</c:v>
                </c:pt>
                <c:pt idx="847" formatCode="0.0%">
                  <c:v>0.35413438615739518</c:v>
                </c:pt>
                <c:pt idx="848" formatCode="0.0%">
                  <c:v>0.35500916180622116</c:v>
                </c:pt>
                <c:pt idx="849" formatCode="0.0%">
                  <c:v>0.36013376924072488</c:v>
                </c:pt>
                <c:pt idx="850" formatCode="0.0%">
                  <c:v>0.36063296680303975</c:v>
                </c:pt>
                <c:pt idx="851" formatCode="0.0%">
                  <c:v>0.3565593541547038</c:v>
                </c:pt>
                <c:pt idx="852" formatCode="0.0%">
                  <c:v>0.29909709248097061</c:v>
                </c:pt>
                <c:pt idx="853" formatCode="0.0%">
                  <c:v>0.29240752385441521</c:v>
                </c:pt>
                <c:pt idx="854" formatCode="0.0%">
                  <c:v>0.3019089789183072</c:v>
                </c:pt>
                <c:pt idx="855" formatCode="0.0%">
                  <c:v>0.30270863231285661</c:v>
                </c:pt>
                <c:pt idx="856" formatCode="0.0%">
                  <c:v>0.42030616000807086</c:v>
                </c:pt>
                <c:pt idx="857" formatCode="0.0%">
                  <c:v>0.44253526494536027</c:v>
                </c:pt>
                <c:pt idx="858" formatCode="0.0%">
                  <c:v>0.42045305361094015</c:v>
                </c:pt>
                <c:pt idx="859" formatCode="0.0%">
                  <c:v>0.42413068045040542</c:v>
                </c:pt>
                <c:pt idx="860" formatCode="0.0%">
                  <c:v>0.42559756463407522</c:v>
                </c:pt>
                <c:pt idx="861" formatCode="0.0%">
                  <c:v>0.44109166887412332</c:v>
                </c:pt>
                <c:pt idx="862" formatCode="0.0%">
                  <c:v>0.4365483957114023</c:v>
                </c:pt>
                <c:pt idx="863" formatCode="0.0%">
                  <c:v>0.43454449030629266</c:v>
                </c:pt>
                <c:pt idx="864" formatCode="0.0%">
                  <c:v>0.40913904384116467</c:v>
                </c:pt>
                <c:pt idx="865" formatCode="0.0%">
                  <c:v>0.40927438699384128</c:v>
                </c:pt>
                <c:pt idx="866" formatCode="0.0%">
                  <c:v>0.41057521278844022</c:v>
                </c:pt>
                <c:pt idx="867" formatCode="0.0%">
                  <c:v>0.4126680683941214</c:v>
                </c:pt>
                <c:pt idx="868" formatCode="0.0%">
                  <c:v>0.41210489325698391</c:v>
                </c:pt>
                <c:pt idx="869" formatCode="0.0%">
                  <c:v>0.52782906414359365</c:v>
                </c:pt>
                <c:pt idx="870" formatCode="0.0%">
                  <c:v>0.53164092099185201</c:v>
                </c:pt>
                <c:pt idx="871" formatCode="0.0%">
                  <c:v>0.54909890973224396</c:v>
                </c:pt>
                <c:pt idx="872" formatCode="0.0%">
                  <c:v>0.55101869144993065</c:v>
                </c:pt>
                <c:pt idx="873" formatCode="0.0%">
                  <c:v>0.54410668161645659</c:v>
                </c:pt>
                <c:pt idx="874" formatCode="0.0%">
                  <c:v>0.51064680333428059</c:v>
                </c:pt>
                <c:pt idx="875" formatCode="0.0%">
                  <c:v>0.51141999896500734</c:v>
                </c:pt>
                <c:pt idx="876" formatCode="0.0%">
                  <c:v>0.45541699792864293</c:v>
                </c:pt>
                <c:pt idx="877" formatCode="0.0%">
                  <c:v>0.44834791841341243</c:v>
                </c:pt>
                <c:pt idx="878" formatCode="0.0%">
                  <c:v>0.44771597725717915</c:v>
                </c:pt>
                <c:pt idx="879" formatCode="0.0%">
                  <c:v>0.4512037273964597</c:v>
                </c:pt>
                <c:pt idx="880" formatCode="0.0%">
                  <c:v>0.47338344152848127</c:v>
                </c:pt>
                <c:pt idx="881" formatCode="0.0%">
                  <c:v>0.46809094201024765</c:v>
                </c:pt>
                <c:pt idx="882" formatCode="0.0%">
                  <c:v>0.4685615074612971</c:v>
                </c:pt>
                <c:pt idx="883" formatCode="0.0%">
                  <c:v>0.46917036497359582</c:v>
                </c:pt>
                <c:pt idx="884" formatCode="0.0%">
                  <c:v>0.48022480027172099</c:v>
                </c:pt>
                <c:pt idx="885" formatCode="0.0%">
                  <c:v>0.48212234033102142</c:v>
                </c:pt>
                <c:pt idx="886" formatCode="0.0%">
                  <c:v>0.48672290173996013</c:v>
                </c:pt>
                <c:pt idx="887" formatCode="0.0%">
                  <c:v>0.48797531986309806</c:v>
                </c:pt>
                <c:pt idx="888" formatCode="0.0%">
                  <c:v>0.48769068515205571</c:v>
                </c:pt>
                <c:pt idx="889" formatCode="0.0%">
                  <c:v>0.3337654152503966</c:v>
                </c:pt>
                <c:pt idx="890" formatCode="0.0%">
                  <c:v>0.33229103118154873</c:v>
                </c:pt>
                <c:pt idx="891" formatCode="0.0%">
                  <c:v>0.29611154430095743</c:v>
                </c:pt>
                <c:pt idx="892" formatCode="0.0%">
                  <c:v>0.29589343762666537</c:v>
                </c:pt>
                <c:pt idx="893" formatCode="0.0%">
                  <c:v>0.28661511033042525</c:v>
                </c:pt>
                <c:pt idx="894" formatCode="0.0%">
                  <c:v>0.28440860262854489</c:v>
                </c:pt>
                <c:pt idx="895" formatCode="0.0%">
                  <c:v>0.28384445029196059</c:v>
                </c:pt>
                <c:pt idx="896" formatCode="0.0%">
                  <c:v>0.29325490506930446</c:v>
                </c:pt>
                <c:pt idx="897" formatCode="0.0%">
                  <c:v>0.29451303447275917</c:v>
                </c:pt>
                <c:pt idx="898" formatCode="0.0%">
                  <c:v>0.27910497989822702</c:v>
                </c:pt>
                <c:pt idx="899" formatCode="0.0%">
                  <c:v>0.28686027535385128</c:v>
                </c:pt>
                <c:pt idx="900" formatCode="0.0%">
                  <c:v>0.25418132421551809</c:v>
                </c:pt>
                <c:pt idx="901" formatCode="0.0%">
                  <c:v>0.25661493229198573</c:v>
                </c:pt>
                <c:pt idx="902" formatCode="0.0%">
                  <c:v>0.253642450449101</c:v>
                </c:pt>
                <c:pt idx="903" formatCode="0.0%">
                  <c:v>0.25077257214473631</c:v>
                </c:pt>
                <c:pt idx="904" formatCode="0.0%">
                  <c:v>0.23415089087538005</c:v>
                </c:pt>
                <c:pt idx="905" formatCode="0.0%">
                  <c:v>0.26197489130109614</c:v>
                </c:pt>
                <c:pt idx="906" formatCode="0.0%">
                  <c:v>0.25575009106366847</c:v>
                </c:pt>
                <c:pt idx="907" formatCode="0.0%">
                  <c:v>0.2466187722515345</c:v>
                </c:pt>
                <c:pt idx="908" formatCode="0.0%">
                  <c:v>0.25413139141218311</c:v>
                </c:pt>
                <c:pt idx="909" formatCode="0.0%">
                  <c:v>0.25596874584315649</c:v>
                </c:pt>
                <c:pt idx="910" formatCode="0.0%">
                  <c:v>0.25250778852066691</c:v>
                </c:pt>
                <c:pt idx="911" formatCode="0.0%">
                  <c:v>0.23943355755911228</c:v>
                </c:pt>
                <c:pt idx="912" formatCode="0.0%">
                  <c:v>0.23960951602317226</c:v>
                </c:pt>
                <c:pt idx="913" formatCode="0.0%">
                  <c:v>0.23981581560207466</c:v>
                </c:pt>
                <c:pt idx="914" formatCode="0.0%">
                  <c:v>0.24058690518287992</c:v>
                </c:pt>
                <c:pt idx="915" formatCode="0.0%">
                  <c:v>0.23673011821469989</c:v>
                </c:pt>
                <c:pt idx="916" formatCode="0.0%">
                  <c:v>0.21725737622517208</c:v>
                </c:pt>
                <c:pt idx="917" formatCode="0.0%">
                  <c:v>0.21795716768871634</c:v>
                </c:pt>
                <c:pt idx="918" formatCode="0.0%">
                  <c:v>0.21972539719934095</c:v>
                </c:pt>
                <c:pt idx="919" formatCode="0.0%">
                  <c:v>0.21651318822080423</c:v>
                </c:pt>
                <c:pt idx="920" formatCode="0.0%">
                  <c:v>0.21578462228704309</c:v>
                </c:pt>
                <c:pt idx="921" formatCode="0.0%">
                  <c:v>0.22020089500306367</c:v>
                </c:pt>
                <c:pt idx="922" formatCode="0.0%">
                  <c:v>0.23398935709758273</c:v>
                </c:pt>
                <c:pt idx="923" formatCode="0.0%">
                  <c:v>0.23352183567841356</c:v>
                </c:pt>
                <c:pt idx="924" formatCode="0.0%">
                  <c:v>0.25800848729601128</c:v>
                </c:pt>
                <c:pt idx="925" formatCode="0.0%">
                  <c:v>0.2239262055806161</c:v>
                </c:pt>
                <c:pt idx="926" formatCode="0.0%">
                  <c:v>0.22269954747260165</c:v>
                </c:pt>
                <c:pt idx="927" formatCode="0.0%">
                  <c:v>0.213057726036464</c:v>
                </c:pt>
                <c:pt idx="928" formatCode="0.0%">
                  <c:v>0.24262272635698412</c:v>
                </c:pt>
                <c:pt idx="929" formatCode="0.0%">
                  <c:v>0.2405175903952057</c:v>
                </c:pt>
                <c:pt idx="930" formatCode="0.0%">
                  <c:v>0.23753975664151908</c:v>
                </c:pt>
                <c:pt idx="931" formatCode="0.0%">
                  <c:v>0.25361227827217941</c:v>
                </c:pt>
                <c:pt idx="932" formatCode="0.0%">
                  <c:v>0.28957112679590946</c:v>
                </c:pt>
                <c:pt idx="933" formatCode="0.0%">
                  <c:v>0.31555400670528855</c:v>
                </c:pt>
                <c:pt idx="934" formatCode="0.0%">
                  <c:v>0.31521647695660632</c:v>
                </c:pt>
                <c:pt idx="935" formatCode="0.0%">
                  <c:v>0.41615476518072647</c:v>
                </c:pt>
                <c:pt idx="936" formatCode="0.0%">
                  <c:v>0.46759910066843458</c:v>
                </c:pt>
                <c:pt idx="937" formatCode="0.0%">
                  <c:v>0.48383885678151384</c:v>
                </c:pt>
                <c:pt idx="938" formatCode="0.0%">
                  <c:v>0.48581400988867812</c:v>
                </c:pt>
                <c:pt idx="939" formatCode="0.0%">
                  <c:v>0.49566275893403605</c:v>
                </c:pt>
                <c:pt idx="940" formatCode="0.0%">
                  <c:v>0.49409786992396248</c:v>
                </c:pt>
                <c:pt idx="941" formatCode="0.0%">
                  <c:v>0.49409487763062537</c:v>
                </c:pt>
                <c:pt idx="942" formatCode="0.0%">
                  <c:v>0.50950598413618653</c:v>
                </c:pt>
                <c:pt idx="943" formatCode="0.0%">
                  <c:v>0.5791951456103589</c:v>
                </c:pt>
                <c:pt idx="944" formatCode="0.0%">
                  <c:v>0.75368661562661354</c:v>
                </c:pt>
                <c:pt idx="945" formatCode="0.0%">
                  <c:v>0.75350045199446003</c:v>
                </c:pt>
                <c:pt idx="946" formatCode="0.0%">
                  <c:v>0.82666316430579878</c:v>
                </c:pt>
                <c:pt idx="947" formatCode="0.0%">
                  <c:v>0.82502676292635579</c:v>
                </c:pt>
                <c:pt idx="948" formatCode="0.0%">
                  <c:v>0.82266771438840092</c:v>
                </c:pt>
                <c:pt idx="949" formatCode="0.0%">
                  <c:v>0.82416879342301586</c:v>
                </c:pt>
                <c:pt idx="950" formatCode="0.0%">
                  <c:v>0.829781112008252</c:v>
                </c:pt>
                <c:pt idx="951" formatCode="0.0%">
                  <c:v>0.83590726930229731</c:v>
                </c:pt>
                <c:pt idx="952" formatCode="0.0%">
                  <c:v>0.82356775710269003</c:v>
                </c:pt>
                <c:pt idx="953" formatCode="0.0%">
                  <c:v>0.82412807757769524</c:v>
                </c:pt>
                <c:pt idx="954" formatCode="0.0%">
                  <c:v>0.82364263860405396</c:v>
                </c:pt>
                <c:pt idx="955" formatCode="0.0%">
                  <c:v>0.79532158854037172</c:v>
                </c:pt>
                <c:pt idx="956" formatCode="0.0%">
                  <c:v>0.75863756630758439</c:v>
                </c:pt>
                <c:pt idx="957" formatCode="0.0%">
                  <c:v>0.75715225362363925</c:v>
                </c:pt>
                <c:pt idx="958" formatCode="0.0%">
                  <c:v>0.74807072987304501</c:v>
                </c:pt>
                <c:pt idx="959" formatCode="0.0%">
                  <c:v>0.74160485163411771</c:v>
                </c:pt>
                <c:pt idx="960" formatCode="0.0%">
                  <c:v>0.72970889224233926</c:v>
                </c:pt>
                <c:pt idx="961" formatCode="0.0%">
                  <c:v>0.7323867943946174</c:v>
                </c:pt>
                <c:pt idx="962" formatCode="0.0%">
                  <c:v>0.7308029690091048</c:v>
                </c:pt>
                <c:pt idx="963" formatCode="0.0%">
                  <c:v>0.63445240512780898</c:v>
                </c:pt>
                <c:pt idx="964" formatCode="0.0%">
                  <c:v>0.4956158074316846</c:v>
                </c:pt>
                <c:pt idx="965" formatCode="0.0%">
                  <c:v>0.49929506859974743</c:v>
                </c:pt>
                <c:pt idx="966" formatCode="0.0%">
                  <c:v>0.42784848596863667</c:v>
                </c:pt>
                <c:pt idx="967" formatCode="0.0%">
                  <c:v>0.43562919687038359</c:v>
                </c:pt>
                <c:pt idx="968" formatCode="0.0%">
                  <c:v>0.40567724337491184</c:v>
                </c:pt>
                <c:pt idx="969" formatCode="0.0%">
                  <c:v>0.39370332292447979</c:v>
                </c:pt>
                <c:pt idx="970" formatCode="0.0%">
                  <c:v>0.41270873510666795</c:v>
                </c:pt>
                <c:pt idx="971" formatCode="0.0%">
                  <c:v>0.41327392200831281</c:v>
                </c:pt>
                <c:pt idx="972" formatCode="0.0%">
                  <c:v>0.41491888337534238</c:v>
                </c:pt>
                <c:pt idx="973" formatCode="0.0%">
                  <c:v>0.40256204540304674</c:v>
                </c:pt>
                <c:pt idx="974" formatCode="0.0%">
                  <c:v>0.40205687045777433</c:v>
                </c:pt>
                <c:pt idx="975" formatCode="0.0%">
                  <c:v>0.39943460700076561</c:v>
                </c:pt>
                <c:pt idx="976" formatCode="0.0%">
                  <c:v>0.37910681830726811</c:v>
                </c:pt>
                <c:pt idx="977" formatCode="0.0%">
                  <c:v>0.38415053986429659</c:v>
                </c:pt>
                <c:pt idx="978" formatCode="0.0%">
                  <c:v>0.39510141080503491</c:v>
                </c:pt>
                <c:pt idx="979" formatCode="0.0%">
                  <c:v>0.38704642481787571</c:v>
                </c:pt>
                <c:pt idx="980" formatCode="0.0%">
                  <c:v>0.39563245338360725</c:v>
                </c:pt>
                <c:pt idx="981" formatCode="0.0%">
                  <c:v>0.37535537028736171</c:v>
                </c:pt>
                <c:pt idx="982" formatCode="0.0%">
                  <c:v>0.38746793467674551</c:v>
                </c:pt>
                <c:pt idx="983" formatCode="0.0%">
                  <c:v>0.37474787531145265</c:v>
                </c:pt>
                <c:pt idx="984" formatCode="0.0%">
                  <c:v>0.37755030817193713</c:v>
                </c:pt>
                <c:pt idx="985" formatCode="0.0%">
                  <c:v>0.37665235206088654</c:v>
                </c:pt>
                <c:pt idx="986" formatCode="0.0%">
                  <c:v>0.34281709502275248</c:v>
                </c:pt>
                <c:pt idx="987" formatCode="0.0%">
                  <c:v>0.34546826075575177</c:v>
                </c:pt>
                <c:pt idx="988" formatCode="0.0%">
                  <c:v>0.3473903576435769</c:v>
                </c:pt>
                <c:pt idx="989" formatCode="0.0%">
                  <c:v>0.35186787730727259</c:v>
                </c:pt>
                <c:pt idx="990" formatCode="0.0%">
                  <c:v>0.35534839038597316</c:v>
                </c:pt>
                <c:pt idx="991" formatCode="0.0%">
                  <c:v>0.36540119349019318</c:v>
                </c:pt>
                <c:pt idx="992" formatCode="0.0%">
                  <c:v>0.35100304276400124</c:v>
                </c:pt>
                <c:pt idx="993" formatCode="0.0%">
                  <c:v>0.34371807271860505</c:v>
                </c:pt>
                <c:pt idx="994" formatCode="0.0%">
                  <c:v>0.47808184550964439</c:v>
                </c:pt>
                <c:pt idx="995" formatCode="0.0%">
                  <c:v>0.47521081514014363</c:v>
                </c:pt>
                <c:pt idx="996" formatCode="0.0%">
                  <c:v>0.48372516542139482</c:v>
                </c:pt>
                <c:pt idx="997" formatCode="0.0%">
                  <c:v>0.48844109162621302</c:v>
                </c:pt>
                <c:pt idx="998" formatCode="0.0%">
                  <c:v>0.4814990174347949</c:v>
                </c:pt>
                <c:pt idx="999" formatCode="0.0%">
                  <c:v>0.48238223920198203</c:v>
                </c:pt>
                <c:pt idx="1000" formatCode="0.0%">
                  <c:v>0.48694552803866276</c:v>
                </c:pt>
                <c:pt idx="1001" formatCode="0.0%">
                  <c:v>0.49545282608264191</c:v>
                </c:pt>
                <c:pt idx="1002" formatCode="0.0%">
                  <c:v>0.48478724068828566</c:v>
                </c:pt>
                <c:pt idx="1003" formatCode="0.0%">
                  <c:v>0.52897861082976172</c:v>
                </c:pt>
                <c:pt idx="1004" formatCode="0.0%">
                  <c:v>0.52783180137389618</c:v>
                </c:pt>
                <c:pt idx="1005" formatCode="0.0%">
                  <c:v>0.57981917486586876</c:v>
                </c:pt>
                <c:pt idx="1006" formatCode="0.0%">
                  <c:v>0.57944814321616311</c:v>
                </c:pt>
                <c:pt idx="1007" formatCode="0.0%">
                  <c:v>0.59540422088839517</c:v>
                </c:pt>
                <c:pt idx="1008" formatCode="0.0%">
                  <c:v>0.59096513724942723</c:v>
                </c:pt>
                <c:pt idx="1009" formatCode="0.0%">
                  <c:v>0.58070678364797557</c:v>
                </c:pt>
                <c:pt idx="1010" formatCode="0.0%">
                  <c:v>0.58623764762326602</c:v>
                </c:pt>
                <c:pt idx="1011" formatCode="0.0%">
                  <c:v>0.5858232735903357</c:v>
                </c:pt>
                <c:pt idx="1012" formatCode="0.0%">
                  <c:v>0.57638642597982259</c:v>
                </c:pt>
                <c:pt idx="1013" formatCode="0.0%">
                  <c:v>0.59574875483680101</c:v>
                </c:pt>
                <c:pt idx="1014" formatCode="0.0%">
                  <c:v>0.52641382640816825</c:v>
                </c:pt>
                <c:pt idx="1015" formatCode="0.0%">
                  <c:v>0.52016146736378122</c:v>
                </c:pt>
                <c:pt idx="1016" formatCode="0.0%">
                  <c:v>0.51822387200260989</c:v>
                </c:pt>
                <c:pt idx="1017" formatCode="0.0%">
                  <c:v>0.52073484926417735</c:v>
                </c:pt>
                <c:pt idx="1018" formatCode="0.0%">
                  <c:v>0.52083119597554139</c:v>
                </c:pt>
                <c:pt idx="1019" formatCode="0.0%">
                  <c:v>0.51235480253917598</c:v>
                </c:pt>
                <c:pt idx="1020" formatCode="0.0%">
                  <c:v>0.51153977494572567</c:v>
                </c:pt>
                <c:pt idx="1021" formatCode="0.0%">
                  <c:v>0.51076268931099045</c:v>
                </c:pt>
                <c:pt idx="1022" formatCode="0.0%">
                  <c:v>0.51205423624431445</c:v>
                </c:pt>
                <c:pt idx="1023" formatCode="0.0%">
                  <c:v>0.45507366397198229</c:v>
                </c:pt>
                <c:pt idx="1024" formatCode="0.0%">
                  <c:v>0.46433788258538666</c:v>
                </c:pt>
                <c:pt idx="1025" formatCode="0.0%">
                  <c:v>0.39700510426971486</c:v>
                </c:pt>
                <c:pt idx="1026" formatCode="0.0%">
                  <c:v>0.39228159634564558</c:v>
                </c:pt>
                <c:pt idx="1027" formatCode="0.0%">
                  <c:v>0.37320147065635134</c:v>
                </c:pt>
                <c:pt idx="1028" formatCode="0.0%">
                  <c:v>0.37702471713438473</c:v>
                </c:pt>
                <c:pt idx="1029" formatCode="0.0%">
                  <c:v>0.37727600489186086</c:v>
                </c:pt>
                <c:pt idx="1030" formatCode="0.0%">
                  <c:v>0.32119778973133883</c:v>
                </c:pt>
                <c:pt idx="1031" formatCode="0.0%">
                  <c:v>0.44329811662025004</c:v>
                </c:pt>
                <c:pt idx="1032" formatCode="0.0%">
                  <c:v>0.4777305171256615</c:v>
                </c:pt>
                <c:pt idx="1033" formatCode="0.0%">
                  <c:v>0.46887708418365959</c:v>
                </c:pt>
                <c:pt idx="1034" formatCode="0.0%">
                  <c:v>0.49352493395835956</c:v>
                </c:pt>
                <c:pt idx="1035" formatCode="0.0%">
                  <c:v>0.4989302541532738</c:v>
                </c:pt>
                <c:pt idx="1036" formatCode="0.0%">
                  <c:v>0.49838117613415661</c:v>
                </c:pt>
                <c:pt idx="1037" formatCode="0.0%">
                  <c:v>0.51868127636519401</c:v>
                </c:pt>
                <c:pt idx="1038" formatCode="0.0%">
                  <c:v>0.52625515443676851</c:v>
                </c:pt>
                <c:pt idx="1039" formatCode="0.0%">
                  <c:v>0.52563052073676853</c:v>
                </c:pt>
                <c:pt idx="1040" formatCode="0.0%">
                  <c:v>0.52053471831914755</c:v>
                </c:pt>
                <c:pt idx="1041" formatCode="0.0%">
                  <c:v>0.51787692262407692</c:v>
                </c:pt>
                <c:pt idx="1042" formatCode="0.0%">
                  <c:v>0.51593954886508175</c:v>
                </c:pt>
                <c:pt idx="1043" formatCode="0.0%">
                  <c:v>0.52183050685474219</c:v>
                </c:pt>
                <c:pt idx="1044" formatCode="0.0%">
                  <c:v>0.51364789157950486</c:v>
                </c:pt>
                <c:pt idx="1045" formatCode="0.0%">
                  <c:v>0.51372585604923016</c:v>
                </c:pt>
                <c:pt idx="1046" formatCode="0.0%">
                  <c:v>0.51300364355982697</c:v>
                </c:pt>
                <c:pt idx="1047" formatCode="0.0%">
                  <c:v>0.49514389251701812</c:v>
                </c:pt>
                <c:pt idx="1048" formatCode="0.0%">
                  <c:v>0.49392923994193694</c:v>
                </c:pt>
                <c:pt idx="1049" formatCode="0.0%">
                  <c:v>0.49260667833030464</c:v>
                </c:pt>
                <c:pt idx="1050" formatCode="0.0%">
                  <c:v>0.50401490741768085</c:v>
                </c:pt>
                <c:pt idx="1051" formatCode="0.0%">
                  <c:v>0.43479523218309735</c:v>
                </c:pt>
                <c:pt idx="1052" formatCode="0.0%">
                  <c:v>0.40164550459915316</c:v>
                </c:pt>
                <c:pt idx="1053" formatCode="0.0%">
                  <c:v>0.37973818779452528</c:v>
                </c:pt>
                <c:pt idx="1054" formatCode="0.0%">
                  <c:v>0.36267182703023448</c:v>
                </c:pt>
                <c:pt idx="1055" formatCode="0.0%">
                  <c:v>0.36248207969563101</c:v>
                </c:pt>
                <c:pt idx="1056" formatCode="0.0%">
                  <c:v>0.36347402594629097</c:v>
                </c:pt>
                <c:pt idx="1057" formatCode="0.0%">
                  <c:v>0.29951019613558144</c:v>
                </c:pt>
                <c:pt idx="1058" formatCode="0.0%">
                  <c:v>0.28581157097022181</c:v>
                </c:pt>
                <c:pt idx="1059" formatCode="0.0%">
                  <c:v>0.28599874412315562</c:v>
                </c:pt>
                <c:pt idx="1060" formatCode="0.0%">
                  <c:v>0.30743877874455605</c:v>
                </c:pt>
                <c:pt idx="1061" formatCode="0.0%">
                  <c:v>0.30762675733907324</c:v>
                </c:pt>
                <c:pt idx="1062" formatCode="0.0%">
                  <c:v>0.31816927547258839</c:v>
                </c:pt>
                <c:pt idx="1063" formatCode="0.0%">
                  <c:v>0.32308900255975992</c:v>
                </c:pt>
                <c:pt idx="1064" formatCode="0.0%">
                  <c:v>0.32291358294860262</c:v>
                </c:pt>
                <c:pt idx="1065" formatCode="0.0%">
                  <c:v>0.32124175663316368</c:v>
                </c:pt>
                <c:pt idx="1066" formatCode="0.0%">
                  <c:v>0.33605593318126808</c:v>
                </c:pt>
                <c:pt idx="1067" formatCode="0.0%">
                  <c:v>0.31923457128388472</c:v>
                </c:pt>
                <c:pt idx="1068" formatCode="0.0%">
                  <c:v>0.31950325901235704</c:v>
                </c:pt>
                <c:pt idx="1069" formatCode="0.0%">
                  <c:v>0.32091580191709451</c:v>
                </c:pt>
                <c:pt idx="1070" formatCode="0.0%">
                  <c:v>0.32704497711450842</c:v>
                </c:pt>
                <c:pt idx="1071" formatCode="0.0%">
                  <c:v>0.32993169206188855</c:v>
                </c:pt>
                <c:pt idx="1072" formatCode="0.0%">
                  <c:v>0.32483043378601761</c:v>
                </c:pt>
                <c:pt idx="1073" formatCode="0.0%">
                  <c:v>0.38768413745895641</c:v>
                </c:pt>
                <c:pt idx="1074" formatCode="0.0%">
                  <c:v>0.39525113918100668</c:v>
                </c:pt>
                <c:pt idx="1075" formatCode="0.0%">
                  <c:v>0.40932460544777127</c:v>
                </c:pt>
                <c:pt idx="1076" formatCode="0.0%">
                  <c:v>0.40345116616350962</c:v>
                </c:pt>
                <c:pt idx="1077" formatCode="0.0%">
                  <c:v>0.40401628760808472</c:v>
                </c:pt>
                <c:pt idx="1078" formatCode="0.0%">
                  <c:v>0.43945991071040946</c:v>
                </c:pt>
                <c:pt idx="1079" formatCode="0.0%">
                  <c:v>0.45545135647289042</c:v>
                </c:pt>
                <c:pt idx="1080" formatCode="0.0%">
                  <c:v>0.45684895609901893</c:v>
                </c:pt>
                <c:pt idx="1081" formatCode="0.0%">
                  <c:v>0.46513413093294825</c:v>
                </c:pt>
                <c:pt idx="1082" formatCode="0.0%">
                  <c:v>0.46826878977163505</c:v>
                </c:pt>
                <c:pt idx="1083" formatCode="0.0%">
                  <c:v>0.44832347703288888</c:v>
                </c:pt>
                <c:pt idx="1084" formatCode="0.0%">
                  <c:v>0.4556506047599026</c:v>
                </c:pt>
                <c:pt idx="1085" formatCode="0.0%">
                  <c:v>0.45543074079083234</c:v>
                </c:pt>
                <c:pt idx="1086" formatCode="0.0%">
                  <c:v>0.4337814716222862</c:v>
                </c:pt>
                <c:pt idx="1087" formatCode="0.0%">
                  <c:v>0.43308626201791744</c:v>
                </c:pt>
                <c:pt idx="1088" formatCode="0.0%">
                  <c:v>0.43305155964695263</c:v>
                </c:pt>
                <c:pt idx="1089" formatCode="0.0%">
                  <c:v>0.50280903347756667</c:v>
                </c:pt>
                <c:pt idx="1090" formatCode="0.0%">
                  <c:v>0.49259644449416379</c:v>
                </c:pt>
                <c:pt idx="1091" formatCode="0.0%">
                  <c:v>0.49367718471748467</c:v>
                </c:pt>
                <c:pt idx="1092" formatCode="0.0%">
                  <c:v>0.49137536400955484</c:v>
                </c:pt>
                <c:pt idx="1093" formatCode="0.0%">
                  <c:v>0.47658395763900036</c:v>
                </c:pt>
                <c:pt idx="1094" formatCode="0.0%">
                  <c:v>0.4745856810601492</c:v>
                </c:pt>
                <c:pt idx="1095" formatCode="0.0%">
                  <c:v>0.44973473750949916</c:v>
                </c:pt>
                <c:pt idx="1096" formatCode="0.0%">
                  <c:v>0.44803253501449214</c:v>
                </c:pt>
                <c:pt idx="1097" formatCode="0.0%">
                  <c:v>0.45419169017898459</c:v>
                </c:pt>
                <c:pt idx="1098" formatCode="0.0%">
                  <c:v>0.43213792912894355</c:v>
                </c:pt>
                <c:pt idx="1099" formatCode="0.0%">
                  <c:v>0.40656964625493097</c:v>
                </c:pt>
                <c:pt idx="1100" formatCode="0.0%">
                  <c:v>0.40248685113012328</c:v>
                </c:pt>
                <c:pt idx="1101" formatCode="0.0%">
                  <c:v>0.4145733497836197</c:v>
                </c:pt>
                <c:pt idx="1102" formatCode="0.0%">
                  <c:v>0.4067869453709354</c:v>
                </c:pt>
                <c:pt idx="1103" formatCode="0.0%">
                  <c:v>0.40323787258005106</c:v>
                </c:pt>
                <c:pt idx="1104" formatCode="0.0%">
                  <c:v>0.4293292653822508</c:v>
                </c:pt>
                <c:pt idx="1105" formatCode="0.0%">
                  <c:v>0.49264523610086003</c:v>
                </c:pt>
                <c:pt idx="1106" formatCode="0.0%">
                  <c:v>0.49275643073508951</c:v>
                </c:pt>
                <c:pt idx="1107" formatCode="0.0%">
                  <c:v>0.53818678273395237</c:v>
                </c:pt>
                <c:pt idx="1108" formatCode="0.0%">
                  <c:v>0.58296485939623688</c:v>
                </c:pt>
                <c:pt idx="1109" formatCode="0.0%">
                  <c:v>0.53417356934892501</c:v>
                </c:pt>
                <c:pt idx="1110" formatCode="0.0%">
                  <c:v>0.54716022534619013</c:v>
                </c:pt>
                <c:pt idx="1111" formatCode="0.0%">
                  <c:v>0.56900864032331699</c:v>
                </c:pt>
                <c:pt idx="1112" formatCode="0.0%">
                  <c:v>0.56950609969415944</c:v>
                </c:pt>
                <c:pt idx="1113" formatCode="0.0%">
                  <c:v>0.64227521527489262</c:v>
                </c:pt>
                <c:pt idx="1114" formatCode="0.0%">
                  <c:v>0.63625015933778239</c:v>
                </c:pt>
                <c:pt idx="1115" formatCode="0.0%">
                  <c:v>0.64574378960827061</c:v>
                </c:pt>
                <c:pt idx="1116" formatCode="0.0%">
                  <c:v>0.66288488572857707</c:v>
                </c:pt>
                <c:pt idx="1117" formatCode="0.0%">
                  <c:v>0.65834018331423372</c:v>
                </c:pt>
                <c:pt idx="1118" formatCode="0.0%">
                  <c:v>0.68565307779392737</c:v>
                </c:pt>
                <c:pt idx="1119" formatCode="0.0%">
                  <c:v>0.68855504494302422</c:v>
                </c:pt>
                <c:pt idx="1120" formatCode="0.0%">
                  <c:v>0.69184489145925776</c:v>
                </c:pt>
                <c:pt idx="1121" formatCode="0.0%">
                  <c:v>0.6796587478652748</c:v>
                </c:pt>
                <c:pt idx="1122" formatCode="0.0%">
                  <c:v>0.67064990076437736</c:v>
                </c:pt>
                <c:pt idx="1123" formatCode="0.0%">
                  <c:v>0.68162614182743353</c:v>
                </c:pt>
                <c:pt idx="1124" formatCode="0.0%">
                  <c:v>0.66464145448346734</c:v>
                </c:pt>
                <c:pt idx="1125" formatCode="0.0%">
                  <c:v>0.60567583291784843</c:v>
                </c:pt>
                <c:pt idx="1126" formatCode="0.0%">
                  <c:v>0.60531820887243537</c:v>
                </c:pt>
                <c:pt idx="1127" formatCode="0.0%">
                  <c:v>0.57639369034464238</c:v>
                </c:pt>
                <c:pt idx="1128" formatCode="0.0%">
                  <c:v>0.55987074332384423</c:v>
                </c:pt>
                <c:pt idx="1129" formatCode="0.0%">
                  <c:v>0.54367009338481009</c:v>
                </c:pt>
                <c:pt idx="1130" formatCode="0.0%">
                  <c:v>0.53240738259485065</c:v>
                </c:pt>
                <c:pt idx="1131" formatCode="0.0%">
                  <c:v>0.50251577127331504</c:v>
                </c:pt>
                <c:pt idx="1132" formatCode="0.0%">
                  <c:v>0.50322034355192402</c:v>
                </c:pt>
                <c:pt idx="1133" formatCode="0.0%">
                  <c:v>0.44993862228961873</c:v>
                </c:pt>
                <c:pt idx="1134" formatCode="0.0%">
                  <c:v>0.44542574554193448</c:v>
                </c:pt>
                <c:pt idx="1135" formatCode="0.0%">
                  <c:v>0.46944331565223996</c:v>
                </c:pt>
                <c:pt idx="1136" formatCode="0.0%">
                  <c:v>0.44873514408271742</c:v>
                </c:pt>
                <c:pt idx="1137" formatCode="0.0%">
                  <c:v>0.46299681910584528</c:v>
                </c:pt>
                <c:pt idx="1138" formatCode="0.0%">
                  <c:v>0.42387239609286143</c:v>
                </c:pt>
                <c:pt idx="1139" formatCode="0.0%">
                  <c:v>0.42137861044372082</c:v>
                </c:pt>
                <c:pt idx="1140" formatCode="0.0%">
                  <c:v>0.42621146243472935</c:v>
                </c:pt>
                <c:pt idx="1141" formatCode="0.0%">
                  <c:v>0.43346426184839115</c:v>
                </c:pt>
                <c:pt idx="1142" formatCode="0.0%">
                  <c:v>0.44344360011246509</c:v>
                </c:pt>
                <c:pt idx="1143" formatCode="0.0%">
                  <c:v>0.4393502871670964</c:v>
                </c:pt>
                <c:pt idx="1144" formatCode="0.0%">
                  <c:v>0.41735531643572987</c:v>
                </c:pt>
                <c:pt idx="1145" formatCode="0.0%">
                  <c:v>0.43762158312353949</c:v>
                </c:pt>
                <c:pt idx="1146" formatCode="0.0%">
                  <c:v>0.44271582860272624</c:v>
                </c:pt>
                <c:pt idx="1147" formatCode="0.0%">
                  <c:v>0.43099580833649731</c:v>
                </c:pt>
                <c:pt idx="1148" formatCode="0.0%">
                  <c:v>0.42292632357457832</c:v>
                </c:pt>
                <c:pt idx="1149" formatCode="0.0%">
                  <c:v>0.44760732480600873</c:v>
                </c:pt>
                <c:pt idx="1150" formatCode="0.0%">
                  <c:v>0.5144937222820124</c:v>
                </c:pt>
                <c:pt idx="1151" formatCode="0.0%">
                  <c:v>0.47999098465273005</c:v>
                </c:pt>
                <c:pt idx="1152" formatCode="0.0%">
                  <c:v>0.47450315154201217</c:v>
                </c:pt>
                <c:pt idx="1153" formatCode="0.0%">
                  <c:v>0.52686375000194074</c:v>
                </c:pt>
                <c:pt idx="1154" formatCode="0.0%">
                  <c:v>0.53045771751435811</c:v>
                </c:pt>
                <c:pt idx="1155" formatCode="0.0%">
                  <c:v>0.52519639894387371</c:v>
                </c:pt>
                <c:pt idx="1156" formatCode="0.0%">
                  <c:v>0.52446619427109975</c:v>
                </c:pt>
                <c:pt idx="1157" formatCode="0.0%">
                  <c:v>0.64596113223356777</c:v>
                </c:pt>
                <c:pt idx="1158" formatCode="0.0%">
                  <c:v>0.64125977525629529</c:v>
                </c:pt>
                <c:pt idx="1159" formatCode="0.0%">
                  <c:v>0.63451923049256032</c:v>
                </c:pt>
                <c:pt idx="1160" formatCode="0.0%">
                  <c:v>0.65438891248192665</c:v>
                </c:pt>
                <c:pt idx="1161" formatCode="0.0%">
                  <c:v>0.65506756803725952</c:v>
                </c:pt>
                <c:pt idx="1162" formatCode="0.0%">
                  <c:v>0.66241002992114184</c:v>
                </c:pt>
                <c:pt idx="1163" formatCode="0.0%">
                  <c:v>0.66850958694035378</c:v>
                </c:pt>
                <c:pt idx="1164" formatCode="0.0%">
                  <c:v>0.65664141893790884</c:v>
                </c:pt>
                <c:pt idx="1165" formatCode="0.0%">
                  <c:v>0.64820013355452022</c:v>
                </c:pt>
                <c:pt idx="1166" formatCode="0.0%">
                  <c:v>0.6537272606837129</c:v>
                </c:pt>
                <c:pt idx="1167" formatCode="0.0%">
                  <c:v>0.65191312074426944</c:v>
                </c:pt>
                <c:pt idx="1168" formatCode="0.0%">
                  <c:v>0.65210833337067053</c:v>
                </c:pt>
                <c:pt idx="1169" formatCode="0.0%">
                  <c:v>0.62724196893390438</c:v>
                </c:pt>
                <c:pt idx="1170" formatCode="0.0%">
                  <c:v>0.58228910735150796</c:v>
                </c:pt>
                <c:pt idx="1171" formatCode="0.0%">
                  <c:v>0.58193337290713243</c:v>
                </c:pt>
                <c:pt idx="1172" formatCode="0.0%">
                  <c:v>0.58240609463301851</c:v>
                </c:pt>
                <c:pt idx="1173" formatCode="0.0%">
                  <c:v>0.50957424282941355</c:v>
                </c:pt>
                <c:pt idx="1174" formatCode="0.0%">
                  <c:v>0.52092641293794706</c:v>
                </c:pt>
                <c:pt idx="1175" formatCode="0.0%">
                  <c:v>0.54077312989587067</c:v>
                </c:pt>
                <c:pt idx="1176" formatCode="0.0%">
                  <c:v>0.55148054235628108</c:v>
                </c:pt>
                <c:pt idx="1177" formatCode="0.0%">
                  <c:v>0.52539971788183149</c:v>
                </c:pt>
                <c:pt idx="1178" formatCode="0.0%">
                  <c:v>0.51591953568598636</c:v>
                </c:pt>
                <c:pt idx="1179" formatCode="0.0%">
                  <c:v>0.54757614527548903</c:v>
                </c:pt>
                <c:pt idx="1180" formatCode="0.0%">
                  <c:v>0.56289394002820459</c:v>
                </c:pt>
                <c:pt idx="1181" formatCode="0.0%">
                  <c:v>0.56308883580828428</c:v>
                </c:pt>
                <c:pt idx="1182" formatCode="0.0%">
                  <c:v>0.57283241668370144</c:v>
                </c:pt>
                <c:pt idx="1183" formatCode="0.0%">
                  <c:v>0.54494737250691039</c:v>
                </c:pt>
                <c:pt idx="1184" formatCode="0.0%">
                  <c:v>0.6767268518863796</c:v>
                </c:pt>
                <c:pt idx="1185" formatCode="0.0%">
                  <c:v>0.68236999535053999</c:v>
                </c:pt>
                <c:pt idx="1186" formatCode="0.0%">
                  <c:v>0.6843177230299442</c:v>
                </c:pt>
                <c:pt idx="1187" formatCode="0.0%">
                  <c:v>0.69963365901549912</c:v>
                </c:pt>
                <c:pt idx="1188" formatCode="0.0%">
                  <c:v>0.69552802849234507</c:v>
                </c:pt>
                <c:pt idx="1189" formatCode="0.0%">
                  <c:v>0.70262695710017109</c:v>
                </c:pt>
                <c:pt idx="1190" formatCode="0.0%">
                  <c:v>0.71064916679759993</c:v>
                </c:pt>
                <c:pt idx="1191" formatCode="0.0%">
                  <c:v>0.70940526528497361</c:v>
                </c:pt>
                <c:pt idx="1192" formatCode="0.0%">
                  <c:v>0.68913407873770038</c:v>
                </c:pt>
                <c:pt idx="1193" formatCode="0.0%">
                  <c:v>0.68769718482669406</c:v>
                </c:pt>
                <c:pt idx="1194" formatCode="0.0%">
                  <c:v>0.71823689443127303</c:v>
                </c:pt>
                <c:pt idx="1195" formatCode="0.0%">
                  <c:v>0.71396059741702456</c:v>
                </c:pt>
                <c:pt idx="1196" formatCode="0.0%">
                  <c:v>0.73187565431917545</c:v>
                </c:pt>
                <c:pt idx="1197" formatCode="0.0%">
                  <c:v>0.75433212165272234</c:v>
                </c:pt>
                <c:pt idx="1198" formatCode="0.0%">
                  <c:v>0.79641950826330732</c:v>
                </c:pt>
                <c:pt idx="1199" formatCode="0.0%">
                  <c:v>0.77742560401951355</c:v>
                </c:pt>
                <c:pt idx="1200" formatCode="0.0%">
                  <c:v>0.80223857515595554</c:v>
                </c:pt>
                <c:pt idx="1201" formatCode="0.0%">
                  <c:v>0.80347387437511775</c:v>
                </c:pt>
                <c:pt idx="1202" formatCode="0.0%">
                  <c:v>0.80058732448449521</c:v>
                </c:pt>
                <c:pt idx="1203" formatCode="0.0%">
                  <c:v>0.80041472102719269</c:v>
                </c:pt>
                <c:pt idx="1204" formatCode="0.0%">
                  <c:v>0.68206808008282516</c:v>
                </c:pt>
                <c:pt idx="1205" formatCode="0.0%">
                  <c:v>0.70087070405765861</c:v>
                </c:pt>
                <c:pt idx="1206" formatCode="0.0%">
                  <c:v>0.69530392641384176</c:v>
                </c:pt>
                <c:pt idx="1207" formatCode="0.0%">
                  <c:v>0.68400049427360865</c:v>
                </c:pt>
                <c:pt idx="1208" formatCode="0.0%">
                  <c:v>0.68760787444255844</c:v>
                </c:pt>
                <c:pt idx="1209" formatCode="0.0%">
                  <c:v>0.67750576762079628</c:v>
                </c:pt>
                <c:pt idx="1210" formatCode="0.0%">
                  <c:v>0.67964339445225797</c:v>
                </c:pt>
                <c:pt idx="1211" formatCode="0.0%">
                  <c:v>0.68071554472504869</c:v>
                </c:pt>
                <c:pt idx="1212" formatCode="0.0%">
                  <c:v>0.68470109761494613</c:v>
                </c:pt>
                <c:pt idx="1213" formatCode="0.0%">
                  <c:v>0.69077848462285973</c:v>
                </c:pt>
                <c:pt idx="1214" formatCode="0.0%">
                  <c:v>0.63137636791565011</c:v>
                </c:pt>
                <c:pt idx="1215" formatCode="0.0%">
                  <c:v>0.6733230635192694</c:v>
                </c:pt>
                <c:pt idx="1216" formatCode="0.0%">
                  <c:v>0.66964314413865622</c:v>
                </c:pt>
                <c:pt idx="1217" formatCode="0.0%">
                  <c:v>0.60543643808711323</c:v>
                </c:pt>
                <c:pt idx="1218" formatCode="0.0%">
                  <c:v>0.61019436780677128</c:v>
                </c:pt>
                <c:pt idx="1219" formatCode="0.0%">
                  <c:v>0.60318974009303672</c:v>
                </c:pt>
                <c:pt idx="1220" formatCode="0.0%">
                  <c:v>0.57569975946281893</c:v>
                </c:pt>
                <c:pt idx="1221" formatCode="0.0%">
                  <c:v>0.57070911471334584</c:v>
                </c:pt>
                <c:pt idx="1222" formatCode="0.0%">
                  <c:v>0.58019469884064068</c:v>
                </c:pt>
                <c:pt idx="1223" formatCode="0.0%">
                  <c:v>0.56411587223630499</c:v>
                </c:pt>
                <c:pt idx="1224" formatCode="0.0%">
                  <c:v>0.55840973032997754</c:v>
                </c:pt>
                <c:pt idx="1225" formatCode="0.0%">
                  <c:v>0.51581315321159693</c:v>
                </c:pt>
                <c:pt idx="1226" formatCode="0.0%">
                  <c:v>0.51638212975358655</c:v>
                </c:pt>
                <c:pt idx="1227" formatCode="0.0%">
                  <c:v>0.54253103865935504</c:v>
                </c:pt>
                <c:pt idx="1228" formatCode="0.0%">
                  <c:v>0.53932472995733416</c:v>
                </c:pt>
                <c:pt idx="1229" formatCode="0.0%">
                  <c:v>0.5383727197255842</c:v>
                </c:pt>
                <c:pt idx="1230" formatCode="0.0%">
                  <c:v>0.5326114933983277</c:v>
                </c:pt>
                <c:pt idx="1231" formatCode="0.0%">
                  <c:v>0.54204362448264809</c:v>
                </c:pt>
                <c:pt idx="1232" formatCode="0.0%">
                  <c:v>0.54287704856773444</c:v>
                </c:pt>
                <c:pt idx="1233" formatCode="0.0%">
                  <c:v>0.54584459956076503</c:v>
                </c:pt>
                <c:pt idx="1234" formatCode="0.0%">
                  <c:v>0.54677499612949354</c:v>
                </c:pt>
                <c:pt idx="1235" formatCode="0.0%">
                  <c:v>0.53251566787583626</c:v>
                </c:pt>
                <c:pt idx="1236" formatCode="0.0%">
                  <c:v>0.49755129966277684</c:v>
                </c:pt>
                <c:pt idx="1237" formatCode="0.0%">
                  <c:v>0.4712422854665122</c:v>
                </c:pt>
                <c:pt idx="1238" formatCode="0.0%">
                  <c:v>0.40079555515089266</c:v>
                </c:pt>
                <c:pt idx="1239" formatCode="0.0%">
                  <c:v>0.37997873756937739</c:v>
                </c:pt>
                <c:pt idx="1240" formatCode="0.0%">
                  <c:v>0.36557691564477218</c:v>
                </c:pt>
                <c:pt idx="1241" formatCode="0.0%">
                  <c:v>0.3733857342389868</c:v>
                </c:pt>
                <c:pt idx="1242" formatCode="0.0%">
                  <c:v>0.35847992010246726</c:v>
                </c:pt>
                <c:pt idx="1243" formatCode="0.0%">
                  <c:v>0.35851287701099843</c:v>
                </c:pt>
                <c:pt idx="1244" formatCode="0.0%">
                  <c:v>0.35864827741077754</c:v>
                </c:pt>
                <c:pt idx="1245" formatCode="0.0%">
                  <c:v>0.36336233404688045</c:v>
                </c:pt>
                <c:pt idx="1246" formatCode="0.0%">
                  <c:v>0.36332273039403495</c:v>
                </c:pt>
                <c:pt idx="1247" formatCode="0.0%">
                  <c:v>0.34751283403531508</c:v>
                </c:pt>
                <c:pt idx="1248" formatCode="0.0%">
                  <c:v>0.34621444826557246</c:v>
                </c:pt>
                <c:pt idx="1249" formatCode="0.0%">
                  <c:v>0.34693216702786539</c:v>
                </c:pt>
                <c:pt idx="1250" formatCode="0.0%">
                  <c:v>0.34688572340911578</c:v>
                </c:pt>
                <c:pt idx="1251" formatCode="0.0%">
                  <c:v>0.33333269875140659</c:v>
                </c:pt>
                <c:pt idx="1252" formatCode="0.0%">
                  <c:v>0.33114104236061292</c:v>
                </c:pt>
                <c:pt idx="1253" formatCode="0.0%">
                  <c:v>0.29984794577008078</c:v>
                </c:pt>
                <c:pt idx="1254" formatCode="0.0%">
                  <c:v>0.33593173482548316</c:v>
                </c:pt>
                <c:pt idx="1255" formatCode="0.0%">
                  <c:v>0.29218218236256721</c:v>
                </c:pt>
                <c:pt idx="1256" formatCode="0.0%">
                  <c:v>0.29611563304512017</c:v>
                </c:pt>
                <c:pt idx="1257" formatCode="0.0%">
                  <c:v>0.30169264594007128</c:v>
                </c:pt>
                <c:pt idx="1258" formatCode="0.0%">
                  <c:v>0.30379974881504479</c:v>
                </c:pt>
                <c:pt idx="1259" formatCode="0.0%">
                  <c:v>0.30402021361178205</c:v>
                </c:pt>
                <c:pt idx="1260" formatCode="0.0%">
                  <c:v>0.30460733232741183</c:v>
                </c:pt>
                <c:pt idx="1261" formatCode="0.0%">
                  <c:v>0.29819765942420245</c:v>
                </c:pt>
                <c:pt idx="1262" formatCode="0.0%">
                  <c:v>0.31176380214747568</c:v>
                </c:pt>
                <c:pt idx="1263" formatCode="0.0%">
                  <c:v>0.31071950629070211</c:v>
                </c:pt>
                <c:pt idx="1264" formatCode="0.0%">
                  <c:v>0.31770626417358194</c:v>
                </c:pt>
                <c:pt idx="1265" formatCode="0.0%">
                  <c:v>0.30749727626773005</c:v>
                </c:pt>
                <c:pt idx="1266" formatCode="0.0%">
                  <c:v>0.30916924298120063</c:v>
                </c:pt>
                <c:pt idx="1267" formatCode="0.0%">
                  <c:v>0.27932006340892912</c:v>
                </c:pt>
                <c:pt idx="1268" formatCode="0.0%">
                  <c:v>0.28160663979011819</c:v>
                </c:pt>
                <c:pt idx="1269" formatCode="0.0%">
                  <c:v>0.2858430829752901</c:v>
                </c:pt>
                <c:pt idx="1270" formatCode="0.0%">
                  <c:v>0.2878272737718699</c:v>
                </c:pt>
                <c:pt idx="1271" formatCode="0.0%">
                  <c:v>0.27907802876585025</c:v>
                </c:pt>
                <c:pt idx="1272" formatCode="0.0%">
                  <c:v>0.26790785735060707</c:v>
                </c:pt>
                <c:pt idx="1273" formatCode="0.0%">
                  <c:v>0.26423444715058747</c:v>
                </c:pt>
                <c:pt idx="1274" formatCode="0.0%">
                  <c:v>0.24467349587530496</c:v>
                </c:pt>
                <c:pt idx="1275" formatCode="0.0%">
                  <c:v>0.25017456025059831</c:v>
                </c:pt>
                <c:pt idx="1276" formatCode="0.0%">
                  <c:v>0.23944605386371554</c:v>
                </c:pt>
                <c:pt idx="1277" formatCode="0.0%">
                  <c:v>0.23740749008715903</c:v>
                </c:pt>
                <c:pt idx="1278" formatCode="0.0%">
                  <c:v>0.20866585859176931</c:v>
                </c:pt>
                <c:pt idx="1279" formatCode="0.0%">
                  <c:v>0.21802492233258919</c:v>
                </c:pt>
                <c:pt idx="1280" formatCode="0.0%">
                  <c:v>0.23455831480702072</c:v>
                </c:pt>
                <c:pt idx="1281" formatCode="0.0%">
                  <c:v>0.23681305951119402</c:v>
                </c:pt>
                <c:pt idx="1282" formatCode="0.0%">
                  <c:v>0.28247489826766514</c:v>
                </c:pt>
                <c:pt idx="1283" formatCode="0.0%">
                  <c:v>0.28074342710618094</c:v>
                </c:pt>
                <c:pt idx="1284" formatCode="0.0%">
                  <c:v>0.28477137702252553</c:v>
                </c:pt>
                <c:pt idx="1285" formatCode="0.0%">
                  <c:v>0.29360737858782404</c:v>
                </c:pt>
                <c:pt idx="1286" formatCode="0.0%">
                  <c:v>0.3070308759267219</c:v>
                </c:pt>
                <c:pt idx="1287" formatCode="0.0%">
                  <c:v>0.30674500031098573</c:v>
                </c:pt>
                <c:pt idx="1288" formatCode="0.0%">
                  <c:v>0.33769595164598265</c:v>
                </c:pt>
                <c:pt idx="1289" formatCode="0.0%">
                  <c:v>0.36711693195626022</c:v>
                </c:pt>
                <c:pt idx="1290" formatCode="0.0%">
                  <c:v>0.41637524757759009</c:v>
                </c:pt>
                <c:pt idx="1291" formatCode="0.0%">
                  <c:v>0.43363646252199223</c:v>
                </c:pt>
                <c:pt idx="1292" formatCode="0.0%">
                  <c:v>0.44667323476110526</c:v>
                </c:pt>
                <c:pt idx="1293" formatCode="0.0%">
                  <c:v>0.44824885015882193</c:v>
                </c:pt>
                <c:pt idx="1294" formatCode="0.0%">
                  <c:v>0.4592230660519851</c:v>
                </c:pt>
                <c:pt idx="1295" formatCode="0.0%">
                  <c:v>0.72827709835988652</c:v>
                </c:pt>
                <c:pt idx="1296" formatCode="0.0%">
                  <c:v>0.73004877979343552</c:v>
                </c:pt>
                <c:pt idx="1297" formatCode="0.0%">
                  <c:v>0.74843859201309326</c:v>
                </c:pt>
                <c:pt idx="1298" formatCode="0.0%">
                  <c:v>0.75137012336981179</c:v>
                </c:pt>
                <c:pt idx="1299" formatCode="0.0%">
                  <c:v>0.76771528832094205</c:v>
                </c:pt>
                <c:pt idx="1300" formatCode="0.0%">
                  <c:v>0.76295736357876731</c:v>
                </c:pt>
                <c:pt idx="1301" formatCode="0.0%">
                  <c:v>0.76739880074942846</c:v>
                </c:pt>
                <c:pt idx="1302" formatCode="0.0%">
                  <c:v>0.74503559915891526</c:v>
                </c:pt>
                <c:pt idx="1303" formatCode="0.0%">
                  <c:v>0.75027976867276569</c:v>
                </c:pt>
                <c:pt idx="1304" formatCode="0.0%">
                  <c:v>0.74882077630341826</c:v>
                </c:pt>
                <c:pt idx="1305" formatCode="0.0%">
                  <c:v>0.75087840010796636</c:v>
                </c:pt>
                <c:pt idx="1306" formatCode="0.0%">
                  <c:v>0.73864627919534553</c:v>
                </c:pt>
                <c:pt idx="1307" formatCode="0.0%">
                  <c:v>0.74820372598683282</c:v>
                </c:pt>
                <c:pt idx="1308" formatCode="0.0%">
                  <c:v>0.72716239689913065</c:v>
                </c:pt>
                <c:pt idx="1309" formatCode="0.0%">
                  <c:v>0.71461503443446539</c:v>
                </c:pt>
                <c:pt idx="1310" formatCode="0.0%">
                  <c:v>0.6726320689053058</c:v>
                </c:pt>
                <c:pt idx="1311" formatCode="0.0%">
                  <c:v>0.67049718512262158</c:v>
                </c:pt>
                <c:pt idx="1312" formatCode="0.0%">
                  <c:v>0.66861981052658348</c:v>
                </c:pt>
                <c:pt idx="1313" formatCode="0.0%">
                  <c:v>0.69838127596478128</c:v>
                </c:pt>
                <c:pt idx="1314" formatCode="0.0%">
                  <c:v>0.69273025298825552</c:v>
                </c:pt>
                <c:pt idx="1315" formatCode="0.0%">
                  <c:v>0.41866337093182782</c:v>
                </c:pt>
                <c:pt idx="1316" formatCode="0.0%">
                  <c:v>0.4400683731792478</c:v>
                </c:pt>
                <c:pt idx="1317" formatCode="0.0%">
                  <c:v>0.41769488833179058</c:v>
                </c:pt>
                <c:pt idx="1318" formatCode="0.0%">
                  <c:v>0.41735216876777392</c:v>
                </c:pt>
                <c:pt idx="1319" formatCode="0.0%">
                  <c:v>0.44269874135199899</c:v>
                </c:pt>
                <c:pt idx="1320" formatCode="0.0%">
                  <c:v>0.52619216074503194</c:v>
                </c:pt>
                <c:pt idx="1321" formatCode="0.0%">
                  <c:v>0.56888563076792431</c:v>
                </c:pt>
                <c:pt idx="1322" formatCode="0.0%">
                  <c:v>0.59728630328369903</c:v>
                </c:pt>
                <c:pt idx="1323" formatCode="0.0%">
                  <c:v>0.59595595631858767</c:v>
                </c:pt>
                <c:pt idx="1324" formatCode="0.0%">
                  <c:v>0.59553375237828343</c:v>
                </c:pt>
                <c:pt idx="1325" formatCode="0.0%">
                  <c:v>0.58705825323646321</c:v>
                </c:pt>
                <c:pt idx="1326" formatCode="0.0%">
                  <c:v>0.58448370344682921</c:v>
                </c:pt>
                <c:pt idx="1327" formatCode="0.0%">
                  <c:v>0.59542033265889083</c:v>
                </c:pt>
                <c:pt idx="1328" formatCode="0.0%">
                  <c:v>0.59537440028570865</c:v>
                </c:pt>
                <c:pt idx="1329" formatCode="0.0%">
                  <c:v>0.59988009389089014</c:v>
                </c:pt>
                <c:pt idx="1330" formatCode="0.0%">
                  <c:v>0.59991163786548385</c:v>
                </c:pt>
                <c:pt idx="1331" formatCode="0.0%">
                  <c:v>0.60061523330070199</c:v>
                </c:pt>
                <c:pt idx="1332" formatCode="0.0%">
                  <c:v>0.6436629503994441</c:v>
                </c:pt>
                <c:pt idx="1333" formatCode="0.0%">
                  <c:v>0.6152480419007561</c:v>
                </c:pt>
                <c:pt idx="1334" formatCode="0.0%">
                  <c:v>0.62466722420520415</c:v>
                </c:pt>
                <c:pt idx="1335" formatCode="0.0%">
                  <c:v>0.61534424435677815</c:v>
                </c:pt>
                <c:pt idx="1336" formatCode="0.0%">
                  <c:v>0.61399128973686179</c:v>
                </c:pt>
                <c:pt idx="1337" formatCode="0.0%">
                  <c:v>0.63156990300464511</c:v>
                </c:pt>
                <c:pt idx="1338" formatCode="0.0%">
                  <c:v>0.63153445378891948</c:v>
                </c:pt>
                <c:pt idx="1339" formatCode="0.0%">
                  <c:v>0.59668884390729049</c:v>
                </c:pt>
                <c:pt idx="1340" formatCode="0.0%">
                  <c:v>0.51894489964329948</c:v>
                </c:pt>
                <c:pt idx="1341" formatCode="0.0%">
                  <c:v>0.4784646639762396</c:v>
                </c:pt>
                <c:pt idx="1342" formatCode="0.0%">
                  <c:v>0.44590381603899298</c:v>
                </c:pt>
                <c:pt idx="1343" formatCode="0.0%">
                  <c:v>0.44607768046070612</c:v>
                </c:pt>
                <c:pt idx="1344" formatCode="0.0%">
                  <c:v>0.44862272482787707</c:v>
                </c:pt>
                <c:pt idx="1345" formatCode="0.0%">
                  <c:v>0.44795088597033184</c:v>
                </c:pt>
                <c:pt idx="1346" formatCode="0.0%">
                  <c:v>0.45267419131994163</c:v>
                </c:pt>
                <c:pt idx="1347" formatCode="0.0%">
                  <c:v>0.40829524643636372</c:v>
                </c:pt>
                <c:pt idx="1348" formatCode="0.0%">
                  <c:v>0.41547712739965198</c:v>
                </c:pt>
                <c:pt idx="1349" formatCode="0.0%">
                  <c:v>0.41301202212894306</c:v>
                </c:pt>
                <c:pt idx="1350" formatCode="0.0%">
                  <c:v>0.4222243951213589</c:v>
                </c:pt>
                <c:pt idx="1351" formatCode="0.0%">
                  <c:v>0.42492026514273346</c:v>
                </c:pt>
                <c:pt idx="1352" formatCode="0.0%">
                  <c:v>0.37689625038953645</c:v>
                </c:pt>
                <c:pt idx="1353" formatCode="0.0%">
                  <c:v>0.3779870698667504</c:v>
                </c:pt>
                <c:pt idx="1354" formatCode="0.0%">
                  <c:v>0.34881101388484564</c:v>
                </c:pt>
                <c:pt idx="1355" formatCode="0.0%">
                  <c:v>0.34074844626140732</c:v>
                </c:pt>
                <c:pt idx="1356" formatCode="0.0%">
                  <c:v>0.36349769761038769</c:v>
                </c:pt>
                <c:pt idx="1357" formatCode="0.0%">
                  <c:v>0.34746085829138013</c:v>
                </c:pt>
                <c:pt idx="1358" formatCode="0.0%">
                  <c:v>0.35204463817677989</c:v>
                </c:pt>
                <c:pt idx="1359" formatCode="0.0%">
                  <c:v>0.45356732665446747</c:v>
                </c:pt>
                <c:pt idx="1360" formatCode="0.0%">
                  <c:v>0.45213557547007993</c:v>
                </c:pt>
                <c:pt idx="1361" formatCode="0.0%">
                  <c:v>0.53057225809692699</c:v>
                </c:pt>
                <c:pt idx="1362" formatCode="0.0%">
                  <c:v>0.52675198069254781</c:v>
                </c:pt>
                <c:pt idx="1363" formatCode="0.0%">
                  <c:v>0.51743766715284567</c:v>
                </c:pt>
                <c:pt idx="1364" formatCode="0.0%">
                  <c:v>0.53665936541549364</c:v>
                </c:pt>
                <c:pt idx="1365" formatCode="0.0%">
                  <c:v>0.54260188654163521</c:v>
                </c:pt>
                <c:pt idx="1366" formatCode="0.0%">
                  <c:v>0.54296204957943561</c:v>
                </c:pt>
                <c:pt idx="1367" formatCode="0.0%">
                  <c:v>0.52385626620392278</c:v>
                </c:pt>
                <c:pt idx="1368" formatCode="0.0%">
                  <c:v>0.52307462868874566</c:v>
                </c:pt>
                <c:pt idx="1369" formatCode="0.0%">
                  <c:v>0.52547814758760558</c:v>
                </c:pt>
                <c:pt idx="1370" formatCode="0.0%">
                  <c:v>0.51150814462193672</c:v>
                </c:pt>
                <c:pt idx="1371" formatCode="0.0%">
                  <c:v>0.55131708414672498</c:v>
                </c:pt>
                <c:pt idx="1372" formatCode="0.0%">
                  <c:v>0.55216962363993627</c:v>
                </c:pt>
                <c:pt idx="1373" formatCode="0.0%">
                  <c:v>0.55490562912346275</c:v>
                </c:pt>
                <c:pt idx="1374" formatCode="0.0%">
                  <c:v>0.55492360596511681</c:v>
                </c:pt>
                <c:pt idx="1375" formatCode="0.0%">
                  <c:v>0.55765331384464523</c:v>
                </c:pt>
                <c:pt idx="1376" formatCode="0.0%">
                  <c:v>0.54217787481207769</c:v>
                </c:pt>
                <c:pt idx="1377" formatCode="0.0%">
                  <c:v>0.52836923894988685</c:v>
                </c:pt>
                <c:pt idx="1378" formatCode="0.0%">
                  <c:v>0.52548559299138664</c:v>
                </c:pt>
                <c:pt idx="1379" formatCode="0.0%">
                  <c:v>0.44248561693483468</c:v>
                </c:pt>
                <c:pt idx="1380" formatCode="0.0%">
                  <c:v>0.44254666482608884</c:v>
                </c:pt>
                <c:pt idx="1381" formatCode="0.0%">
                  <c:v>0.34462083897330664</c:v>
                </c:pt>
                <c:pt idx="1382" formatCode="0.0%">
                  <c:v>0.39354995128515052</c:v>
                </c:pt>
                <c:pt idx="1383" formatCode="0.0%">
                  <c:v>0.52484501321996535</c:v>
                </c:pt>
                <c:pt idx="1384" formatCode="0.0%">
                  <c:v>0.60610644403273084</c:v>
                </c:pt>
                <c:pt idx="1385" formatCode="0.0%">
                  <c:v>0.67070062314528556</c:v>
                </c:pt>
                <c:pt idx="1386" formatCode="0.0%">
                  <c:v>0.66402971236757269</c:v>
                </c:pt>
                <c:pt idx="1387" formatCode="0.0%">
                  <c:v>0.6703416431672552</c:v>
                </c:pt>
                <c:pt idx="1388" formatCode="0.0%">
                  <c:v>0.66995853860250709</c:v>
                </c:pt>
                <c:pt idx="1389" formatCode="0.0%">
                  <c:v>0.67433249517732763</c:v>
                </c:pt>
                <c:pt idx="1390" formatCode="0.0%">
                  <c:v>0.68980881194156918</c:v>
                </c:pt>
                <c:pt idx="1391" formatCode="0.0%">
                  <c:v>0.65574948849524506</c:v>
                </c:pt>
                <c:pt idx="1392" formatCode="0.0%">
                  <c:v>0.66401756898372033</c:v>
                </c:pt>
                <c:pt idx="1393" formatCode="0.0%">
                  <c:v>0.65454681059153397</c:v>
                </c:pt>
                <c:pt idx="1394" formatCode="0.0%">
                  <c:v>0.65396506030286183</c:v>
                </c:pt>
                <c:pt idx="1395" formatCode="0.0%">
                  <c:v>0.65396628490148567</c:v>
                </c:pt>
                <c:pt idx="1396" formatCode="0.0%">
                  <c:v>0.67000375180676075</c:v>
                </c:pt>
                <c:pt idx="1397" formatCode="0.0%">
                  <c:v>0.68627498229784001</c:v>
                </c:pt>
                <c:pt idx="1398" formatCode="0.0%">
                  <c:v>0.68497913959213208</c:v>
                </c:pt>
                <c:pt idx="1399" formatCode="0.0%">
                  <c:v>0.68458104958793531</c:v>
                </c:pt>
                <c:pt idx="1400" formatCode="0.0%">
                  <c:v>0.68118091500271083</c:v>
                </c:pt>
                <c:pt idx="1401" formatCode="0.0%">
                  <c:v>0.67685706975191162</c:v>
                </c:pt>
                <c:pt idx="1402" formatCode="0.0%">
                  <c:v>0.66217472048360537</c:v>
                </c:pt>
                <c:pt idx="1403" formatCode="0.0%">
                  <c:v>0.61028420262132599</c:v>
                </c:pt>
                <c:pt idx="1404" formatCode="0.0%">
                  <c:v>0.51072152591458653</c:v>
                </c:pt>
                <c:pt idx="1405" formatCode="0.0%">
                  <c:v>0.41825374345132299</c:v>
                </c:pt>
                <c:pt idx="1406" formatCode="0.0%">
                  <c:v>0.41531316612500246</c:v>
                </c:pt>
                <c:pt idx="1407" formatCode="0.0%">
                  <c:v>0.40957896607505384</c:v>
                </c:pt>
                <c:pt idx="1408" formatCode="0.0%">
                  <c:v>0.4097771498984476</c:v>
                </c:pt>
                <c:pt idx="1409" formatCode="0.0%">
                  <c:v>0.41704113003605608</c:v>
                </c:pt>
                <c:pt idx="1410" formatCode="0.0%">
                  <c:v>0.37208924610630911</c:v>
                </c:pt>
                <c:pt idx="1411" formatCode="0.0%">
                  <c:v>0.36340126237886489</c:v>
                </c:pt>
                <c:pt idx="1412" formatCode="0.0%">
                  <c:v>0.35932420251963265</c:v>
                </c:pt>
                <c:pt idx="1413" formatCode="0.0%">
                  <c:v>0.35511423914326151</c:v>
                </c:pt>
                <c:pt idx="1414" formatCode="0.0%">
                  <c:v>0.34283454980199923</c:v>
                </c:pt>
                <c:pt idx="1415" formatCode="0.0%">
                  <c:v>0.36948867263678598</c:v>
                </c:pt>
                <c:pt idx="1416" formatCode="0.0%">
                  <c:v>0.35270937318049306</c:v>
                </c:pt>
                <c:pt idx="1417" formatCode="0.0%">
                  <c:v>0.32759968539015272</c:v>
                </c:pt>
                <c:pt idx="1418" formatCode="0.0%">
                  <c:v>0.32222993050308513</c:v>
                </c:pt>
                <c:pt idx="1419" formatCode="0.0%">
                  <c:v>0.35594758846489516</c:v>
                </c:pt>
                <c:pt idx="1420" formatCode="0.0%">
                  <c:v>0.35324262168007509</c:v>
                </c:pt>
                <c:pt idx="1421" formatCode="0.0%">
                  <c:v>0.35327743490304758</c:v>
                </c:pt>
                <c:pt idx="1422" formatCode="0.0%">
                  <c:v>0.33515938535276724</c:v>
                </c:pt>
                <c:pt idx="1423" formatCode="0.0%">
                  <c:v>0.30009191106561256</c:v>
                </c:pt>
                <c:pt idx="1424" formatCode="0.0%">
                  <c:v>0.29817171078078036</c:v>
                </c:pt>
                <c:pt idx="1425" formatCode="0.0%">
                  <c:v>0.29367696094895762</c:v>
                </c:pt>
                <c:pt idx="1426" formatCode="0.0%">
                  <c:v>0.31131351426918041</c:v>
                </c:pt>
                <c:pt idx="1427" formatCode="0.0%">
                  <c:v>0.38134646695181718</c:v>
                </c:pt>
                <c:pt idx="1428" formatCode="0.0%">
                  <c:v>0.39022751217228752</c:v>
                </c:pt>
                <c:pt idx="1429" formatCode="0.0%">
                  <c:v>0.36234154915147465</c:v>
                </c:pt>
                <c:pt idx="1430" formatCode="0.0%">
                  <c:v>0.36232315683251631</c:v>
                </c:pt>
                <c:pt idx="1431" formatCode="0.0%">
                  <c:v>0.38539792249405375</c:v>
                </c:pt>
                <c:pt idx="1432" formatCode="0.0%">
                  <c:v>0.39302865888412641</c:v>
                </c:pt>
                <c:pt idx="1433" formatCode="0.0%">
                  <c:v>0.3925206883397882</c:v>
                </c:pt>
                <c:pt idx="1434" formatCode="0.0%">
                  <c:v>0.38607480628776242</c:v>
                </c:pt>
                <c:pt idx="1435" formatCode="0.0%">
                  <c:v>0.37425821770821183</c:v>
                </c:pt>
                <c:pt idx="1436" formatCode="0.0%">
                  <c:v>0.44504788455366601</c:v>
                </c:pt>
                <c:pt idx="1437" formatCode="0.0%">
                  <c:v>0.44466282111221694</c:v>
                </c:pt>
                <c:pt idx="1438" formatCode="0.0%">
                  <c:v>0.44563036753499397</c:v>
                </c:pt>
                <c:pt idx="1439" formatCode="0.0%">
                  <c:v>0.42630344512192236</c:v>
                </c:pt>
                <c:pt idx="1440" formatCode="0.0%">
                  <c:v>0.42658499535740635</c:v>
                </c:pt>
                <c:pt idx="1441" formatCode="0.0%">
                  <c:v>0.42584467443012303</c:v>
                </c:pt>
                <c:pt idx="1442" formatCode="0.0%">
                  <c:v>0.44250416626928751</c:v>
                </c:pt>
                <c:pt idx="1443" formatCode="0.0%">
                  <c:v>0.48762091885215864</c:v>
                </c:pt>
                <c:pt idx="1444" formatCode="0.0%">
                  <c:v>0.50095347677536883</c:v>
                </c:pt>
                <c:pt idx="1445" formatCode="0.0%">
                  <c:v>0.51862554389254067</c:v>
                </c:pt>
                <c:pt idx="1446" formatCode="0.0%">
                  <c:v>0.53451449236963633</c:v>
                </c:pt>
                <c:pt idx="1447" formatCode="0.0%">
                  <c:v>0.51337552960273403</c:v>
                </c:pt>
                <c:pt idx="1448" formatCode="0.0%">
                  <c:v>0.51008300628160297</c:v>
                </c:pt>
                <c:pt idx="1449" formatCode="0.0%">
                  <c:v>0.53478731331053309</c:v>
                </c:pt>
                <c:pt idx="1450" formatCode="0.0%">
                  <c:v>0.54500593851899892</c:v>
                </c:pt>
                <c:pt idx="1451" formatCode="0.0%">
                  <c:v>0.52842056638238244</c:v>
                </c:pt>
                <c:pt idx="1452" formatCode="0.0%">
                  <c:v>0.52709267995567899</c:v>
                </c:pt>
                <c:pt idx="1453" formatCode="0.0%">
                  <c:v>0.5590506423568038</c:v>
                </c:pt>
                <c:pt idx="1454" formatCode="0.0%">
                  <c:v>0.55884299249885827</c:v>
                </c:pt>
                <c:pt idx="1455" formatCode="0.0%">
                  <c:v>0.56318734796670067</c:v>
                </c:pt>
                <c:pt idx="1456" formatCode="0.0%">
                  <c:v>0.51167915633901329</c:v>
                </c:pt>
                <c:pt idx="1457" formatCode="0.0%">
                  <c:v>0.52960019127906621</c:v>
                </c:pt>
                <c:pt idx="1458" formatCode="0.0%">
                  <c:v>0.52935102728379613</c:v>
                </c:pt>
                <c:pt idx="1459" formatCode="0.0%">
                  <c:v>0.53774796358859189</c:v>
                </c:pt>
                <c:pt idx="1460" formatCode="0.0%">
                  <c:v>0.53828311120143579</c:v>
                </c:pt>
                <c:pt idx="1461" formatCode="0.0%">
                  <c:v>0.54027448135104728</c:v>
                </c:pt>
                <c:pt idx="1462" formatCode="0.0%">
                  <c:v>0.52422842188882657</c:v>
                </c:pt>
                <c:pt idx="1463" formatCode="0.0%">
                  <c:v>0.46396375986841015</c:v>
                </c:pt>
                <c:pt idx="1464" formatCode="0.0%">
                  <c:v>0.45281319088666272</c:v>
                </c:pt>
                <c:pt idx="1465" formatCode="0.0%">
                  <c:v>0.44333521391809405</c:v>
                </c:pt>
                <c:pt idx="1466" formatCode="0.0%">
                  <c:v>0.39451203602808743</c:v>
                </c:pt>
                <c:pt idx="1467" formatCode="0.0%">
                  <c:v>0.39613888420799132</c:v>
                </c:pt>
                <c:pt idx="1468" formatCode="0.0%">
                  <c:v>0.4000927341235711</c:v>
                </c:pt>
                <c:pt idx="1469" formatCode="0.0%">
                  <c:v>0.3813294178262942</c:v>
                </c:pt>
                <c:pt idx="1470" formatCode="0.0%">
                  <c:v>0.37857969146514053</c:v>
                </c:pt>
                <c:pt idx="1471" formatCode="0.0%">
                  <c:v>0.37257129338621442</c:v>
                </c:pt>
                <c:pt idx="1472" formatCode="0.0%">
                  <c:v>0.39173390491439869</c:v>
                </c:pt>
                <c:pt idx="1473" formatCode="0.0%">
                  <c:v>0.3345140114261908</c:v>
                </c:pt>
                <c:pt idx="1474" formatCode="0.0%">
                  <c:v>0.33510138776028925</c:v>
                </c:pt>
                <c:pt idx="1475" formatCode="0.0%">
                  <c:v>0.33169059321715766</c:v>
                </c:pt>
                <c:pt idx="1476" formatCode="0.0%">
                  <c:v>0.33116993710703058</c:v>
                </c:pt>
                <c:pt idx="1477" formatCode="0.0%">
                  <c:v>0.3262589974314607</c:v>
                </c:pt>
                <c:pt idx="1478" formatCode="0.0%">
                  <c:v>0.32503507481267802</c:v>
                </c:pt>
                <c:pt idx="1479" formatCode="0.0%">
                  <c:v>0.30145562159516803</c:v>
                </c:pt>
                <c:pt idx="1480" formatCode="0.0%">
                  <c:v>0.30364529664976092</c:v>
                </c:pt>
                <c:pt idx="1481" formatCode="0.0%">
                  <c:v>0.3045582876584404</c:v>
                </c:pt>
                <c:pt idx="1482" formatCode="0.0%">
                  <c:v>0.30408657490996349</c:v>
                </c:pt>
                <c:pt idx="1483" formatCode="0.0%">
                  <c:v>0.30258724675701937</c:v>
                </c:pt>
                <c:pt idx="1484" formatCode="0.0%">
                  <c:v>0.29808492065787212</c:v>
                </c:pt>
                <c:pt idx="1485" formatCode="0.0%">
                  <c:v>0.25894262620010045</c:v>
                </c:pt>
                <c:pt idx="1486" formatCode="0.0%">
                  <c:v>0.2782569052939019</c:v>
                </c:pt>
                <c:pt idx="1487" formatCode="0.0%">
                  <c:v>0.25208365263064669</c:v>
                </c:pt>
                <c:pt idx="1488" formatCode="0.0%">
                  <c:v>0.25609950893235855</c:v>
                </c:pt>
                <c:pt idx="1489" formatCode="0.0%">
                  <c:v>0.2559650617896751</c:v>
                </c:pt>
                <c:pt idx="1490" formatCode="0.0%">
                  <c:v>0.2764908500144202</c:v>
                </c:pt>
                <c:pt idx="1491" formatCode="0.0%">
                  <c:v>0.28904294196791935</c:v>
                </c:pt>
                <c:pt idx="1492" formatCode="0.0%">
                  <c:v>0.27061098575536979</c:v>
                </c:pt>
                <c:pt idx="1493" formatCode="0.0%">
                  <c:v>0.28872545127492133</c:v>
                </c:pt>
                <c:pt idx="1494" formatCode="0.0%">
                  <c:v>0.28187367624316984</c:v>
                </c:pt>
                <c:pt idx="1495" formatCode="0.0%">
                  <c:v>0.28583146148077399</c:v>
                </c:pt>
                <c:pt idx="1496" formatCode="0.0%">
                  <c:v>0.29068354792053464</c:v>
                </c:pt>
                <c:pt idx="1497" formatCode="0.0%">
                  <c:v>0.26905026545689698</c:v>
                </c:pt>
                <c:pt idx="1498" formatCode="0.0%">
                  <c:v>0.27169204510232597</c:v>
                </c:pt>
                <c:pt idx="1499" formatCode="0.0%">
                  <c:v>0.27005138033295983</c:v>
                </c:pt>
                <c:pt idx="1500" formatCode="0.0%">
                  <c:v>0.27247718185423947</c:v>
                </c:pt>
                <c:pt idx="1501" formatCode="0.0%">
                  <c:v>0.28009985597525855</c:v>
                </c:pt>
                <c:pt idx="1502" formatCode="0.0%">
                  <c:v>0.28079690138235558</c:v>
                </c:pt>
                <c:pt idx="1503" formatCode="0.0%">
                  <c:v>0.28180387196162066</c:v>
                </c:pt>
                <c:pt idx="1504" formatCode="0.0%">
                  <c:v>0.3442196931284332</c:v>
                </c:pt>
                <c:pt idx="1505" formatCode="0.0%">
                  <c:v>0.33784537071338966</c:v>
                </c:pt>
                <c:pt idx="1506" formatCode="0.0%">
                  <c:v>0.31533973062964532</c:v>
                </c:pt>
                <c:pt idx="1507" formatCode="0.0%">
                  <c:v>0.31555875243490467</c:v>
                </c:pt>
                <c:pt idx="1508" formatCode="0.0%">
                  <c:v>0.31382805427509841</c:v>
                </c:pt>
                <c:pt idx="1509" formatCode="0.0%">
                  <c:v>0.31373320730426008</c:v>
                </c:pt>
                <c:pt idx="1510" formatCode="0.0%">
                  <c:v>0.30032496760981786</c:v>
                </c:pt>
                <c:pt idx="1511" formatCode="0.0%">
                  <c:v>0.2712752564603837</c:v>
                </c:pt>
                <c:pt idx="1512" formatCode="0.0%">
                  <c:v>0.27152363293178206</c:v>
                </c:pt>
                <c:pt idx="1513" formatCode="0.0%">
                  <c:v>0.26437618876776642</c:v>
                </c:pt>
                <c:pt idx="1514" formatCode="0.0%">
                  <c:v>0.26551428587809639</c:v>
                </c:pt>
                <c:pt idx="1515" formatCode="0.0%">
                  <c:v>0.26495105142191139</c:v>
                </c:pt>
                <c:pt idx="1516" formatCode="0.0%">
                  <c:v>0.26522608930285846</c:v>
                </c:pt>
                <c:pt idx="1517" formatCode="0.0%">
                  <c:v>0.27216861564528433</c:v>
                </c:pt>
                <c:pt idx="1518" formatCode="0.0%">
                  <c:v>0.26337655541513982</c:v>
                </c:pt>
                <c:pt idx="1519" formatCode="0.0%">
                  <c:v>0.27106068919996806</c:v>
                </c:pt>
                <c:pt idx="1520" formatCode="0.0%">
                  <c:v>0.27270174579637385</c:v>
                </c:pt>
                <c:pt idx="1521" formatCode="0.0%">
                  <c:v>0.29981206159983115</c:v>
                </c:pt>
                <c:pt idx="1522" formatCode="0.0%">
                  <c:v>0.29984740853651382</c:v>
                </c:pt>
                <c:pt idx="1523" formatCode="0.0%">
                  <c:v>0.31789739109558579</c:v>
                </c:pt>
                <c:pt idx="1524" formatCode="0.0%">
                  <c:v>0.25768648326906207</c:v>
                </c:pt>
                <c:pt idx="1525" formatCode="0.0%">
                  <c:v>0.25790404982449661</c:v>
                </c:pt>
                <c:pt idx="1526" formatCode="0.0%">
                  <c:v>0.26348446097445299</c:v>
                </c:pt>
                <c:pt idx="1527" formatCode="0.0%">
                  <c:v>0.26236896441555874</c:v>
                </c:pt>
                <c:pt idx="1528" formatCode="0.0%">
                  <c:v>0.25559525927007987</c:v>
                </c:pt>
                <c:pt idx="1529" formatCode="0.0%">
                  <c:v>0.25525620550996303</c:v>
                </c:pt>
                <c:pt idx="1530" formatCode="0.0%">
                  <c:v>0.25221601933343668</c:v>
                </c:pt>
                <c:pt idx="1531" formatCode="0.0%">
                  <c:v>0.27059966887453707</c:v>
                </c:pt>
                <c:pt idx="1532" formatCode="0.0%">
                  <c:v>0.30622183134674358</c:v>
                </c:pt>
                <c:pt idx="1533" formatCode="0.0%">
                  <c:v>0.30842842691099231</c:v>
                </c:pt>
                <c:pt idx="1534" formatCode="0.0%">
                  <c:v>0.30254270326381005</c:v>
                </c:pt>
                <c:pt idx="1535" formatCode="0.0%">
                  <c:v>0.2977461602230389</c:v>
                </c:pt>
                <c:pt idx="1536" formatCode="0.0%">
                  <c:v>0.31880626490414593</c:v>
                </c:pt>
                <c:pt idx="1537" formatCode="0.0%">
                  <c:v>0.30381799308852026</c:v>
                </c:pt>
                <c:pt idx="1538" formatCode="0.0%">
                  <c:v>0.3057800395949784</c:v>
                </c:pt>
                <c:pt idx="1539" formatCode="0.0%">
                  <c:v>0.28946081760835529</c:v>
                </c:pt>
                <c:pt idx="1540" formatCode="0.0%">
                  <c:v>0.30126303263116039</c:v>
                </c:pt>
                <c:pt idx="1541" formatCode="0.0%">
                  <c:v>0.28374127040728514</c:v>
                </c:pt>
                <c:pt idx="1542" formatCode="0.0%">
                  <c:v>0.29578107357422212</c:v>
                </c:pt>
                <c:pt idx="1543" formatCode="0.0%">
                  <c:v>0.27963489861154756</c:v>
                </c:pt>
                <c:pt idx="1544" formatCode="0.0%">
                  <c:v>0.27921809215435434</c:v>
                </c:pt>
                <c:pt idx="1545" formatCode="0.0%">
                  <c:v>0.28294187914968699</c:v>
                </c:pt>
                <c:pt idx="1546" formatCode="0.0%">
                  <c:v>0.27211187084690708</c:v>
                </c:pt>
                <c:pt idx="1547" formatCode="0.0%">
                  <c:v>0.29328854876456378</c:v>
                </c:pt>
                <c:pt idx="1548" formatCode="0.0%">
                  <c:v>0.30304527501676293</c:v>
                </c:pt>
                <c:pt idx="1549" formatCode="0.0%">
                  <c:v>0.30754630675510197</c:v>
                </c:pt>
                <c:pt idx="1550" formatCode="0.0%">
                  <c:v>0.31688841517595157</c:v>
                </c:pt>
                <c:pt idx="1551" formatCode="0.0%">
                  <c:v>0.30632217580783411</c:v>
                </c:pt>
                <c:pt idx="1552" formatCode="0.0%">
                  <c:v>0.27946258286922332</c:v>
                </c:pt>
                <c:pt idx="1553" formatCode="0.0%">
                  <c:v>0.29248588179668261</c:v>
                </c:pt>
                <c:pt idx="1554" formatCode="0.0%">
                  <c:v>0.29274764527065195</c:v>
                </c:pt>
                <c:pt idx="1555" formatCode="0.0%">
                  <c:v>0.29913119843855446</c:v>
                </c:pt>
                <c:pt idx="1556" formatCode="0.0%">
                  <c:v>0.27854554476391202</c:v>
                </c:pt>
                <c:pt idx="1557" formatCode="0.0%">
                  <c:v>0.27981786233615397</c:v>
                </c:pt>
                <c:pt idx="1558" formatCode="0.0%">
                  <c:v>0.27692633215646545</c:v>
                </c:pt>
                <c:pt idx="1559" formatCode="0.0%">
                  <c:v>0.25933989371610477</c:v>
                </c:pt>
                <c:pt idx="1560" formatCode="0.0%">
                  <c:v>0.25157754519283337</c:v>
                </c:pt>
                <c:pt idx="1561" formatCode="0.0%">
                  <c:v>0.25190936759868793</c:v>
                </c:pt>
                <c:pt idx="1562" formatCode="0.0%">
                  <c:v>0.24578214522379135</c:v>
                </c:pt>
                <c:pt idx="1563" formatCode="0.0%">
                  <c:v>0.24581881126869928</c:v>
                </c:pt>
                <c:pt idx="1564" formatCode="0.0%">
                  <c:v>0.2460324872242374</c:v>
                </c:pt>
                <c:pt idx="1565" formatCode="0.0%">
                  <c:v>0.23861358954405795</c:v>
                </c:pt>
                <c:pt idx="1566" formatCode="0.0%">
                  <c:v>0.24538937326285029</c:v>
                </c:pt>
                <c:pt idx="1567" formatCode="0.0%">
                  <c:v>0.21072995849736145</c:v>
                </c:pt>
                <c:pt idx="1568" formatCode="0.0%">
                  <c:v>0.20414897011435912</c:v>
                </c:pt>
                <c:pt idx="1569" formatCode="0.0%">
                  <c:v>0.18754992661754646</c:v>
                </c:pt>
                <c:pt idx="1570" formatCode="0.0%">
                  <c:v>0.18090696853609353</c:v>
                </c:pt>
                <c:pt idx="1571" formatCode="0.0%">
                  <c:v>0.17762160857206291</c:v>
                </c:pt>
                <c:pt idx="1572" formatCode="0.0%">
                  <c:v>0.17299378766331769</c:v>
                </c:pt>
                <c:pt idx="1573" formatCode="0.0%">
                  <c:v>0.13867166122721175</c:v>
                </c:pt>
                <c:pt idx="1574" formatCode="0.0%">
                  <c:v>0.15013707200158066</c:v>
                </c:pt>
                <c:pt idx="1575" formatCode="0.0%">
                  <c:v>0.13996872495807128</c:v>
                </c:pt>
                <c:pt idx="1576" formatCode="0.0%">
                  <c:v>0.17476968064758763</c:v>
                </c:pt>
                <c:pt idx="1577" formatCode="0.0%">
                  <c:v>0.17176289003979237</c:v>
                </c:pt>
                <c:pt idx="1578" formatCode="0.0%">
                  <c:v>0.18279388005113126</c:v>
                </c:pt>
                <c:pt idx="1579" formatCode="0.0%">
                  <c:v>0.18330820045377483</c:v>
                </c:pt>
                <c:pt idx="1580" formatCode="0.0%">
                  <c:v>0.18250326914937229</c:v>
                </c:pt>
                <c:pt idx="1581" formatCode="0.0%">
                  <c:v>0.24901648876389576</c:v>
                </c:pt>
                <c:pt idx="1582" formatCode="0.0%">
                  <c:v>0.26108602299764677</c:v>
                </c:pt>
                <c:pt idx="1583" formatCode="0.0%">
                  <c:v>0.26428913801037862</c:v>
                </c:pt>
                <c:pt idx="1584" formatCode="0.0%">
                  <c:v>0.27166980649737588</c:v>
                </c:pt>
                <c:pt idx="1585" formatCode="0.0%">
                  <c:v>0.27178906619087595</c:v>
                </c:pt>
                <c:pt idx="1586" formatCode="0.0%">
                  <c:v>0.27019147078293759</c:v>
                </c:pt>
                <c:pt idx="1587" formatCode="0.0%">
                  <c:v>0.27898062859681982</c:v>
                </c:pt>
                <c:pt idx="1588" formatCode="0.0%">
                  <c:v>0.26987364838457734</c:v>
                </c:pt>
                <c:pt idx="1589" formatCode="0.0%">
                  <c:v>0.27049585474085747</c:v>
                </c:pt>
                <c:pt idx="1590" formatCode="0.0%">
                  <c:v>0.29040580287904688</c:v>
                </c:pt>
                <c:pt idx="1591" formatCode="0.0%">
                  <c:v>0.29188533550578166</c:v>
                </c:pt>
                <c:pt idx="1592" formatCode="0.0%">
                  <c:v>0.29781485506936023</c:v>
                </c:pt>
                <c:pt idx="1593" formatCode="0.0%">
                  <c:v>0.29794953351587661</c:v>
                </c:pt>
                <c:pt idx="1594" formatCode="0.0%">
                  <c:v>0.29868908377505621</c:v>
                </c:pt>
                <c:pt idx="1595" formatCode="0.0%">
                  <c:v>0.3041294458974807</c:v>
                </c:pt>
                <c:pt idx="1596" formatCode="0.0%">
                  <c:v>0.29388376309103947</c:v>
                </c:pt>
                <c:pt idx="1597" formatCode="0.0%">
                  <c:v>0.29366853385014341</c:v>
                </c:pt>
                <c:pt idx="1598" formatCode="0.0%">
                  <c:v>0.29240853273524314</c:v>
                </c:pt>
                <c:pt idx="1599" formatCode="0.0%">
                  <c:v>0.30025954866261534</c:v>
                </c:pt>
                <c:pt idx="1600" formatCode="0.0%">
                  <c:v>0.30474540570007808</c:v>
                </c:pt>
                <c:pt idx="1601" formatCode="0.0%">
                  <c:v>0.26648338167771646</c:v>
                </c:pt>
                <c:pt idx="1602" formatCode="0.0%">
                  <c:v>0.25045227977033391</c:v>
                </c:pt>
                <c:pt idx="1603" formatCode="0.0%">
                  <c:v>0.2438105330636432</c:v>
                </c:pt>
                <c:pt idx="1604" formatCode="0.0%">
                  <c:v>0.28084297331328462</c:v>
                </c:pt>
                <c:pt idx="1605" formatCode="0.0%">
                  <c:v>0.27943017585211544</c:v>
                </c:pt>
                <c:pt idx="1606" formatCode="0.0%">
                  <c:v>0.27624111186929223</c:v>
                </c:pt>
                <c:pt idx="1607" formatCode="0.0%">
                  <c:v>0.27067025389233512</c:v>
                </c:pt>
                <c:pt idx="1608" formatCode="0.0%">
                  <c:v>0.27568744298326708</c:v>
                </c:pt>
                <c:pt idx="1609" formatCode="0.0%">
                  <c:v>0.28096640231044662</c:v>
                </c:pt>
                <c:pt idx="1610" formatCode="0.0%">
                  <c:v>0.27002622601212223</c:v>
                </c:pt>
                <c:pt idx="1611" formatCode="0.0%">
                  <c:v>0.27929585034731147</c:v>
                </c:pt>
                <c:pt idx="1612" formatCode="0.0%">
                  <c:v>0.26878209203198372</c:v>
                </c:pt>
                <c:pt idx="1613" formatCode="0.0%">
                  <c:v>0.26913225471149449</c:v>
                </c:pt>
                <c:pt idx="1614" formatCode="0.0%">
                  <c:v>0.28268933287003661</c:v>
                </c:pt>
                <c:pt idx="1615" formatCode="0.0%">
                  <c:v>0.28020027948762805</c:v>
                </c:pt>
                <c:pt idx="1616" formatCode="0.0%">
                  <c:v>0.28860502688408574</c:v>
                </c:pt>
                <c:pt idx="1617" formatCode="0.0%">
                  <c:v>0.28839870071805795</c:v>
                </c:pt>
                <c:pt idx="1618" formatCode="0.0%">
                  <c:v>0.27951415517174838</c:v>
                </c:pt>
                <c:pt idx="1619" formatCode="0.0%">
                  <c:v>0.27179810079960931</c:v>
                </c:pt>
                <c:pt idx="1620" formatCode="0.0%">
                  <c:v>0.27408826888704085</c:v>
                </c:pt>
                <c:pt idx="1621" formatCode="0.0%">
                  <c:v>0.26059364581073324</c:v>
                </c:pt>
                <c:pt idx="1622" formatCode="0.0%">
                  <c:v>0.26723263969443911</c:v>
                </c:pt>
                <c:pt idx="1623" formatCode="0.0%">
                  <c:v>0.26862561502669791</c:v>
                </c:pt>
                <c:pt idx="1624" formatCode="0.0%">
                  <c:v>0.20877609990517773</c:v>
                </c:pt>
                <c:pt idx="1625" formatCode="0.0%">
                  <c:v>0.20893226235939946</c:v>
                </c:pt>
                <c:pt idx="1626" formatCode="0.0%">
                  <c:v>0.20564302363207601</c:v>
                </c:pt>
                <c:pt idx="1627" formatCode="0.0%">
                  <c:v>0.2070790773961452</c:v>
                </c:pt>
                <c:pt idx="1628" formatCode="0.0%">
                  <c:v>0.20119788217485704</c:v>
                </c:pt>
                <c:pt idx="1629" formatCode="0.0%">
                  <c:v>0.20179713356438334</c:v>
                </c:pt>
                <c:pt idx="1630" formatCode="0.0%">
                  <c:v>0.19258097506865629</c:v>
                </c:pt>
                <c:pt idx="1631" formatCode="0.0%">
                  <c:v>0.19727995308525628</c:v>
                </c:pt>
                <c:pt idx="1632" formatCode="0.0%">
                  <c:v>0.1969014389878129</c:v>
                </c:pt>
                <c:pt idx="1633" formatCode="0.0%">
                  <c:v>0.21654029208839423</c:v>
                </c:pt>
                <c:pt idx="1634" formatCode="0.0%">
                  <c:v>0.24701320426646889</c:v>
                </c:pt>
                <c:pt idx="1635" formatCode="0.0%">
                  <c:v>0.24843010382843098</c:v>
                </c:pt>
                <c:pt idx="1636" formatCode="0.0%">
                  <c:v>0.23207296887034801</c:v>
                </c:pt>
                <c:pt idx="1637" formatCode="0.0%">
                  <c:v>0.35781649434481033</c:v>
                </c:pt>
                <c:pt idx="1638" formatCode="0.0%">
                  <c:v>0.37852078096374969</c:v>
                </c:pt>
                <c:pt idx="1639" formatCode="0.0%">
                  <c:v>0.38052835149013642</c:v>
                </c:pt>
                <c:pt idx="1640" formatCode="0.0%">
                  <c:v>0.38065153594841472</c:v>
                </c:pt>
                <c:pt idx="1641" formatCode="0.0%">
                  <c:v>0.40172532842815412</c:v>
                </c:pt>
                <c:pt idx="1642" formatCode="0.0%">
                  <c:v>0.39666906815921255</c:v>
                </c:pt>
                <c:pt idx="1643" formatCode="0.0%">
                  <c:v>0.39432932748657967</c:v>
                </c:pt>
                <c:pt idx="1644" formatCode="0.0%">
                  <c:v>0.3983434992326067</c:v>
                </c:pt>
                <c:pt idx="1645" formatCode="0.0%">
                  <c:v>0.39600346334861009</c:v>
                </c:pt>
                <c:pt idx="1646" formatCode="0.0%">
                  <c:v>0.402178170748755</c:v>
                </c:pt>
                <c:pt idx="1647" formatCode="0.0%">
                  <c:v>0.42584217160168858</c:v>
                </c:pt>
                <c:pt idx="1648" formatCode="0.0%">
                  <c:v>0.4298600650275109</c:v>
                </c:pt>
                <c:pt idx="1649" formatCode="0.0%">
                  <c:v>0.43962505808370461</c:v>
                </c:pt>
                <c:pt idx="1650" formatCode="0.0%">
                  <c:v>0.43993378177803716</c:v>
                </c:pt>
                <c:pt idx="1651" formatCode="0.0%">
                  <c:v>0.43395956988596174</c:v>
                </c:pt>
                <c:pt idx="1652" formatCode="0.0%">
                  <c:v>0.43534970999161909</c:v>
                </c:pt>
                <c:pt idx="1653" formatCode="0.0%">
                  <c:v>0.42557658931876885</c:v>
                </c:pt>
                <c:pt idx="1654" formatCode="0.0%">
                  <c:v>0.40171377529577529</c:v>
                </c:pt>
                <c:pt idx="1655" formatCode="0.0%">
                  <c:v>0.40906464824408528</c:v>
                </c:pt>
                <c:pt idx="1656" formatCode="0.0%">
                  <c:v>0.41537635291997355</c:v>
                </c:pt>
                <c:pt idx="1657" formatCode="0.0%">
                  <c:v>0.27807939436399076</c:v>
                </c:pt>
                <c:pt idx="1658" formatCode="0.0%">
                  <c:v>0.26919447337420649</c:v>
                </c:pt>
                <c:pt idx="1659" formatCode="0.0%">
                  <c:v>0.27700327434483213</c:v>
                </c:pt>
                <c:pt idx="1660" formatCode="0.0%">
                  <c:v>0.27883723010001799</c:v>
                </c:pt>
                <c:pt idx="1661" formatCode="0.0%">
                  <c:v>0.26282934457604135</c:v>
                </c:pt>
                <c:pt idx="1662" formatCode="0.0%">
                  <c:v>0.26577979227022835</c:v>
                </c:pt>
                <c:pt idx="1663" formatCode="0.0%">
                  <c:v>0.2613910499643961</c:v>
                </c:pt>
                <c:pt idx="1664" formatCode="0.0%">
                  <c:v>0.25084756931964425</c:v>
                </c:pt>
                <c:pt idx="1665" formatCode="0.0%">
                  <c:v>0.25538235724603536</c:v>
                </c:pt>
                <c:pt idx="1666" formatCode="0.0%">
                  <c:v>0.26369489218848241</c:v>
                </c:pt>
                <c:pt idx="1667" formatCode="0.0%">
                  <c:v>0.23731749823989901</c:v>
                </c:pt>
                <c:pt idx="1668" formatCode="0.0%">
                  <c:v>0.24081506530940777</c:v>
                </c:pt>
                <c:pt idx="1669" formatCode="0.0%">
                  <c:v>0.21795767882608327</c:v>
                </c:pt>
                <c:pt idx="1670" formatCode="0.0%">
                  <c:v>0.21804157744901204</c:v>
                </c:pt>
                <c:pt idx="1671" formatCode="0.0%">
                  <c:v>0.21743254790272534</c:v>
                </c:pt>
                <c:pt idx="1672" formatCode="0.0%">
                  <c:v>0.23463397658664448</c:v>
                </c:pt>
                <c:pt idx="1673" formatCode="0.0%">
                  <c:v>0.23456826748342624</c:v>
                </c:pt>
                <c:pt idx="1674" formatCode="0.0%">
                  <c:v>0.23678726286862711</c:v>
                </c:pt>
                <c:pt idx="1675" formatCode="0.0%">
                  <c:v>0.23871896108785148</c:v>
                </c:pt>
                <c:pt idx="1676" formatCode="0.0%">
                  <c:v>0.22102484913547504</c:v>
                </c:pt>
                <c:pt idx="1677" formatCode="0.0%">
                  <c:v>0.23637492932826462</c:v>
                </c:pt>
                <c:pt idx="1678" formatCode="0.0%">
                  <c:v>0.22415060758855088</c:v>
                </c:pt>
                <c:pt idx="1679" formatCode="0.0%">
                  <c:v>0.24592205861202479</c:v>
                </c:pt>
                <c:pt idx="1680" formatCode="0.0%">
                  <c:v>0.24623171254351384</c:v>
                </c:pt>
                <c:pt idx="1681" formatCode="0.0%">
                  <c:v>0.24773829869404076</c:v>
                </c:pt>
                <c:pt idx="1682" formatCode="0.0%">
                  <c:v>0.24779161915351697</c:v>
                </c:pt>
                <c:pt idx="1683" formatCode="0.0%">
                  <c:v>0.26633410836004329</c:v>
                </c:pt>
                <c:pt idx="1684" formatCode="0.0%">
                  <c:v>0.26514236983239931</c:v>
                </c:pt>
                <c:pt idx="1685" formatCode="0.0%">
                  <c:v>0.25696280269121219</c:v>
                </c:pt>
                <c:pt idx="1686" formatCode="0.0%">
                  <c:v>0.24723979925845577</c:v>
                </c:pt>
                <c:pt idx="1687" formatCode="0.0%">
                  <c:v>0.25528999704148575</c:v>
                </c:pt>
                <c:pt idx="1688" formatCode="0.0%">
                  <c:v>0.23999602644958112</c:v>
                </c:pt>
                <c:pt idx="1689" formatCode="0.0%">
                  <c:v>0.24331356037993226</c:v>
                </c:pt>
                <c:pt idx="1690" formatCode="0.0%">
                  <c:v>0.26044593228691215</c:v>
                </c:pt>
                <c:pt idx="1691" formatCode="0.0%">
                  <c:v>0.26266880084006683</c:v>
                </c:pt>
                <c:pt idx="1692" formatCode="0.0%">
                  <c:v>0.25088959910258152</c:v>
                </c:pt>
                <c:pt idx="1693" formatCode="0.0%">
                  <c:v>0.25118274549130726</c:v>
                </c:pt>
                <c:pt idx="1694" formatCode="0.0%">
                  <c:v>0.25063097121707467</c:v>
                </c:pt>
                <c:pt idx="1695" formatCode="0.0%">
                  <c:v>0.23772806013805808</c:v>
                </c:pt>
                <c:pt idx="1696" formatCode="0.0%">
                  <c:v>0.23866896519458733</c:v>
                </c:pt>
                <c:pt idx="1697" formatCode="0.0%">
                  <c:v>0.22810155607805566</c:v>
                </c:pt>
                <c:pt idx="1698" formatCode="0.0%">
                  <c:v>0.22745191514367805</c:v>
                </c:pt>
                <c:pt idx="1699" formatCode="0.0%">
                  <c:v>0.21272951316329664</c:v>
                </c:pt>
                <c:pt idx="1700" formatCode="0.0%">
                  <c:v>0.22723840937418974</c:v>
                </c:pt>
                <c:pt idx="1701" formatCode="0.0%">
                  <c:v>0.22853025401932028</c:v>
                </c:pt>
                <c:pt idx="1702" formatCode="0.0%">
                  <c:v>0.22636641737563726</c:v>
                </c:pt>
                <c:pt idx="1703" formatCode="0.0%">
                  <c:v>0.20469095089209191</c:v>
                </c:pt>
                <c:pt idx="1704" formatCode="0.0%">
                  <c:v>0.20446697903523381</c:v>
                </c:pt>
                <c:pt idx="1705" formatCode="0.0%">
                  <c:v>0.20474187237110206</c:v>
                </c:pt>
                <c:pt idx="1706" formatCode="0.0%">
                  <c:v>0.20884640435238341</c:v>
                </c:pt>
                <c:pt idx="1707" formatCode="0.0%">
                  <c:v>0.20481998348112807</c:v>
                </c:pt>
                <c:pt idx="1708" formatCode="0.0%">
                  <c:v>0.21197019882172488</c:v>
                </c:pt>
                <c:pt idx="1709" formatCode="0.0%">
                  <c:v>0.21033309715290627</c:v>
                </c:pt>
                <c:pt idx="1710" formatCode="0.0%">
                  <c:v>0.20011159964399475</c:v>
                </c:pt>
                <c:pt idx="1711" formatCode="0.0%">
                  <c:v>0.1972658841595982</c:v>
                </c:pt>
                <c:pt idx="1712" formatCode="0.0%">
                  <c:v>0.18154301558576336</c:v>
                </c:pt>
                <c:pt idx="1713" formatCode="0.0%">
                  <c:v>0.17898892928575807</c:v>
                </c:pt>
                <c:pt idx="1714" formatCode="0.0%">
                  <c:v>0.18076134536686858</c:v>
                </c:pt>
                <c:pt idx="1715" formatCode="0.0%">
                  <c:v>0.18293597124018002</c:v>
                </c:pt>
                <c:pt idx="1716" formatCode="0.0%">
                  <c:v>0.18267899964612963</c:v>
                </c:pt>
                <c:pt idx="1717" formatCode="0.0%">
                  <c:v>0.18345568491011488</c:v>
                </c:pt>
                <c:pt idx="1718" formatCode="0.0%">
                  <c:v>0.18339586518576118</c:v>
                </c:pt>
                <c:pt idx="1719" formatCode="0.0%">
                  <c:v>0.18082334458421373</c:v>
                </c:pt>
                <c:pt idx="1720" formatCode="0.0%">
                  <c:v>0.17983771296375417</c:v>
                </c:pt>
                <c:pt idx="1721" formatCode="0.0%">
                  <c:v>0.17386764024332468</c:v>
                </c:pt>
                <c:pt idx="1722" formatCode="0.0%">
                  <c:v>0.17344785622615308</c:v>
                </c:pt>
                <c:pt idx="1723" formatCode="0.0%">
                  <c:v>0.17409238795773341</c:v>
                </c:pt>
                <c:pt idx="1724" formatCode="0.0%">
                  <c:v>0.18521251858879365</c:v>
                </c:pt>
                <c:pt idx="1725" formatCode="0.0%">
                  <c:v>0.18335035553064899</c:v>
                </c:pt>
                <c:pt idx="1726" formatCode="0.0%">
                  <c:v>0.18206116486335913</c:v>
                </c:pt>
                <c:pt idx="1727" formatCode="0.0%">
                  <c:v>0.1763884885234239</c:v>
                </c:pt>
                <c:pt idx="1728" formatCode="0.0%">
                  <c:v>0.17016700888256378</c:v>
                </c:pt>
                <c:pt idx="1729" formatCode="0.0%">
                  <c:v>0.17259162923490443</c:v>
                </c:pt>
                <c:pt idx="1730" formatCode="0.0%">
                  <c:v>0.17497340084852009</c:v>
                </c:pt>
                <c:pt idx="1731" formatCode="0.0%">
                  <c:v>0.17316520903153002</c:v>
                </c:pt>
                <c:pt idx="1732" formatCode="0.0%">
                  <c:v>0.17384508230015935</c:v>
                </c:pt>
                <c:pt idx="1733" formatCode="0.0%">
                  <c:v>0.17303701505718982</c:v>
                </c:pt>
                <c:pt idx="1734" formatCode="0.0%">
                  <c:v>0.17344398302520658</c:v>
                </c:pt>
                <c:pt idx="1735" formatCode="0.0%">
                  <c:v>0.17045422856998416</c:v>
                </c:pt>
                <c:pt idx="1736" formatCode="0.0%">
                  <c:v>0.1773154222282835</c:v>
                </c:pt>
                <c:pt idx="1737" formatCode="0.0%">
                  <c:v>0.17676939111588469</c:v>
                </c:pt>
                <c:pt idx="1738" formatCode="0.0%">
                  <c:v>0.17614989948053666</c:v>
                </c:pt>
                <c:pt idx="1739" formatCode="0.0%">
                  <c:v>0.17044561357691598</c:v>
                </c:pt>
                <c:pt idx="1740" formatCode="0.0%">
                  <c:v>0.13651116850118264</c:v>
                </c:pt>
                <c:pt idx="1741" formatCode="0.0%">
                  <c:v>0.13444931737503488</c:v>
                </c:pt>
                <c:pt idx="1742" formatCode="0.0%">
                  <c:v>0.18744276320104949</c:v>
                </c:pt>
                <c:pt idx="1743" formatCode="0.0%">
                  <c:v>0.19091798523117864</c:v>
                </c:pt>
                <c:pt idx="1744" formatCode="0.0%">
                  <c:v>0.18413346185058305</c:v>
                </c:pt>
                <c:pt idx="1745" formatCode="0.0%">
                  <c:v>0.18245794006660759</c:v>
                </c:pt>
                <c:pt idx="1746" formatCode="0.0%">
                  <c:v>0.18003595197570299</c:v>
                </c:pt>
                <c:pt idx="1747" formatCode="0.0%">
                  <c:v>0.18186461188042471</c:v>
                </c:pt>
                <c:pt idx="1748" formatCode="0.0%">
                  <c:v>0.18415750229332672</c:v>
                </c:pt>
                <c:pt idx="1749" formatCode="0.0%">
                  <c:v>0.17987985153467972</c:v>
                </c:pt>
                <c:pt idx="1750" formatCode="0.0%">
                  <c:v>0.16234048170023022</c:v>
                </c:pt>
                <c:pt idx="1751" formatCode="0.0%">
                  <c:v>0.17983863671151903</c:v>
                </c:pt>
                <c:pt idx="1752" formatCode="0.0%">
                  <c:v>0.18158368730537694</c:v>
                </c:pt>
                <c:pt idx="1753" formatCode="0.0%">
                  <c:v>0.19964276612336879</c:v>
                </c:pt>
                <c:pt idx="1754" formatCode="0.0%">
                  <c:v>0.20644061035552935</c:v>
                </c:pt>
                <c:pt idx="1755" formatCode="0.0%">
                  <c:v>0.207105885167958</c:v>
                </c:pt>
                <c:pt idx="1756" formatCode="0.0%">
                  <c:v>0.20064670953114921</c:v>
                </c:pt>
                <c:pt idx="1757" formatCode="0.0%">
                  <c:v>0.20357837933836867</c:v>
                </c:pt>
                <c:pt idx="1758" formatCode="0.0%">
                  <c:v>0.2066512296559157</c:v>
                </c:pt>
                <c:pt idx="1759" formatCode="0.0%">
                  <c:v>0.20507467488556583</c:v>
                </c:pt>
                <c:pt idx="1760" formatCode="0.0%">
                  <c:v>0.20412246038108284</c:v>
                </c:pt>
                <c:pt idx="1761" formatCode="0.0%">
                  <c:v>0.20482479719398472</c:v>
                </c:pt>
                <c:pt idx="1762" formatCode="0.0%">
                  <c:v>0.16538262311472654</c:v>
                </c:pt>
                <c:pt idx="1763" formatCode="0.0%">
                  <c:v>0.16206592925889934</c:v>
                </c:pt>
                <c:pt idx="1764" formatCode="0.0%">
                  <c:v>0.16426247929878132</c:v>
                </c:pt>
                <c:pt idx="1765" formatCode="0.0%">
                  <c:v>0.16756993635219691</c:v>
                </c:pt>
                <c:pt idx="1766" formatCode="0.0%">
                  <c:v>0.16795034151633803</c:v>
                </c:pt>
                <c:pt idx="1767" formatCode="0.0%">
                  <c:v>0.16441251090353889</c:v>
                </c:pt>
                <c:pt idx="1768" formatCode="0.0%">
                  <c:v>0.16417234498175567</c:v>
                </c:pt>
                <c:pt idx="1769" formatCode="0.0%">
                  <c:v>0.16525766816310516</c:v>
                </c:pt>
                <c:pt idx="1770" formatCode="0.0%">
                  <c:v>0.17018137729091681</c:v>
                </c:pt>
                <c:pt idx="1771" formatCode="0.0%">
                  <c:v>0.17116070457780086</c:v>
                </c:pt>
                <c:pt idx="1772" formatCode="0.0%">
                  <c:v>0.16886505534256299</c:v>
                </c:pt>
                <c:pt idx="1773" formatCode="0.0%">
                  <c:v>0.14687776042048578</c:v>
                </c:pt>
                <c:pt idx="1774" formatCode="0.0%">
                  <c:v>0.1354249012917822</c:v>
                </c:pt>
                <c:pt idx="1775" formatCode="0.0%">
                  <c:v>0.13603388507450842</c:v>
                </c:pt>
                <c:pt idx="1776" formatCode="0.0%">
                  <c:v>0.17433530896131613</c:v>
                </c:pt>
                <c:pt idx="1777" formatCode="0.0%">
                  <c:v>0.18013207744324458</c:v>
                </c:pt>
                <c:pt idx="1778" formatCode="0.0%">
                  <c:v>0.18682662973440675</c:v>
                </c:pt>
                <c:pt idx="1779" formatCode="0.0%">
                  <c:v>0.18679901025749632</c:v>
                </c:pt>
                <c:pt idx="1780" formatCode="0.0%">
                  <c:v>0.19887183386423823</c:v>
                </c:pt>
                <c:pt idx="1781" formatCode="0.0%">
                  <c:v>0.19905239063643526</c:v>
                </c:pt>
                <c:pt idx="1782" formatCode="0.0%">
                  <c:v>0.19204286106413287</c:v>
                </c:pt>
                <c:pt idx="1783" formatCode="0.0%">
                  <c:v>0.19015384785993003</c:v>
                </c:pt>
                <c:pt idx="1784" formatCode="0.0%">
                  <c:v>0.19022784436875381</c:v>
                </c:pt>
                <c:pt idx="1785" formatCode="0.0%">
                  <c:v>0.1884628684104834</c:v>
                </c:pt>
                <c:pt idx="1786" formatCode="0.0%">
                  <c:v>0.21127149109770221</c:v>
                </c:pt>
                <c:pt idx="1787" formatCode="0.0%">
                  <c:v>0.21092032907090946</c:v>
                </c:pt>
                <c:pt idx="1788" formatCode="0.0%">
                  <c:v>0.21596860186605502</c:v>
                </c:pt>
                <c:pt idx="1789" formatCode="0.0%">
                  <c:v>0.21433060217579464</c:v>
                </c:pt>
                <c:pt idx="1790" formatCode="0.0%">
                  <c:v>0.22796855970108246</c:v>
                </c:pt>
                <c:pt idx="1791" formatCode="0.0%">
                  <c:v>0.22193880912203565</c:v>
                </c:pt>
                <c:pt idx="1792" formatCode="0.0%">
                  <c:v>0.2237096312744413</c:v>
                </c:pt>
                <c:pt idx="1793" formatCode="0.0%">
                  <c:v>0.22665312414346225</c:v>
                </c:pt>
                <c:pt idx="1794" formatCode="0.0%">
                  <c:v>0.24483766616851696</c:v>
                </c:pt>
                <c:pt idx="1795" formatCode="0.0%">
                  <c:v>0.24285084628056339</c:v>
                </c:pt>
                <c:pt idx="1796" formatCode="0.0%">
                  <c:v>0.21707116174703509</c:v>
                </c:pt>
                <c:pt idx="1797" formatCode="0.0%">
                  <c:v>0.21437164479734838</c:v>
                </c:pt>
                <c:pt idx="1798" formatCode="0.0%">
                  <c:v>0.22859242899259355</c:v>
                </c:pt>
                <c:pt idx="1799" formatCode="0.0%">
                  <c:v>0.23816141075553013</c:v>
                </c:pt>
                <c:pt idx="1800" formatCode="0.0%">
                  <c:v>0.23407394459321504</c:v>
                </c:pt>
                <c:pt idx="1801" formatCode="0.0%">
                  <c:v>0.2333466482028706</c:v>
                </c:pt>
                <c:pt idx="1802" formatCode="0.0%">
                  <c:v>0.23716851967305752</c:v>
                </c:pt>
                <c:pt idx="1803" formatCode="0.0%">
                  <c:v>0.23701407122476356</c:v>
                </c:pt>
                <c:pt idx="1804" formatCode="0.0%">
                  <c:v>0.23551471426721654</c:v>
                </c:pt>
                <c:pt idx="1805" formatCode="0.0%">
                  <c:v>0.23843549709060496</c:v>
                </c:pt>
                <c:pt idx="1806" formatCode="0.0%">
                  <c:v>0.21494505786782048</c:v>
                </c:pt>
                <c:pt idx="1807" formatCode="0.0%">
                  <c:v>0.2149437502077024</c:v>
                </c:pt>
                <c:pt idx="1808" formatCode="0.0%">
                  <c:v>0.21323183810895796</c:v>
                </c:pt>
                <c:pt idx="1809" formatCode="0.0%">
                  <c:v>0.2294771296408038</c:v>
                </c:pt>
                <c:pt idx="1810" formatCode="0.0%">
                  <c:v>0.20546177304383018</c:v>
                </c:pt>
                <c:pt idx="1811" formatCode="0.0%">
                  <c:v>0.19476322760942452</c:v>
                </c:pt>
                <c:pt idx="1812" formatCode="0.0%">
                  <c:v>0.19739305945298119</c:v>
                </c:pt>
                <c:pt idx="1813" formatCode="0.0%">
                  <c:v>0.18648091695038549</c:v>
                </c:pt>
                <c:pt idx="1814" formatCode="0.0%">
                  <c:v>0.17833916769834562</c:v>
                </c:pt>
                <c:pt idx="1815" formatCode="0.0%">
                  <c:v>0.17716781381642702</c:v>
                </c:pt>
                <c:pt idx="1816" formatCode="0.0%">
                  <c:v>0.17436561119746752</c:v>
                </c:pt>
                <c:pt idx="1817" formatCode="0.0%">
                  <c:v>0.18796666515533236</c:v>
                </c:pt>
                <c:pt idx="1818" formatCode="0.0%">
                  <c:v>0.18226531461199727</c:v>
                </c:pt>
                <c:pt idx="1819" formatCode="0.0%">
                  <c:v>0.19930200873717877</c:v>
                </c:pt>
                <c:pt idx="1820" formatCode="0.0%">
                  <c:v>0.18483204524018634</c:v>
                </c:pt>
                <c:pt idx="1821" formatCode="0.0%">
                  <c:v>0.18992191372050904</c:v>
                </c:pt>
                <c:pt idx="1822" formatCode="0.0%">
                  <c:v>0.19081864939427434</c:v>
                </c:pt>
                <c:pt idx="1823" formatCode="0.0%">
                  <c:v>0.19344052544276555</c:v>
                </c:pt>
                <c:pt idx="1824" formatCode="0.0%">
                  <c:v>0.19386573114555467</c:v>
                </c:pt>
                <c:pt idx="1825" formatCode="0.0%">
                  <c:v>0.20183028476627857</c:v>
                </c:pt>
                <c:pt idx="1826" formatCode="0.0%">
                  <c:v>0.20225701111402136</c:v>
                </c:pt>
                <c:pt idx="1827" formatCode="0.0%">
                  <c:v>0.20080521524185233</c:v>
                </c:pt>
                <c:pt idx="1828" formatCode="0.0%">
                  <c:v>0.20394288001695487</c:v>
                </c:pt>
                <c:pt idx="1829" formatCode="0.0%">
                  <c:v>0.19096450975291732</c:v>
                </c:pt>
                <c:pt idx="1830" formatCode="0.0%">
                  <c:v>0.1925946519427203</c:v>
                </c:pt>
                <c:pt idx="1831" formatCode="0.0%">
                  <c:v>0.20608952985638981</c:v>
                </c:pt>
                <c:pt idx="1832" formatCode="0.0%">
                  <c:v>0.20374011414447599</c:v>
                </c:pt>
                <c:pt idx="1833" formatCode="0.0%">
                  <c:v>0.20042524511722709</c:v>
                </c:pt>
                <c:pt idx="1834" formatCode="0.0%">
                  <c:v>0.19900816202511995</c:v>
                </c:pt>
                <c:pt idx="1835" formatCode="0.0%">
                  <c:v>0.19077733131907029</c:v>
                </c:pt>
                <c:pt idx="1836" formatCode="0.0%">
                  <c:v>0.19093652660271798</c:v>
                </c:pt>
                <c:pt idx="1837" formatCode="0.0%">
                  <c:v>0.18803254409637105</c:v>
                </c:pt>
                <c:pt idx="1838" formatCode="0.0%">
                  <c:v>0.18719117065439875</c:v>
                </c:pt>
                <c:pt idx="1839" formatCode="0.0%">
                  <c:v>0.17195834200361709</c:v>
                </c:pt>
                <c:pt idx="1840" formatCode="0.0%">
                  <c:v>0.17353127721512357</c:v>
                </c:pt>
                <c:pt idx="1841" formatCode="0.0%">
                  <c:v>0.16422108516644551</c:v>
                </c:pt>
                <c:pt idx="1842" formatCode="0.0%">
                  <c:v>0.16097917576944445</c:v>
                </c:pt>
                <c:pt idx="1843" formatCode="0.0%">
                  <c:v>0.16144990787640895</c:v>
                </c:pt>
                <c:pt idx="1844" formatCode="0.0%">
                  <c:v>0.16089359019207272</c:v>
                </c:pt>
                <c:pt idx="1845" formatCode="0.0%">
                  <c:v>0.17006244330078713</c:v>
                </c:pt>
                <c:pt idx="1846" formatCode="0.0%">
                  <c:v>0.18132619382565776</c:v>
                </c:pt>
                <c:pt idx="1847" formatCode="0.0%">
                  <c:v>0.18764600025445038</c:v>
                </c:pt>
                <c:pt idx="1848" formatCode="0.0%">
                  <c:v>0.18225235570789308</c:v>
                </c:pt>
                <c:pt idx="1849" formatCode="0.0%">
                  <c:v>0.20134089755345147</c:v>
                </c:pt>
                <c:pt idx="1850" formatCode="0.0%">
                  <c:v>0.20020435328458702</c:v>
                </c:pt>
                <c:pt idx="1851" formatCode="0.0%">
                  <c:v>0.17837746984983682</c:v>
                </c:pt>
                <c:pt idx="1852" formatCode="0.0%">
                  <c:v>0.17896642178100086</c:v>
                </c:pt>
                <c:pt idx="1853" formatCode="0.0%">
                  <c:v>0.18317788658796105</c:v>
                </c:pt>
                <c:pt idx="1854" formatCode="0.0%">
                  <c:v>0.18524769439226912</c:v>
                </c:pt>
                <c:pt idx="1855" formatCode="0.0%">
                  <c:v>0.18774470055774128</c:v>
                </c:pt>
                <c:pt idx="1856" formatCode="0.0%">
                  <c:v>0.18847474763053723</c:v>
                </c:pt>
                <c:pt idx="1857" formatCode="0.0%">
                  <c:v>0.17517279185865134</c:v>
                </c:pt>
                <c:pt idx="1858" formatCode="0.0%">
                  <c:v>0.17461462366988309</c:v>
                </c:pt>
                <c:pt idx="1859" formatCode="0.0%">
                  <c:v>0.1682540721212023</c:v>
                </c:pt>
                <c:pt idx="1860" formatCode="0.0%">
                  <c:v>0.16769712819085852</c:v>
                </c:pt>
                <c:pt idx="1861" formatCode="0.0%">
                  <c:v>0.1686644371051951</c:v>
                </c:pt>
                <c:pt idx="1862" formatCode="0.0%">
                  <c:v>0.18584063294824921</c:v>
                </c:pt>
                <c:pt idx="1863" formatCode="0.0%">
                  <c:v>0.18581293739184773</c:v>
                </c:pt>
                <c:pt idx="1864" formatCode="0.0%">
                  <c:v>0.19497730213574144</c:v>
                </c:pt>
                <c:pt idx="1865" formatCode="0.0%">
                  <c:v>0.18764663770148607</c:v>
                </c:pt>
                <c:pt idx="1866" formatCode="0.0%">
                  <c:v>0.17707701374720919</c:v>
                </c:pt>
                <c:pt idx="1867" formatCode="0.0%">
                  <c:v>0.17071613249247206</c:v>
                </c:pt>
                <c:pt idx="1868" formatCode="0.0%">
                  <c:v>0.16925711540972713</c:v>
                </c:pt>
                <c:pt idx="1869" formatCode="0.0%">
                  <c:v>0.14700929887718525</c:v>
                </c:pt>
                <c:pt idx="1870" formatCode="0.0%">
                  <c:v>0.14725601337688349</c:v>
                </c:pt>
                <c:pt idx="1871" formatCode="0.0%">
                  <c:v>0.14655333186256708</c:v>
                </c:pt>
                <c:pt idx="1872" formatCode="0.0%">
                  <c:v>0.14988683586459114</c:v>
                </c:pt>
                <c:pt idx="1873" formatCode="0.0%">
                  <c:v>0.14800779011214296</c:v>
                </c:pt>
                <c:pt idx="1874" formatCode="0.0%">
                  <c:v>0.146672305879924</c:v>
                </c:pt>
                <c:pt idx="1875" formatCode="0.0%">
                  <c:v>0.15007915018894083</c:v>
                </c:pt>
                <c:pt idx="1876" formatCode="0.0%">
                  <c:v>0.15174091965332262</c:v>
                </c:pt>
                <c:pt idx="1877" formatCode="0.0%">
                  <c:v>0.14982827910237723</c:v>
                </c:pt>
                <c:pt idx="1878" formatCode="0.0%">
                  <c:v>0.14967301512478606</c:v>
                </c:pt>
                <c:pt idx="1879" formatCode="0.0%">
                  <c:v>0.14932570690937327</c:v>
                </c:pt>
                <c:pt idx="1880" formatCode="0.0%">
                  <c:v>0.14761355801901371</c:v>
                </c:pt>
                <c:pt idx="1881" formatCode="0.0%">
                  <c:v>0.14733457116212015</c:v>
                </c:pt>
                <c:pt idx="1882" formatCode="0.0%">
                  <c:v>0.13960535865131679</c:v>
                </c:pt>
                <c:pt idx="1883" formatCode="0.0%">
                  <c:v>0.13754896432452221</c:v>
                </c:pt>
                <c:pt idx="1884" formatCode="0.0%">
                  <c:v>0.12561077051460245</c:v>
                </c:pt>
                <c:pt idx="1885" formatCode="0.0%">
                  <c:v>0.12346814743514989</c:v>
                </c:pt>
                <c:pt idx="1886" formatCode="0.0%">
                  <c:v>0.12065963826409519</c:v>
                </c:pt>
                <c:pt idx="1887" formatCode="0.0%">
                  <c:v>0.13860221558350538</c:v>
                </c:pt>
                <c:pt idx="1888" formatCode="0.0%">
                  <c:v>0.14591738622220723</c:v>
                </c:pt>
                <c:pt idx="1889" formatCode="0.0%">
                  <c:v>0.14954347164891174</c:v>
                </c:pt>
                <c:pt idx="1890" formatCode="0.0%">
                  <c:v>0.15150786537266178</c:v>
                </c:pt>
                <c:pt idx="1891" formatCode="0.0%">
                  <c:v>0.15333155263694168</c:v>
                </c:pt>
                <c:pt idx="1892" formatCode="0.0%">
                  <c:v>0.16604789466214431</c:v>
                </c:pt>
                <c:pt idx="1893" formatCode="0.0%">
                  <c:v>0.16430515054004965</c:v>
                </c:pt>
                <c:pt idx="1894" formatCode="0.0%">
                  <c:v>0.16389776762555286</c:v>
                </c:pt>
                <c:pt idx="1895" formatCode="0.0%">
                  <c:v>0.15662741066499181</c:v>
                </c:pt>
                <c:pt idx="1896" formatCode="0.0%">
                  <c:v>0.1717129022783935</c:v>
                </c:pt>
                <c:pt idx="1897" formatCode="0.0%">
                  <c:v>0.17135927337455722</c:v>
                </c:pt>
                <c:pt idx="1898" formatCode="0.0%">
                  <c:v>0.17114804882417442</c:v>
                </c:pt>
                <c:pt idx="1899" formatCode="0.0%">
                  <c:v>0.17196443342968426</c:v>
                </c:pt>
                <c:pt idx="1900" formatCode="0.0%">
                  <c:v>0.17992840736596011</c:v>
                </c:pt>
                <c:pt idx="1901" formatCode="0.0%">
                  <c:v>0.17531557169172951</c:v>
                </c:pt>
                <c:pt idx="1902" formatCode="0.0%">
                  <c:v>0.18743324435790396</c:v>
                </c:pt>
                <c:pt idx="1903" formatCode="0.0%">
                  <c:v>0.18688655081027808</c:v>
                </c:pt>
                <c:pt idx="1904" formatCode="0.0%">
                  <c:v>0.18733507067474051</c:v>
                </c:pt>
                <c:pt idx="1905" formatCode="0.0%">
                  <c:v>0.18055578119658688</c:v>
                </c:pt>
                <c:pt idx="1906" formatCode="0.0%">
                  <c:v>0.18184629617249898</c:v>
                </c:pt>
                <c:pt idx="1907" formatCode="0.0%">
                  <c:v>0.17128100815493102</c:v>
                </c:pt>
                <c:pt idx="1908" formatCode="0.0%">
                  <c:v>0.20252754416344429</c:v>
                </c:pt>
                <c:pt idx="1909" formatCode="0.0%">
                  <c:v>0.1977126130997954</c:v>
                </c:pt>
                <c:pt idx="1910" formatCode="0.0%">
                  <c:v>0.19837396781942149</c:v>
                </c:pt>
                <c:pt idx="1911" formatCode="0.0%">
                  <c:v>0.19651704705101661</c:v>
                </c:pt>
                <c:pt idx="1912" formatCode="0.0%">
                  <c:v>0.18002046249698486</c:v>
                </c:pt>
                <c:pt idx="1913" formatCode="0.0%">
                  <c:v>0.18598362498696058</c:v>
                </c:pt>
                <c:pt idx="1914" formatCode="0.0%">
                  <c:v>0.18848561313971535</c:v>
                </c:pt>
                <c:pt idx="1915" formatCode="0.0%">
                  <c:v>0.19511643734251632</c:v>
                </c:pt>
                <c:pt idx="1916" formatCode="0.0%">
                  <c:v>0.17978415128786826</c:v>
                </c:pt>
                <c:pt idx="1917" formatCode="0.0%">
                  <c:v>0.1791679018932951</c:v>
                </c:pt>
                <c:pt idx="1918" formatCode="0.0%">
                  <c:v>0.17884825314676722</c:v>
                </c:pt>
                <c:pt idx="1919" formatCode="0.0%">
                  <c:v>0.18460111099615717</c:v>
                </c:pt>
                <c:pt idx="1920" formatCode="0.0%">
                  <c:v>0.17938931745730879</c:v>
                </c:pt>
                <c:pt idx="1921" formatCode="0.0%">
                  <c:v>0.1791787269439338</c:v>
                </c:pt>
                <c:pt idx="1922" formatCode="0.0%">
                  <c:v>0.16389384271040888</c:v>
                </c:pt>
                <c:pt idx="1923" formatCode="0.0%">
                  <c:v>0.16583868515017805</c:v>
                </c:pt>
                <c:pt idx="1924" formatCode="0.0%">
                  <c:v>0.18096150624417556</c:v>
                </c:pt>
                <c:pt idx="1925" formatCode="0.0%">
                  <c:v>0.20604600416296812</c:v>
                </c:pt>
                <c:pt idx="1926" formatCode="0.0%">
                  <c:v>0.21169675941568505</c:v>
                </c:pt>
                <c:pt idx="1927" formatCode="0.0%">
                  <c:v>0.21421272277191647</c:v>
                </c:pt>
                <c:pt idx="1928" formatCode="0.0%">
                  <c:v>0.18165941960496224</c:v>
                </c:pt>
                <c:pt idx="1929" formatCode="0.0%">
                  <c:v>0.18126272020736375</c:v>
                </c:pt>
                <c:pt idx="1930" formatCode="0.0%">
                  <c:v>0.18132154446661497</c:v>
                </c:pt>
                <c:pt idx="1931" formatCode="0.0%">
                  <c:v>0.1805726743157326</c:v>
                </c:pt>
                <c:pt idx="1932" formatCode="0.0%">
                  <c:v>0.18429816573554628</c:v>
                </c:pt>
                <c:pt idx="1933" formatCode="0.0%">
                  <c:v>0.21603434760377319</c:v>
                </c:pt>
                <c:pt idx="1934" formatCode="0.0%">
                  <c:v>0.21973805121163356</c:v>
                </c:pt>
                <c:pt idx="1935" formatCode="0.0%">
                  <c:v>0.21426827902137763</c:v>
                </c:pt>
                <c:pt idx="1936" formatCode="0.0%">
                  <c:v>0.2186974310897333</c:v>
                </c:pt>
                <c:pt idx="1937" formatCode="0.0%">
                  <c:v>0.21669907567909827</c:v>
                </c:pt>
                <c:pt idx="1938" formatCode="0.0%">
                  <c:v>0.21677507462369194</c:v>
                </c:pt>
                <c:pt idx="1939" formatCode="0.0%">
                  <c:v>0.22613496236784988</c:v>
                </c:pt>
                <c:pt idx="1940" formatCode="0.0%">
                  <c:v>0.22606234678260054</c:v>
                </c:pt>
                <c:pt idx="1941" formatCode="0.0%">
                  <c:v>0.22800475471043852</c:v>
                </c:pt>
                <c:pt idx="1942" formatCode="0.0%">
                  <c:v>0.22898256380801196</c:v>
                </c:pt>
                <c:pt idx="1943" formatCode="0.0%">
                  <c:v>0.22790946300563292</c:v>
                </c:pt>
                <c:pt idx="1944" formatCode="0.0%">
                  <c:v>0.21537338982307477</c:v>
                </c:pt>
                <c:pt idx="1945" formatCode="0.0%">
                  <c:v>0.1869921971030461</c:v>
                </c:pt>
                <c:pt idx="1946" formatCode="0.0%">
                  <c:v>0.21159930867787868</c:v>
                </c:pt>
                <c:pt idx="1947" formatCode="0.0%">
                  <c:v>0.20911977132925691</c:v>
                </c:pt>
                <c:pt idx="1948" formatCode="0.0%">
                  <c:v>0.20944898473921084</c:v>
                </c:pt>
                <c:pt idx="1949" formatCode="0.0%">
                  <c:v>0.20984600160790723</c:v>
                </c:pt>
                <c:pt idx="1950" formatCode="0.0%">
                  <c:v>0.210027576956902</c:v>
                </c:pt>
                <c:pt idx="1951" formatCode="0.0%">
                  <c:v>0.21004041856026576</c:v>
                </c:pt>
                <c:pt idx="1952" formatCode="0.0%">
                  <c:v>0.20501313968166782</c:v>
                </c:pt>
                <c:pt idx="1953" formatCode="0.0%">
                  <c:v>0.15619546307489718</c:v>
                </c:pt>
                <c:pt idx="1954" formatCode="0.0%">
                  <c:v>0.15299517753361119</c:v>
                </c:pt>
                <c:pt idx="1955" formatCode="0.0%">
                  <c:v>0.15441423819892017</c:v>
                </c:pt>
                <c:pt idx="1956" formatCode="0.0%">
                  <c:v>0.1508027484407955</c:v>
                </c:pt>
                <c:pt idx="1957" formatCode="0.0%">
                  <c:v>0.15255479179725578</c:v>
                </c:pt>
                <c:pt idx="1958" formatCode="0.0%">
                  <c:v>0.15640273426340484</c:v>
                </c:pt>
                <c:pt idx="1959" formatCode="0.0%">
                  <c:v>0.14747962248489088</c:v>
                </c:pt>
                <c:pt idx="1960" formatCode="0.0%">
                  <c:v>0.15442133857599916</c:v>
                </c:pt>
                <c:pt idx="1961" formatCode="0.0%">
                  <c:v>0.15480407443844027</c:v>
                </c:pt>
                <c:pt idx="1962" formatCode="0.0%">
                  <c:v>0.16247956507085323</c:v>
                </c:pt>
                <c:pt idx="1963" formatCode="0.0%">
                  <c:v>0.15897006567096691</c:v>
                </c:pt>
                <c:pt idx="1964" formatCode="0.0%">
                  <c:v>0.15469822304378394</c:v>
                </c:pt>
                <c:pt idx="1965" formatCode="0.0%">
                  <c:v>0.15313538935990378</c:v>
                </c:pt>
                <c:pt idx="1966" formatCode="0.0%">
                  <c:v>0.13668392037002064</c:v>
                </c:pt>
                <c:pt idx="1967" formatCode="0.0%">
                  <c:v>0.1380263313499448</c:v>
                </c:pt>
                <c:pt idx="1968" formatCode="0.0%">
                  <c:v>0.16498317879256277</c:v>
                </c:pt>
                <c:pt idx="1969" formatCode="0.0%">
                  <c:v>0.16400951217003859</c:v>
                </c:pt>
                <c:pt idx="1970" formatCode="0.0%">
                  <c:v>0.17393168139620538</c:v>
                </c:pt>
                <c:pt idx="1971" formatCode="0.0%">
                  <c:v>0.17501286780833766</c:v>
                </c:pt>
                <c:pt idx="1972" formatCode="0.0%">
                  <c:v>0.1816809099228108</c:v>
                </c:pt>
                <c:pt idx="1973" formatCode="0.0%">
                  <c:v>0.18857373622421719</c:v>
                </c:pt>
                <c:pt idx="1974" formatCode="0.0%">
                  <c:v>0.20833141611396219</c:v>
                </c:pt>
                <c:pt idx="1975" formatCode="0.0%">
                  <c:v>0.20654521008214416</c:v>
                </c:pt>
                <c:pt idx="1976" formatCode="0.0%">
                  <c:v>0.20713270857794011</c:v>
                </c:pt>
                <c:pt idx="1977" formatCode="0.0%">
                  <c:v>0.19795462434374644</c:v>
                </c:pt>
                <c:pt idx="1978" formatCode="0.0%">
                  <c:v>0.20122645577444986</c:v>
                </c:pt>
                <c:pt idx="1979" formatCode="0.0%">
                  <c:v>0.21081692742513192</c:v>
                </c:pt>
                <c:pt idx="1980" formatCode="0.0%">
                  <c:v>0.20820950036336186</c:v>
                </c:pt>
                <c:pt idx="1981" formatCode="0.0%">
                  <c:v>0.21096469131923234</c:v>
                </c:pt>
                <c:pt idx="1982" formatCode="0.0%">
                  <c:v>0.20169576623671434</c:v>
                </c:pt>
                <c:pt idx="1983" formatCode="0.0%">
                  <c:v>0.20228078156910478</c:v>
                </c:pt>
                <c:pt idx="1984" formatCode="0.0%">
                  <c:v>0.20901629295854687</c:v>
                </c:pt>
                <c:pt idx="1985" formatCode="0.0%">
                  <c:v>0.20147368828008827</c:v>
                </c:pt>
                <c:pt idx="1986" formatCode="0.0%">
                  <c:v>0.19794461566432661</c:v>
                </c:pt>
                <c:pt idx="1987" formatCode="0.0%">
                  <c:v>0.19559516348529765</c:v>
                </c:pt>
                <c:pt idx="1988" formatCode="0.0%">
                  <c:v>0.18401589824602874</c:v>
                </c:pt>
                <c:pt idx="1989" formatCode="0.0%">
                  <c:v>0.18749827486363785</c:v>
                </c:pt>
                <c:pt idx="1990" formatCode="0.0%">
                  <c:v>0.17998315921947716</c:v>
                </c:pt>
                <c:pt idx="1991" formatCode="0.0%">
                  <c:v>0.17800522355617221</c:v>
                </c:pt>
                <c:pt idx="1992" formatCode="0.0%">
                  <c:v>0.17936617004969538</c:v>
                </c:pt>
                <c:pt idx="1993" formatCode="0.0%">
                  <c:v>0.17097960677270499</c:v>
                </c:pt>
                <c:pt idx="1994" formatCode="0.0%">
                  <c:v>0.14499606058544195</c:v>
                </c:pt>
                <c:pt idx="1995" formatCode="0.0%">
                  <c:v>0.14714534125957063</c:v>
                </c:pt>
                <c:pt idx="1996" formatCode="0.0%">
                  <c:v>0.15245856813740991</c:v>
                </c:pt>
                <c:pt idx="1997" formatCode="0.0%">
                  <c:v>0.16049222432856111</c:v>
                </c:pt>
                <c:pt idx="1998" formatCode="0.0%">
                  <c:v>0.1559405881618903</c:v>
                </c:pt>
                <c:pt idx="1999" formatCode="0.0%">
                  <c:v>0.14012676703937227</c:v>
                </c:pt>
                <c:pt idx="2000" formatCode="0.0%">
                  <c:v>0.14156742427229912</c:v>
                </c:pt>
                <c:pt idx="2001" formatCode="0.0%">
                  <c:v>0.13083095803096664</c:v>
                </c:pt>
                <c:pt idx="2002" formatCode="0.0%">
                  <c:v>0.12297672031569941</c:v>
                </c:pt>
                <c:pt idx="2003" formatCode="0.0%">
                  <c:v>0.1204548676292532</c:v>
                </c:pt>
                <c:pt idx="2004" formatCode="0.0%">
                  <c:v>0.11511310632749525</c:v>
                </c:pt>
                <c:pt idx="2005" formatCode="0.0%">
                  <c:v>0.11404520444903901</c:v>
                </c:pt>
                <c:pt idx="2006" formatCode="0.0%">
                  <c:v>0.1321887173180217</c:v>
                </c:pt>
                <c:pt idx="2007" formatCode="0.0%">
                  <c:v>0.13340443826977191</c:v>
                </c:pt>
                <c:pt idx="2008" formatCode="0.0%">
                  <c:v>0.14918828173005677</c:v>
                </c:pt>
                <c:pt idx="2009" formatCode="0.0%">
                  <c:v>0.14975345363469061</c:v>
                </c:pt>
                <c:pt idx="2010" formatCode="0.0%">
                  <c:v>0.15201405884653962</c:v>
                </c:pt>
                <c:pt idx="2011" formatCode="0.0%">
                  <c:v>0.15358220416803725</c:v>
                </c:pt>
                <c:pt idx="2012" formatCode="0.0%">
                  <c:v>0.14789850933298562</c:v>
                </c:pt>
                <c:pt idx="2013" formatCode="0.0%">
                  <c:v>0.14803866469625235</c:v>
                </c:pt>
                <c:pt idx="2014" formatCode="0.0%">
                  <c:v>0.14952927897842652</c:v>
                </c:pt>
                <c:pt idx="2015" formatCode="0.0%">
                  <c:v>0.15442677468254798</c:v>
                </c:pt>
                <c:pt idx="2016" formatCode="0.0%">
                  <c:v>0.14780082690815591</c:v>
                </c:pt>
                <c:pt idx="2017" formatCode="0.0%">
                  <c:v>0.14191327864088799</c:v>
                </c:pt>
                <c:pt idx="2018" formatCode="0.0%">
                  <c:v>0.14315394410538818</c:v>
                </c:pt>
                <c:pt idx="2019" formatCode="0.0%">
                  <c:v>0.14219547661537235</c:v>
                </c:pt>
                <c:pt idx="2020" formatCode="0.0%">
                  <c:v>0.14300489891498808</c:v>
                </c:pt>
                <c:pt idx="2021" formatCode="0.0%">
                  <c:v>0.14235924022508276</c:v>
                </c:pt>
                <c:pt idx="2022" formatCode="0.0%">
                  <c:v>0.1475019479745707</c:v>
                </c:pt>
                <c:pt idx="2023" formatCode="0.0%">
                  <c:v>0.1435247930333369</c:v>
                </c:pt>
                <c:pt idx="2024" formatCode="0.0%">
                  <c:v>0.14600377104329609</c:v>
                </c:pt>
                <c:pt idx="2025" formatCode="0.0%">
                  <c:v>0.14835534902715494</c:v>
                </c:pt>
                <c:pt idx="2026" formatCode="0.0%">
                  <c:v>0.13093294526110183</c:v>
                </c:pt>
                <c:pt idx="2027" formatCode="0.0%">
                  <c:v>0.13388459443033313</c:v>
                </c:pt>
                <c:pt idx="2028" formatCode="0.0%">
                  <c:v>0.12545736407576244</c:v>
                </c:pt>
                <c:pt idx="2029" formatCode="0.0%">
                  <c:v>0.12469133554746437</c:v>
                </c:pt>
                <c:pt idx="2030" formatCode="0.0%">
                  <c:v>0.13005455856756823</c:v>
                </c:pt>
                <c:pt idx="2031" formatCode="0.0%">
                  <c:v>0.14774407066462977</c:v>
                </c:pt>
                <c:pt idx="2032" formatCode="0.0%">
                  <c:v>0.14947167639521197</c:v>
                </c:pt>
                <c:pt idx="2033" formatCode="0.0%">
                  <c:v>0.16659691919790223</c:v>
                </c:pt>
                <c:pt idx="2034" formatCode="0.0%">
                  <c:v>0.16729384046963328</c:v>
                </c:pt>
                <c:pt idx="2035" formatCode="0.0%">
                  <c:v>0.1627602197584615</c:v>
                </c:pt>
                <c:pt idx="2036" formatCode="0.0%">
                  <c:v>0.16679232360796112</c:v>
                </c:pt>
                <c:pt idx="2037" formatCode="0.0%">
                  <c:v>0.16637392664962128</c:v>
                </c:pt>
                <c:pt idx="2038" formatCode="0.0%">
                  <c:v>0.16513234781658712</c:v>
                </c:pt>
                <c:pt idx="2039" formatCode="0.0%">
                  <c:v>0.16520366549051799</c:v>
                </c:pt>
                <c:pt idx="2040" formatCode="0.0%">
                  <c:v>0.22241650614068637</c:v>
                </c:pt>
                <c:pt idx="2041" formatCode="0.0%">
                  <c:v>0.22700285112980356</c:v>
                </c:pt>
                <c:pt idx="2042" formatCode="0.0%">
                  <c:v>0.22465355023947509</c:v>
                </c:pt>
                <c:pt idx="2043" formatCode="0.0%">
                  <c:v>0.24662323091661445</c:v>
                </c:pt>
                <c:pt idx="2044" formatCode="0.0%">
                  <c:v>0.2517330558283461</c:v>
                </c:pt>
                <c:pt idx="2045" formatCode="0.0%">
                  <c:v>0.26550640068958586</c:v>
                </c:pt>
                <c:pt idx="2046" formatCode="0.0%">
                  <c:v>0.27620652627396791</c:v>
                </c:pt>
                <c:pt idx="2047" formatCode="0.0%">
                  <c:v>0.27539235196479472</c:v>
                </c:pt>
                <c:pt idx="2048" formatCode="0.0%">
                  <c:v>0.27391478591896756</c:v>
                </c:pt>
                <c:pt idx="2049" formatCode="0.0%">
                  <c:v>0.27373762186120365</c:v>
                </c:pt>
                <c:pt idx="2050" formatCode="0.0%">
                  <c:v>0.27108536027890884</c:v>
                </c:pt>
                <c:pt idx="2051" formatCode="0.0%">
                  <c:v>0.2622198729013917</c:v>
                </c:pt>
                <c:pt idx="2052" formatCode="0.0%">
                  <c:v>0.26200158587630007</c:v>
                </c:pt>
                <c:pt idx="2053" formatCode="0.0%">
                  <c:v>0.25069940854709155</c:v>
                </c:pt>
                <c:pt idx="2054" formatCode="0.0%">
                  <c:v>0.25638899492568712</c:v>
                </c:pt>
                <c:pt idx="2055" formatCode="0.0%">
                  <c:v>0.25319431189355562</c:v>
                </c:pt>
                <c:pt idx="2056" formatCode="0.0%">
                  <c:v>0.24936774411368218</c:v>
                </c:pt>
                <c:pt idx="2057" formatCode="0.0%">
                  <c:v>0.25745443868254048</c:v>
                </c:pt>
                <c:pt idx="2058" formatCode="0.0%">
                  <c:v>0.2595482703857338</c:v>
                </c:pt>
                <c:pt idx="2059" formatCode="0.0%">
                  <c:v>0.26001552595146671</c:v>
                </c:pt>
                <c:pt idx="2060" formatCode="0.0%">
                  <c:v>0.21656849413731885</c:v>
                </c:pt>
                <c:pt idx="2061" formatCode="0.0%">
                  <c:v>0.21393778811021194</c:v>
                </c:pt>
                <c:pt idx="2062" formatCode="0.0%">
                  <c:v>0.2119853408991198</c:v>
                </c:pt>
                <c:pt idx="2063" formatCode="0.0%">
                  <c:v>0.18036908607358407</c:v>
                </c:pt>
                <c:pt idx="2064" formatCode="0.0%">
                  <c:v>0.16685132722181711</c:v>
                </c:pt>
                <c:pt idx="2065" formatCode="0.0%">
                  <c:v>0.17225873845648929</c:v>
                </c:pt>
                <c:pt idx="2066" formatCode="0.0%">
                  <c:v>0.15503290105770684</c:v>
                </c:pt>
                <c:pt idx="2067" formatCode="0.0%">
                  <c:v>0.15529641513195339</c:v>
                </c:pt>
                <c:pt idx="2068" formatCode="0.0%">
                  <c:v>0.15010004575130231</c:v>
                </c:pt>
                <c:pt idx="2069" formatCode="0.0%">
                  <c:v>0.18926248306466947</c:v>
                </c:pt>
                <c:pt idx="2070" formatCode="0.0%">
                  <c:v>0.18910353727710968</c:v>
                </c:pt>
                <c:pt idx="2071" formatCode="0.0%">
                  <c:v>0.19943627675668657</c:v>
                </c:pt>
                <c:pt idx="2072" formatCode="0.0%">
                  <c:v>0.22336264205011599</c:v>
                </c:pt>
                <c:pt idx="2073" formatCode="0.0%">
                  <c:v>0.22406664464803136</c:v>
                </c:pt>
                <c:pt idx="2074" formatCode="0.0%">
                  <c:v>0.24694793080784663</c:v>
                </c:pt>
                <c:pt idx="2075" formatCode="0.0%">
                  <c:v>0.24686830750740932</c:v>
                </c:pt>
                <c:pt idx="2076" formatCode="0.0%">
                  <c:v>0.26101003260651534</c:v>
                </c:pt>
                <c:pt idx="2077" formatCode="0.0%">
                  <c:v>0.26060462352147645</c:v>
                </c:pt>
                <c:pt idx="2078" formatCode="0.0%">
                  <c:v>0.25881819205233508</c:v>
                </c:pt>
                <c:pt idx="2079" formatCode="0.0%">
                  <c:v>0.25886356294940416</c:v>
                </c:pt>
                <c:pt idx="2080" formatCode="0.0%">
                  <c:v>0.25760332192539404</c:v>
                </c:pt>
                <c:pt idx="2081" formatCode="0.0%">
                  <c:v>0.264091936296662</c:v>
                </c:pt>
                <c:pt idx="2082" formatCode="0.0%">
                  <c:v>0.26812634504633598</c:v>
                </c:pt>
                <c:pt idx="2083" formatCode="0.0%">
                  <c:v>0.2683759719427341</c:v>
                </c:pt>
                <c:pt idx="2084" formatCode="0.0%">
                  <c:v>0.26724112438054726</c:v>
                </c:pt>
                <c:pt idx="2085" formatCode="0.0%">
                  <c:v>0.26181476678386556</c:v>
                </c:pt>
                <c:pt idx="2086" formatCode="0.0%">
                  <c:v>0.2604861674522076</c:v>
                </c:pt>
                <c:pt idx="2087" formatCode="0.0%">
                  <c:v>0.27762391422783417</c:v>
                </c:pt>
                <c:pt idx="2088" formatCode="0.0%">
                  <c:v>0.27760518063716455</c:v>
                </c:pt>
                <c:pt idx="2089" formatCode="0.0%">
                  <c:v>0.25554375136858704</c:v>
                </c:pt>
                <c:pt idx="2090" formatCode="0.0%">
                  <c:v>0.26800272245391904</c:v>
                </c:pt>
                <c:pt idx="2091" formatCode="0.0%">
                  <c:v>0.26235083269873843</c:v>
                </c:pt>
                <c:pt idx="2092" formatCode="0.0%">
                  <c:v>0.24104010855942751</c:v>
                </c:pt>
                <c:pt idx="2093" formatCode="0.0%">
                  <c:v>0.24457582872923378</c:v>
                </c:pt>
                <c:pt idx="2094" formatCode="0.0%">
                  <c:v>0.21556790336913476</c:v>
                </c:pt>
                <c:pt idx="2095" formatCode="0.0%">
                  <c:v>0.22009729814178086</c:v>
                </c:pt>
                <c:pt idx="2096" formatCode="0.0%">
                  <c:v>0.18666746939838441</c:v>
                </c:pt>
                <c:pt idx="2097" formatCode="0.0%">
                  <c:v>0.18280069379192929</c:v>
                </c:pt>
                <c:pt idx="2098" formatCode="0.0%">
                  <c:v>0.18269943505284786</c:v>
                </c:pt>
                <c:pt idx="2099" formatCode="0.0%">
                  <c:v>0.18182901652301467</c:v>
                </c:pt>
                <c:pt idx="2100" formatCode="0.0%">
                  <c:v>0.17594609918258469</c:v>
                </c:pt>
                <c:pt idx="2101" formatCode="0.0%">
                  <c:v>0.17255815761187721</c:v>
                </c:pt>
                <c:pt idx="2102" formatCode="0.0%">
                  <c:v>0.1674978355732778</c:v>
                </c:pt>
                <c:pt idx="2103" formatCode="0.0%">
                  <c:v>0.16739147441969907</c:v>
                </c:pt>
                <c:pt idx="2104" formatCode="0.0%">
                  <c:v>0.17457062725141834</c:v>
                </c:pt>
                <c:pt idx="2105" formatCode="0.0%">
                  <c:v>0.17670747428034142</c:v>
                </c:pt>
                <c:pt idx="2106" formatCode="0.0%">
                  <c:v>0.17572073244015493</c:v>
                </c:pt>
                <c:pt idx="2107" formatCode="0.0%">
                  <c:v>0.16492784365587679</c:v>
                </c:pt>
                <c:pt idx="2108" formatCode="0.0%">
                  <c:v>0.17143314070718135</c:v>
                </c:pt>
                <c:pt idx="2109" formatCode="0.0%">
                  <c:v>0.17161044732233532</c:v>
                </c:pt>
                <c:pt idx="2110" formatCode="0.0%">
                  <c:v>0.1445322037403578</c:v>
                </c:pt>
                <c:pt idx="2111" formatCode="0.0%">
                  <c:v>0.14544287013730597</c:v>
                </c:pt>
                <c:pt idx="2112" formatCode="0.0%">
                  <c:v>0.14344349554257638</c:v>
                </c:pt>
                <c:pt idx="2113" formatCode="0.0%">
                  <c:v>0.14444985048345874</c:v>
                </c:pt>
                <c:pt idx="2114" formatCode="0.0%">
                  <c:v>0.14917983684547087</c:v>
                </c:pt>
                <c:pt idx="2115" formatCode="0.0%">
                  <c:v>0.14531406825811466</c:v>
                </c:pt>
                <c:pt idx="2116" formatCode="0.0%">
                  <c:v>0.14770436630882799</c:v>
                </c:pt>
                <c:pt idx="2117" formatCode="0.0%">
                  <c:v>0.15009897586197748</c:v>
                </c:pt>
                <c:pt idx="2118" formatCode="0.0%">
                  <c:v>0.15038738751853684</c:v>
                </c:pt>
                <c:pt idx="2119" formatCode="0.0%">
                  <c:v>0.15159982681616757</c:v>
                </c:pt>
                <c:pt idx="2120" formatCode="0.0%">
                  <c:v>0.15256946173781319</c:v>
                </c:pt>
                <c:pt idx="2121" formatCode="0.0%">
                  <c:v>0.15161889170118528</c:v>
                </c:pt>
                <c:pt idx="2122" formatCode="0.0%">
                  <c:v>0.1390145780539902</c:v>
                </c:pt>
                <c:pt idx="2123" formatCode="0.0%">
                  <c:v>0.14043977141828232</c:v>
                </c:pt>
                <c:pt idx="2124" formatCode="0.0%">
                  <c:v>0.13545881634310611</c:v>
                </c:pt>
                <c:pt idx="2125" formatCode="0.0%">
                  <c:v>0.13743229317730699</c:v>
                </c:pt>
                <c:pt idx="2126" formatCode="0.0%">
                  <c:v>0.13764812235610818</c:v>
                </c:pt>
                <c:pt idx="2127" formatCode="0.0%">
                  <c:v>0.13492914190020894</c:v>
                </c:pt>
                <c:pt idx="2128" formatCode="0.0%">
                  <c:v>0.13963341965780843</c:v>
                </c:pt>
                <c:pt idx="2129" formatCode="0.0%">
                  <c:v>0.13751878124085659</c:v>
                </c:pt>
                <c:pt idx="2130" formatCode="0.0%">
                  <c:v>0.13700853796712373</c:v>
                </c:pt>
                <c:pt idx="2131" formatCode="0.0%">
                  <c:v>0.13466665607110748</c:v>
                </c:pt>
                <c:pt idx="2132" formatCode="0.0%">
                  <c:v>0.13489085828074729</c:v>
                </c:pt>
                <c:pt idx="2133" formatCode="0.0%">
                  <c:v>0.1312454544048462</c:v>
                </c:pt>
                <c:pt idx="2134" formatCode="0.0%">
                  <c:v>0.12535815134025702</c:v>
                </c:pt>
                <c:pt idx="2135" formatCode="0.0%">
                  <c:v>0.12312112346313558</c:v>
                </c:pt>
                <c:pt idx="2136" formatCode="0.0%">
                  <c:v>0.12389919432281862</c:v>
                </c:pt>
                <c:pt idx="2137" formatCode="0.0%">
                  <c:v>0.11438862591211976</c:v>
                </c:pt>
                <c:pt idx="2138" formatCode="0.0%">
                  <c:v>0.1147194208664251</c:v>
                </c:pt>
                <c:pt idx="2139" formatCode="0.0%">
                  <c:v>0.12669638417544685</c:v>
                </c:pt>
                <c:pt idx="2140" formatCode="0.0%">
                  <c:v>0.12563518058349879</c:v>
                </c:pt>
                <c:pt idx="2141" formatCode="0.0%">
                  <c:v>0.13525969200944649</c:v>
                </c:pt>
                <c:pt idx="2142" formatCode="0.0%">
                  <c:v>0.13407581835415017</c:v>
                </c:pt>
                <c:pt idx="2143" formatCode="0.0%">
                  <c:v>0.14148505045841184</c:v>
                </c:pt>
                <c:pt idx="2144" formatCode="0.0%">
                  <c:v>0.13828747393086638</c:v>
                </c:pt>
                <c:pt idx="2145" formatCode="0.0%">
                  <c:v>0.13285187638556367</c:v>
                </c:pt>
                <c:pt idx="2146" formatCode="0.0%">
                  <c:v>0.13703001304005308</c:v>
                </c:pt>
                <c:pt idx="2147" formatCode="0.0%">
                  <c:v>0.13343289647398415</c:v>
                </c:pt>
                <c:pt idx="2148" formatCode="0.0%">
                  <c:v>0.12626989724790574</c:v>
                </c:pt>
                <c:pt idx="2149" formatCode="0.0%">
                  <c:v>0.12672570793253279</c:v>
                </c:pt>
                <c:pt idx="2150" formatCode="0.0%">
                  <c:v>0.12636807330245658</c:v>
                </c:pt>
                <c:pt idx="2151" formatCode="0.0%">
                  <c:v>0.12694478879067742</c:v>
                </c:pt>
                <c:pt idx="2152" formatCode="0.0%">
                  <c:v>0.12888507544286729</c:v>
                </c:pt>
                <c:pt idx="2153" formatCode="0.0%">
                  <c:v>0.13882077591463596</c:v>
                </c:pt>
                <c:pt idx="2154" formatCode="0.0%">
                  <c:v>0.13453427696063977</c:v>
                </c:pt>
                <c:pt idx="2155" formatCode="0.0%">
                  <c:v>0.13245110647792852</c:v>
                </c:pt>
                <c:pt idx="2156" formatCode="0.0%">
                  <c:v>0.13217304764964316</c:v>
                </c:pt>
                <c:pt idx="2157" formatCode="0.0%">
                  <c:v>0.13305366333924257</c:v>
                </c:pt>
                <c:pt idx="2158" formatCode="0.0%">
                  <c:v>0.17310616954665173</c:v>
                </c:pt>
                <c:pt idx="2159" formatCode="0.0%">
                  <c:v>0.17530766826051902</c:v>
                </c:pt>
                <c:pt idx="2160" formatCode="0.0%">
                  <c:v>0.17559288975210546</c:v>
                </c:pt>
                <c:pt idx="2161" formatCode="0.0%">
                  <c:v>0.17429679794380595</c:v>
                </c:pt>
                <c:pt idx="2162" formatCode="0.0%">
                  <c:v>0.19184013724547364</c:v>
                </c:pt>
                <c:pt idx="2163" formatCode="0.0%">
                  <c:v>0.18807290945281496</c:v>
                </c:pt>
                <c:pt idx="2164" formatCode="0.0%">
                  <c:v>0.18823806944404534</c:v>
                </c:pt>
                <c:pt idx="2165" formatCode="0.0%">
                  <c:v>0.18823561527822658</c:v>
                </c:pt>
                <c:pt idx="2166" formatCode="0.0%">
                  <c:v>0.18747870380040016</c:v>
                </c:pt>
                <c:pt idx="2167" formatCode="0.0%">
                  <c:v>0.18765015451695535</c:v>
                </c:pt>
                <c:pt idx="2168" formatCode="0.0%">
                  <c:v>0.18216040631884894</c:v>
                </c:pt>
                <c:pt idx="2169" formatCode="0.0%">
                  <c:v>0.19011336142582635</c:v>
                </c:pt>
                <c:pt idx="2170" formatCode="0.0%">
                  <c:v>0.19009123408094206</c:v>
                </c:pt>
                <c:pt idx="2171" formatCode="0.0%">
                  <c:v>0.18929804476250298</c:v>
                </c:pt>
                <c:pt idx="2172" formatCode="0.0%">
                  <c:v>0.18876479718489603</c:v>
                </c:pt>
                <c:pt idx="2173" formatCode="0.0%">
                  <c:v>0.18569296436722801</c:v>
                </c:pt>
                <c:pt idx="2174" formatCode="0.0%">
                  <c:v>0.18505762228590195</c:v>
                </c:pt>
                <c:pt idx="2175" formatCode="0.0%">
                  <c:v>0.18970685814960106</c:v>
                </c:pt>
                <c:pt idx="2176" formatCode="0.0%">
                  <c:v>0.19061124275266242</c:v>
                </c:pt>
                <c:pt idx="2177" formatCode="0.0%">
                  <c:v>0.19265426144902631</c:v>
                </c:pt>
                <c:pt idx="2178" formatCode="0.0%">
                  <c:v>0.15189274191202479</c:v>
                </c:pt>
                <c:pt idx="2179" formatCode="0.0%">
                  <c:v>0.13516830563984064</c:v>
                </c:pt>
                <c:pt idx="2180" formatCode="0.0%">
                  <c:v>0.13726838617827847</c:v>
                </c:pt>
                <c:pt idx="2181" formatCode="0.0%">
                  <c:v>0.13292865587319924</c:v>
                </c:pt>
                <c:pt idx="2182" formatCode="0.0%">
                  <c:v>0.1297011121079879</c:v>
                </c:pt>
                <c:pt idx="2183" formatCode="0.0%">
                  <c:v>0.14105939279385374</c:v>
                </c:pt>
                <c:pt idx="2184" formatCode="0.0%">
                  <c:v>0.14140213188433384</c:v>
                </c:pt>
                <c:pt idx="2185" formatCode="0.0%">
                  <c:v>0.14157549031256211</c:v>
                </c:pt>
                <c:pt idx="2186" formatCode="0.0%">
                  <c:v>0.14028375604776511</c:v>
                </c:pt>
                <c:pt idx="2187" formatCode="0.0%">
                  <c:v>0.15398943577449586</c:v>
                </c:pt>
                <c:pt idx="2188" formatCode="0.0%">
                  <c:v>0.15749268916318174</c:v>
                </c:pt>
                <c:pt idx="2189" formatCode="0.0%">
                  <c:v>0.14987142074997753</c:v>
                </c:pt>
                <c:pt idx="2190" formatCode="0.0%">
                  <c:v>0.14643002851912304</c:v>
                </c:pt>
                <c:pt idx="2191" formatCode="0.0%">
                  <c:v>0.14672948839915942</c:v>
                </c:pt>
                <c:pt idx="2192" formatCode="0.0%">
                  <c:v>0.14557707419691893</c:v>
                </c:pt>
                <c:pt idx="2193" formatCode="0.0%">
                  <c:v>0.13916706761337455</c:v>
                </c:pt>
                <c:pt idx="2194" formatCode="0.0%">
                  <c:v>0.14085844136568873</c:v>
                </c:pt>
                <c:pt idx="2195" formatCode="0.0%">
                  <c:v>0.1318067571416017</c:v>
                </c:pt>
                <c:pt idx="2196" formatCode="0.0%">
                  <c:v>0.1339529667510635</c:v>
                </c:pt>
                <c:pt idx="2197" formatCode="0.0%">
                  <c:v>0.13195133371794651</c:v>
                </c:pt>
                <c:pt idx="2198" formatCode="0.0%">
                  <c:v>0.13160974979399079</c:v>
                </c:pt>
                <c:pt idx="2199" formatCode="0.0%">
                  <c:v>0.13164881318765448</c:v>
                </c:pt>
                <c:pt idx="2200" formatCode="0.0%">
                  <c:v>0.13466680096115433</c:v>
                </c:pt>
                <c:pt idx="2201" formatCode="0.0%">
                  <c:v>0.13463018238841704</c:v>
                </c:pt>
                <c:pt idx="2202" formatCode="0.0%">
                  <c:v>0.15280290461502152</c:v>
                </c:pt>
                <c:pt idx="2203" formatCode="0.0%">
                  <c:v>0.154059153144009</c:v>
                </c:pt>
                <c:pt idx="2204" formatCode="0.0%">
                  <c:v>0.15216652296628627</c:v>
                </c:pt>
                <c:pt idx="2205" formatCode="0.0%">
                  <c:v>0.15678388821582506</c:v>
                </c:pt>
                <c:pt idx="2206" formatCode="0.0%">
                  <c:v>0.15680330965454278</c:v>
                </c:pt>
                <c:pt idx="2207" formatCode="0.0%">
                  <c:v>0.1472995287746971</c:v>
                </c:pt>
                <c:pt idx="2208" formatCode="0.0%">
                  <c:v>0.15108648246671352</c:v>
                </c:pt>
                <c:pt idx="2209" formatCode="0.0%">
                  <c:v>0.15029348298383097</c:v>
                </c:pt>
                <c:pt idx="2210" formatCode="0.0%">
                  <c:v>0.15443568089211981</c:v>
                </c:pt>
                <c:pt idx="2211" formatCode="0.0%">
                  <c:v>0.16061210623537858</c:v>
                </c:pt>
                <c:pt idx="2212" formatCode="0.0%">
                  <c:v>0.16192561066193564</c:v>
                </c:pt>
                <c:pt idx="2213" formatCode="0.0%">
                  <c:v>0.16841323863498553</c:v>
                </c:pt>
                <c:pt idx="2214" formatCode="0.0%">
                  <c:v>0.17280069586970739</c:v>
                </c:pt>
                <c:pt idx="2215" formatCode="0.0%">
                  <c:v>0.17481747544534909</c:v>
                </c:pt>
                <c:pt idx="2216" formatCode="0.0%">
                  <c:v>0.17684042064355504</c:v>
                </c:pt>
                <c:pt idx="2217" formatCode="0.0%">
                  <c:v>0.17917891970536398</c:v>
                </c:pt>
                <c:pt idx="2218" formatCode="0.0%">
                  <c:v>0.185084304204229</c:v>
                </c:pt>
                <c:pt idx="2219" formatCode="0.0%">
                  <c:v>0.18815888907110201</c:v>
                </c:pt>
                <c:pt idx="2220" formatCode="0.0%">
                  <c:v>0.19263956227216136</c:v>
                </c:pt>
                <c:pt idx="2221" formatCode="0.0%">
                  <c:v>0.20217234124931813</c:v>
                </c:pt>
                <c:pt idx="2222" formatCode="0.0%">
                  <c:v>0.17827859713089961</c:v>
                </c:pt>
                <c:pt idx="2223" formatCode="0.0%">
                  <c:v>0.17596355542585293</c:v>
                </c:pt>
                <c:pt idx="2224" formatCode="0.0%">
                  <c:v>0.1767363409839228</c:v>
                </c:pt>
                <c:pt idx="2225" formatCode="0.0%">
                  <c:v>0.17114351911725598</c:v>
                </c:pt>
                <c:pt idx="2226" formatCode="0.0%">
                  <c:v>0.17529389287147018</c:v>
                </c:pt>
                <c:pt idx="2227" formatCode="0.0%">
                  <c:v>0.17629016693131272</c:v>
                </c:pt>
                <c:pt idx="2228" formatCode="0.0%">
                  <c:v>0.16663533807073835</c:v>
                </c:pt>
                <c:pt idx="2229" formatCode="0.0%">
                  <c:v>0.1641559736729768</c:v>
                </c:pt>
                <c:pt idx="2230" formatCode="0.0%">
                  <c:v>0.16386066442114205</c:v>
                </c:pt>
                <c:pt idx="2231" formatCode="0.0%">
                  <c:v>0.15430429509784102</c:v>
                </c:pt>
                <c:pt idx="2232" formatCode="0.0%">
                  <c:v>0.15967323227240943</c:v>
                </c:pt>
                <c:pt idx="2233" formatCode="0.0%">
                  <c:v>0.15568299223701818</c:v>
                </c:pt>
                <c:pt idx="2234" formatCode="0.0%">
                  <c:v>0.15576851433667763</c:v>
                </c:pt>
                <c:pt idx="2235" formatCode="0.0%">
                  <c:v>0.15209236925520991</c:v>
                </c:pt>
                <c:pt idx="2236" formatCode="0.0%">
                  <c:v>0.1429361583738383</c:v>
                </c:pt>
                <c:pt idx="2237" formatCode="0.0%">
                  <c:v>0.14302631215462286</c:v>
                </c:pt>
                <c:pt idx="2238" formatCode="0.0%">
                  <c:v>0.14055961452790355</c:v>
                </c:pt>
                <c:pt idx="2239" formatCode="0.0%">
                  <c:v>0.15450162050272828</c:v>
                </c:pt>
                <c:pt idx="2240" formatCode="0.0%">
                  <c:v>0.15442623730911664</c:v>
                </c:pt>
                <c:pt idx="2241" formatCode="0.0%">
                  <c:v>0.14590940742762948</c:v>
                </c:pt>
                <c:pt idx="2242" formatCode="0.0%">
                  <c:v>0.14496099516129035</c:v>
                </c:pt>
                <c:pt idx="2243" formatCode="0.0%">
                  <c:v>0.13608148364197903</c:v>
                </c:pt>
                <c:pt idx="2244" formatCode="0.0%">
                  <c:v>0.13704413440273699</c:v>
                </c:pt>
                <c:pt idx="2245" formatCode="0.0%">
                  <c:v>0.14519653090463436</c:v>
                </c:pt>
                <c:pt idx="2246" formatCode="0.0%">
                  <c:v>0.14040466383183467</c:v>
                </c:pt>
                <c:pt idx="2247" formatCode="0.0%">
                  <c:v>0.14927869650978837</c:v>
                </c:pt>
                <c:pt idx="2248" formatCode="0.0%">
                  <c:v>0.15261579737541509</c:v>
                </c:pt>
                <c:pt idx="2249" formatCode="0.0%">
                  <c:v>0.15090347469815885</c:v>
                </c:pt>
                <c:pt idx="2250" formatCode="0.0%">
                  <c:v>0.16985591551787887</c:v>
                </c:pt>
                <c:pt idx="2251" formatCode="0.0%">
                  <c:v>0.16949246141557159</c:v>
                </c:pt>
                <c:pt idx="2252" formatCode="0.0%">
                  <c:v>0.16707746800662965</c:v>
                </c:pt>
                <c:pt idx="2253" formatCode="0.0%">
                  <c:v>0.16575286844535697</c:v>
                </c:pt>
                <c:pt idx="2254" formatCode="0.0%">
                  <c:v>0.1621981617131944</c:v>
                </c:pt>
                <c:pt idx="2255" formatCode="0.0%">
                  <c:v>0.16231786578551002</c:v>
                </c:pt>
                <c:pt idx="2256" formatCode="0.0%">
                  <c:v>0.16245308373405332</c:v>
                </c:pt>
                <c:pt idx="2257" formatCode="0.0%">
                  <c:v>0.15918719787207539</c:v>
                </c:pt>
                <c:pt idx="2258" formatCode="0.0%">
                  <c:v>0.1570652384892586</c:v>
                </c:pt>
                <c:pt idx="2259" formatCode="0.0%">
                  <c:v>0.13661026983557648</c:v>
                </c:pt>
                <c:pt idx="2260" formatCode="0.0%">
                  <c:v>0.13298914900069894</c:v>
                </c:pt>
                <c:pt idx="2261" formatCode="0.0%">
                  <c:v>0.1334079473990735</c:v>
                </c:pt>
                <c:pt idx="2262" formatCode="0.0%">
                  <c:v>0.13641470106663603</c:v>
                </c:pt>
                <c:pt idx="2263" formatCode="0.0%">
                  <c:v>0.14562215615856999</c:v>
                </c:pt>
                <c:pt idx="2264" formatCode="0.0%">
                  <c:v>0.14711590086818052</c:v>
                </c:pt>
                <c:pt idx="2265" formatCode="0.0%">
                  <c:v>0.13867402858642602</c:v>
                </c:pt>
                <c:pt idx="2266" formatCode="0.0%">
                  <c:v>0.13865193517061355</c:v>
                </c:pt>
                <c:pt idx="2267" formatCode="0.0%">
                  <c:v>0.12513560121054795</c:v>
                </c:pt>
                <c:pt idx="2268" formatCode="0.0%">
                  <c:v>0.12398269017446187</c:v>
                </c:pt>
                <c:pt idx="2269" formatCode="0.0%">
                  <c:v>0.12475984051583874</c:v>
                </c:pt>
                <c:pt idx="2270" formatCode="0.0%">
                  <c:v>0.10101769465574406</c:v>
                </c:pt>
                <c:pt idx="2271" formatCode="0.0%">
                  <c:v>0.11948633383936838</c:v>
                </c:pt>
                <c:pt idx="2272" formatCode="0.0%">
                  <c:v>0.12459574148399095</c:v>
                </c:pt>
                <c:pt idx="2273" formatCode="0.0%">
                  <c:v>0.12629573354854037</c:v>
                </c:pt>
                <c:pt idx="2274" formatCode="0.0%">
                  <c:v>0.13011245215690212</c:v>
                </c:pt>
                <c:pt idx="2275" formatCode="0.0%">
                  <c:v>0.13219775908448503</c:v>
                </c:pt>
                <c:pt idx="2276" formatCode="0.0%">
                  <c:v>0.14059273852925985</c:v>
                </c:pt>
                <c:pt idx="2277" formatCode="0.0%">
                  <c:v>0.14067231020299545</c:v>
                </c:pt>
                <c:pt idx="2278" formatCode="0.0%">
                  <c:v>0.1379889694054873</c:v>
                </c:pt>
                <c:pt idx="2279" formatCode="0.0%">
                  <c:v>0.13275989292405777</c:v>
                </c:pt>
                <c:pt idx="2280" formatCode="0.0%">
                  <c:v>0.13370650302261708</c:v>
                </c:pt>
                <c:pt idx="2281" formatCode="0.0%">
                  <c:v>0.15584657653498343</c:v>
                </c:pt>
                <c:pt idx="2282" formatCode="0.0%">
                  <c:v>0.15528592672224562</c:v>
                </c:pt>
                <c:pt idx="2283" formatCode="0.0%">
                  <c:v>0.14530238764512771</c:v>
                </c:pt>
                <c:pt idx="2284" formatCode="0.0%">
                  <c:v>0.14343627996204839</c:v>
                </c:pt>
                <c:pt idx="2285" formatCode="0.0%">
                  <c:v>0.14318936914294692</c:v>
                </c:pt>
                <c:pt idx="2286" formatCode="0.0%">
                  <c:v>0.1481581448739453</c:v>
                </c:pt>
                <c:pt idx="2287" formatCode="0.0%">
                  <c:v>0.15142194285567642</c:v>
                </c:pt>
                <c:pt idx="2288" formatCode="0.0%">
                  <c:v>0.15513673527520705</c:v>
                </c:pt>
                <c:pt idx="2289" formatCode="0.0%">
                  <c:v>0.15946969284223037</c:v>
                </c:pt>
                <c:pt idx="2290" formatCode="0.0%">
                  <c:v>0.16029144258522435</c:v>
                </c:pt>
                <c:pt idx="2291" formatCode="0.0%">
                  <c:v>0.14721680294041514</c:v>
                </c:pt>
                <c:pt idx="2292" formatCode="0.0%">
                  <c:v>0.14396657794143644</c:v>
                </c:pt>
                <c:pt idx="2293" formatCode="0.0%">
                  <c:v>0.15530054892224471</c:v>
                </c:pt>
                <c:pt idx="2294" formatCode="0.0%">
                  <c:v>0.15183092958402022</c:v>
                </c:pt>
                <c:pt idx="2295" formatCode="0.0%">
                  <c:v>0.15521169291539921</c:v>
                </c:pt>
                <c:pt idx="2296" formatCode="0.0%">
                  <c:v>0.15003441660850325</c:v>
                </c:pt>
                <c:pt idx="2297" formatCode="0.0%">
                  <c:v>0.1517189179130275</c:v>
                </c:pt>
                <c:pt idx="2298" formatCode="0.0%">
                  <c:v>0.16922194009474781</c:v>
                </c:pt>
                <c:pt idx="2299" formatCode="0.0%">
                  <c:v>0.16744859217622149</c:v>
                </c:pt>
                <c:pt idx="2300" formatCode="0.0%">
                  <c:v>0.18909031093920187</c:v>
                </c:pt>
                <c:pt idx="2301" formatCode="0.0%">
                  <c:v>0.18660814496657407</c:v>
                </c:pt>
                <c:pt idx="2302" formatCode="0.0%">
                  <c:v>0.19106488667684987</c:v>
                </c:pt>
                <c:pt idx="2303" formatCode="0.0%">
                  <c:v>0.19077053782222719</c:v>
                </c:pt>
                <c:pt idx="2304" formatCode="0.0%">
                  <c:v>0.19021352584644924</c:v>
                </c:pt>
                <c:pt idx="2305" formatCode="0.0%">
                  <c:v>0.20194381015080315</c:v>
                </c:pt>
                <c:pt idx="2306" formatCode="0.0%">
                  <c:v>0.19494614291831552</c:v>
                </c:pt>
                <c:pt idx="2307" formatCode="0.0%">
                  <c:v>0.19250867653485318</c:v>
                </c:pt>
                <c:pt idx="2308" formatCode="0.0%">
                  <c:v>0.19441752181569816</c:v>
                </c:pt>
                <c:pt idx="2309" formatCode="0.0%">
                  <c:v>0.18948930163509961</c:v>
                </c:pt>
                <c:pt idx="2310" formatCode="0.0%">
                  <c:v>0.19083259744473891</c:v>
                </c:pt>
                <c:pt idx="2311" formatCode="0.0%">
                  <c:v>0.21644569256110022</c:v>
                </c:pt>
                <c:pt idx="2312" formatCode="0.0%">
                  <c:v>0.21498011583600654</c:v>
                </c:pt>
                <c:pt idx="2313" formatCode="0.0%">
                  <c:v>0.21231166665422688</c:v>
                </c:pt>
                <c:pt idx="2314" formatCode="0.0%">
                  <c:v>0.21398836069008198</c:v>
                </c:pt>
                <c:pt idx="2315" formatCode="0.0%">
                  <c:v>0.21703800306063542</c:v>
                </c:pt>
                <c:pt idx="2316" formatCode="0.0%">
                  <c:v>0.21574182152846169</c:v>
                </c:pt>
                <c:pt idx="2317" formatCode="0.0%">
                  <c:v>0.21530637431508332</c:v>
                </c:pt>
                <c:pt idx="2318" formatCode="0.0%">
                  <c:v>0.20383704434020089</c:v>
                </c:pt>
                <c:pt idx="2319" formatCode="0.0%">
                  <c:v>0.20379796593112215</c:v>
                </c:pt>
                <c:pt idx="2320" formatCode="0.0%">
                  <c:v>0.1775875956044751</c:v>
                </c:pt>
                <c:pt idx="2321" formatCode="0.0%">
                  <c:v>0.1751069200444588</c:v>
                </c:pt>
                <c:pt idx="2322" formatCode="0.0%">
                  <c:v>0.17425573757914839</c:v>
                </c:pt>
                <c:pt idx="2323" formatCode="0.0%">
                  <c:v>0.18621196261803111</c:v>
                </c:pt>
                <c:pt idx="2324" formatCode="0.0%">
                  <c:v>0.23294168184035419</c:v>
                </c:pt>
                <c:pt idx="2325" formatCode="0.0%">
                  <c:v>0.23118537458900201</c:v>
                </c:pt>
                <c:pt idx="2326" formatCode="0.0%">
                  <c:v>0.24446515658158374</c:v>
                </c:pt>
                <c:pt idx="2327" formatCode="0.0%">
                  <c:v>0.24415095101611753</c:v>
                </c:pt>
                <c:pt idx="2328" formatCode="0.0%">
                  <c:v>0.26765713045764566</c:v>
                </c:pt>
                <c:pt idx="2329" formatCode="0.0%">
                  <c:v>0.26563619678967465</c:v>
                </c:pt>
                <c:pt idx="2330" formatCode="0.0%">
                  <c:v>0.27299103942616271</c:v>
                </c:pt>
                <c:pt idx="2331" formatCode="0.0%">
                  <c:v>0.25068018882921128</c:v>
                </c:pt>
                <c:pt idx="2332" formatCode="0.0%">
                  <c:v>0.25158095377672257</c:v>
                </c:pt>
                <c:pt idx="2333" formatCode="0.0%">
                  <c:v>0.25146902862800807</c:v>
                </c:pt>
                <c:pt idx="2334" formatCode="0.0%">
                  <c:v>0.26162581323144335</c:v>
                </c:pt>
                <c:pt idx="2335" formatCode="0.0%">
                  <c:v>0.25747211440662177</c:v>
                </c:pt>
                <c:pt idx="2336" formatCode="0.0%">
                  <c:v>0.257233755176562</c:v>
                </c:pt>
                <c:pt idx="2337" formatCode="0.0%">
                  <c:v>0.27927637697625562</c:v>
                </c:pt>
                <c:pt idx="2338" formatCode="0.0%">
                  <c:v>0.28430637859823427</c:v>
                </c:pt>
                <c:pt idx="2339" formatCode="0.0%">
                  <c:v>0.28554092290367344</c:v>
                </c:pt>
                <c:pt idx="2340" formatCode="0.0%">
                  <c:v>0.29423917171649927</c:v>
                </c:pt>
                <c:pt idx="2341" formatCode="0.0%">
                  <c:v>0.28722510019631464</c:v>
                </c:pt>
                <c:pt idx="2342" formatCode="0.0%">
                  <c:v>0.30546376724277136</c:v>
                </c:pt>
                <c:pt idx="2343" formatCode="0.0%">
                  <c:v>0.29876048903711105</c:v>
                </c:pt>
                <c:pt idx="2344" formatCode="0.0%">
                  <c:v>0.26162602273646623</c:v>
                </c:pt>
                <c:pt idx="2345" formatCode="0.0%">
                  <c:v>0.25910860111101969</c:v>
                </c:pt>
                <c:pt idx="2346" formatCode="0.0%">
                  <c:v>0.23941054771395284</c:v>
                </c:pt>
                <c:pt idx="2347" formatCode="0.0%">
                  <c:v>0.23942408259751702</c:v>
                </c:pt>
                <c:pt idx="2348" formatCode="0.0%">
                  <c:v>0.21832275711488372</c:v>
                </c:pt>
                <c:pt idx="2349" formatCode="0.0%">
                  <c:v>0.22715994722605573</c:v>
                </c:pt>
                <c:pt idx="2350" formatCode="0.0%">
                  <c:v>0.22035277966181629</c:v>
                </c:pt>
                <c:pt idx="2351" formatCode="0.0%">
                  <c:v>0.21941540014347549</c:v>
                </c:pt>
                <c:pt idx="2352" formatCode="0.0%">
                  <c:v>0.2218986819210951</c:v>
                </c:pt>
                <c:pt idx="2353" formatCode="0.0%">
                  <c:v>0.22357750898900064</c:v>
                </c:pt>
                <c:pt idx="2354" formatCode="0.0%">
                  <c:v>0.20990028113620851</c:v>
                </c:pt>
                <c:pt idx="2355" formatCode="0.0%">
                  <c:v>0.21194653584132958</c:v>
                </c:pt>
                <c:pt idx="2356" formatCode="0.0%">
                  <c:v>0.21197924762038545</c:v>
                </c:pt>
                <c:pt idx="2357" formatCode="0.0%">
                  <c:v>0.17930022872770052</c:v>
                </c:pt>
                <c:pt idx="2358" formatCode="0.0%">
                  <c:v>0.21294937333157762</c:v>
                </c:pt>
                <c:pt idx="2359" formatCode="0.0%">
                  <c:v>0.21291603055935898</c:v>
                </c:pt>
                <c:pt idx="2360" formatCode="0.0%">
                  <c:v>0.20505121481898939</c:v>
                </c:pt>
                <c:pt idx="2361" formatCode="0.0%">
                  <c:v>0.21274914586640772</c:v>
                </c:pt>
                <c:pt idx="2362" formatCode="0.0%">
                  <c:v>0.1898709209780895</c:v>
                </c:pt>
                <c:pt idx="2363" formatCode="0.0%">
                  <c:v>0.19158314999805964</c:v>
                </c:pt>
                <c:pt idx="2364" formatCode="0.0%">
                  <c:v>0.18482251630487534</c:v>
                </c:pt>
                <c:pt idx="2365" formatCode="0.0%">
                  <c:v>0.18581171010879233</c:v>
                </c:pt>
                <c:pt idx="2366" formatCode="0.0%">
                  <c:v>0.18877402056811796</c:v>
                </c:pt>
                <c:pt idx="2367" formatCode="0.0%">
                  <c:v>0.18887030135360577</c:v>
                </c:pt>
                <c:pt idx="2368" formatCode="0.0%">
                  <c:v>0.20651749515576995</c:v>
                </c:pt>
                <c:pt idx="2369" formatCode="0.0%">
                  <c:v>0.19932901096701353</c:v>
                </c:pt>
                <c:pt idx="2370" formatCode="0.0%">
                  <c:v>0.20879157340247459</c:v>
                </c:pt>
                <c:pt idx="2371" formatCode="0.0%">
                  <c:v>0.20968228923893367</c:v>
                </c:pt>
                <c:pt idx="2372" formatCode="0.0%">
                  <c:v>0.21307232161032355</c:v>
                </c:pt>
                <c:pt idx="2373" formatCode="0.0%">
                  <c:v>0.24662554878010151</c:v>
                </c:pt>
                <c:pt idx="2374" formatCode="0.0%">
                  <c:v>0.24771178538448405</c:v>
                </c:pt>
                <c:pt idx="2375" formatCode="0.0%">
                  <c:v>0.24529088280741887</c:v>
                </c:pt>
                <c:pt idx="2376" formatCode="0.0%">
                  <c:v>0.24479508839170558</c:v>
                </c:pt>
                <c:pt idx="2377" formatCode="0.0%">
                  <c:v>0.24221091594832156</c:v>
                </c:pt>
                <c:pt idx="2378" formatCode="0.0%">
                  <c:v>0.20466285613736296</c:v>
                </c:pt>
                <c:pt idx="2379" formatCode="0.0%">
                  <c:v>0.2043701427851638</c:v>
                </c:pt>
                <c:pt idx="2380" formatCode="0.0%">
                  <c:v>0.19781653528005155</c:v>
                </c:pt>
                <c:pt idx="2381" formatCode="0.0%">
                  <c:v>0.19562533079022018</c:v>
                </c:pt>
                <c:pt idx="2382" formatCode="0.0%">
                  <c:v>0.20329977334831545</c:v>
                </c:pt>
                <c:pt idx="2383" formatCode="0.0%">
                  <c:v>0.19797866933916988</c:v>
                </c:pt>
                <c:pt idx="2384" formatCode="0.0%">
                  <c:v>0.20234970124329504</c:v>
                </c:pt>
                <c:pt idx="2385" formatCode="0.0%">
                  <c:v>0.20186561672612349</c:v>
                </c:pt>
                <c:pt idx="2386" formatCode="0.0%">
                  <c:v>0.20158190496629105</c:v>
                </c:pt>
                <c:pt idx="2387" formatCode="0.0%">
                  <c:v>0.1979341168538665</c:v>
                </c:pt>
                <c:pt idx="2388" formatCode="0.0%">
                  <c:v>0.16313130114243934</c:v>
                </c:pt>
                <c:pt idx="2389" formatCode="0.0%">
                  <c:v>0.17940698615761236</c:v>
                </c:pt>
                <c:pt idx="2390" formatCode="0.0%">
                  <c:v>0.17618543412286769</c:v>
                </c:pt>
                <c:pt idx="2391" formatCode="0.0%">
                  <c:v>0.17622188799549368</c:v>
                </c:pt>
                <c:pt idx="2392" formatCode="0.0%">
                  <c:v>0.17891669351901374</c:v>
                </c:pt>
                <c:pt idx="2393" formatCode="0.0%">
                  <c:v>0.1439215127377349</c:v>
                </c:pt>
                <c:pt idx="2394" formatCode="0.0%">
                  <c:v>0.14309866409540858</c:v>
                </c:pt>
                <c:pt idx="2395" formatCode="0.0%">
                  <c:v>0.14619830916294249</c:v>
                </c:pt>
                <c:pt idx="2396" formatCode="0.0%">
                  <c:v>0.14549551668956387</c:v>
                </c:pt>
                <c:pt idx="2397" formatCode="0.0%">
                  <c:v>0.1450525904258694</c:v>
                </c:pt>
                <c:pt idx="2398" formatCode="0.0%">
                  <c:v>0.14075084338690372</c:v>
                </c:pt>
                <c:pt idx="2399" formatCode="0.0%">
                  <c:v>0.14092392008767132</c:v>
                </c:pt>
                <c:pt idx="2400" formatCode="0.0%">
                  <c:v>0.14104496458392676</c:v>
                </c:pt>
                <c:pt idx="2401" formatCode="0.0%">
                  <c:v>0.14278925970413714</c:v>
                </c:pt>
                <c:pt idx="2402" formatCode="0.0%">
                  <c:v>0.13098797213007582</c:v>
                </c:pt>
                <c:pt idx="2403" formatCode="0.0%">
                  <c:v>0.12699360551307703</c:v>
                </c:pt>
                <c:pt idx="2404" formatCode="0.0%">
                  <c:v>0.12904734770690662</c:v>
                </c:pt>
                <c:pt idx="2405" formatCode="0.0%">
                  <c:v>0.13926085379228595</c:v>
                </c:pt>
                <c:pt idx="2406" formatCode="0.0%">
                  <c:v>0.14207303560196727</c:v>
                </c:pt>
                <c:pt idx="2407" formatCode="0.0%">
                  <c:v>0.13855856820476839</c:v>
                </c:pt>
                <c:pt idx="2408" formatCode="0.0%">
                  <c:v>0.142745025380624</c:v>
                </c:pt>
                <c:pt idx="2409" formatCode="0.0%">
                  <c:v>0.1348477739671165</c:v>
                </c:pt>
                <c:pt idx="2410" formatCode="0.0%">
                  <c:v>0.15017432117063159</c:v>
                </c:pt>
                <c:pt idx="2411" formatCode="0.0%">
                  <c:v>0.15820844811849227</c:v>
                </c:pt>
                <c:pt idx="2412" formatCode="0.0%">
                  <c:v>0.15375964598291877</c:v>
                </c:pt>
                <c:pt idx="2413" formatCode="0.0%">
                  <c:v>0.15268056340201622</c:v>
                </c:pt>
                <c:pt idx="2414" formatCode="0.0%">
                  <c:v>0.17235676267226974</c:v>
                </c:pt>
                <c:pt idx="2415" formatCode="0.0%">
                  <c:v>0.17730328737108192</c:v>
                </c:pt>
                <c:pt idx="2416" formatCode="0.0%">
                  <c:v>0.18177238103696225</c:v>
                </c:pt>
                <c:pt idx="2417" formatCode="0.0%">
                  <c:v>0.23535285033577669</c:v>
                </c:pt>
                <c:pt idx="2418" formatCode="0.0%">
                  <c:v>0.23451893038649274</c:v>
                </c:pt>
                <c:pt idx="2419" formatCode="0.0%">
                  <c:v>0.26123119716912441</c:v>
                </c:pt>
                <c:pt idx="2420" formatCode="0.0%">
                  <c:v>0.30730776561956386</c:v>
                </c:pt>
                <c:pt idx="2421" formatCode="0.0%">
                  <c:v>0.30242510191413541</c:v>
                </c:pt>
                <c:pt idx="2422" formatCode="0.0%">
                  <c:v>0.33533725675345588</c:v>
                </c:pt>
                <c:pt idx="2423" formatCode="0.0%">
                  <c:v>0.33544205402714894</c:v>
                </c:pt>
                <c:pt idx="2424" formatCode="0.0%">
                  <c:v>0.34849935364775236</c:v>
                </c:pt>
                <c:pt idx="2425" formatCode="0.0%">
                  <c:v>0.3515479433772159</c:v>
                </c:pt>
                <c:pt idx="2426" formatCode="0.0%">
                  <c:v>0.375906208590296</c:v>
                </c:pt>
                <c:pt idx="2427" formatCode="0.0%">
                  <c:v>0.38095359557743153</c:v>
                </c:pt>
                <c:pt idx="2428" formatCode="0.0%">
                  <c:v>0.37919287696031362</c:v>
                </c:pt>
                <c:pt idx="2429" formatCode="0.0%">
                  <c:v>0.38397474141581495</c:v>
                </c:pt>
                <c:pt idx="2430" formatCode="0.0%">
                  <c:v>0.40202838105423228</c:v>
                </c:pt>
                <c:pt idx="2431" formatCode="0.0%">
                  <c:v>0.42776810742719185</c:v>
                </c:pt>
                <c:pt idx="2432" formatCode="0.0%">
                  <c:v>0.42287430051579911</c:v>
                </c:pt>
                <c:pt idx="2433" formatCode="0.0%">
                  <c:v>0.42534990537553324</c:v>
                </c:pt>
                <c:pt idx="2434" formatCode="0.0%">
                  <c:v>0.41927089944089202</c:v>
                </c:pt>
                <c:pt idx="2435" formatCode="0.0%">
                  <c:v>0.41778140126623725</c:v>
                </c:pt>
                <c:pt idx="2436" formatCode="0.0%">
                  <c:v>0.41547247086858391</c:v>
                </c:pt>
                <c:pt idx="2437" formatCode="0.0%">
                  <c:v>0.42275800265124719</c:v>
                </c:pt>
                <c:pt idx="2438" formatCode="0.0%">
                  <c:v>0.43645930742749056</c:v>
                </c:pt>
                <c:pt idx="2439" formatCode="0.0%">
                  <c:v>0.42159395227352531</c:v>
                </c:pt>
                <c:pt idx="2440" formatCode="0.0%">
                  <c:v>0.38903341219690335</c:v>
                </c:pt>
                <c:pt idx="2441" formatCode="0.0%">
                  <c:v>0.40910386806790711</c:v>
                </c:pt>
                <c:pt idx="2442" formatCode="0.0%">
                  <c:v>0.38391201148848236</c:v>
                </c:pt>
                <c:pt idx="2443" formatCode="0.0%">
                  <c:v>0.38532956855407208</c:v>
                </c:pt>
                <c:pt idx="2444" formatCode="0.0%">
                  <c:v>0.3698418943348209</c:v>
                </c:pt>
                <c:pt idx="2445" formatCode="0.0%">
                  <c:v>0.47514767243756667</c:v>
                </c:pt>
                <c:pt idx="2446" formatCode="0.0%">
                  <c:v>0.48908566626036198</c:v>
                </c:pt>
                <c:pt idx="2447" formatCode="0.0%">
                  <c:v>0.56838326835721142</c:v>
                </c:pt>
                <c:pt idx="2448" formatCode="0.0%">
                  <c:v>0.57564000361949186</c:v>
                </c:pt>
                <c:pt idx="2449" formatCode="0.0%">
                  <c:v>0.57668528353051207</c:v>
                </c:pt>
                <c:pt idx="2450" formatCode="0.0%">
                  <c:v>0.56478873285860975</c:v>
                </c:pt>
                <c:pt idx="2451" formatCode="0.0%">
                  <c:v>0.55042578936874953</c:v>
                </c:pt>
                <c:pt idx="2452" formatCode="0.0%">
                  <c:v>0.54904526429536948</c:v>
                </c:pt>
                <c:pt idx="2453" formatCode="0.0%">
                  <c:v>0.55917081044492711</c:v>
                </c:pt>
                <c:pt idx="2454" formatCode="0.0%">
                  <c:v>0.57003807618286551</c:v>
                </c:pt>
                <c:pt idx="2455" formatCode="0.0%">
                  <c:v>0.57298802416937844</c:v>
                </c:pt>
                <c:pt idx="2456" formatCode="0.0%">
                  <c:v>0.59129865196999465</c:v>
                </c:pt>
                <c:pt idx="2457" formatCode="0.0%">
                  <c:v>0.56376819020867797</c:v>
                </c:pt>
                <c:pt idx="2458" formatCode="0.0%">
                  <c:v>0.55344496572686475</c:v>
                </c:pt>
                <c:pt idx="2459" formatCode="0.0%">
                  <c:v>0.55955237207933151</c:v>
                </c:pt>
                <c:pt idx="2460" formatCode="0.0%">
                  <c:v>0.56496084881278297</c:v>
                </c:pt>
                <c:pt idx="2461" formatCode="0.0%">
                  <c:v>0.58333977942406134</c:v>
                </c:pt>
                <c:pt idx="2462" formatCode="0.0%">
                  <c:v>0.58344280562854101</c:v>
                </c:pt>
                <c:pt idx="2463" formatCode="0.0%">
                  <c:v>0.59042729086681089</c:v>
                </c:pt>
                <c:pt idx="2464" formatCode="0.0%">
                  <c:v>0.58955171123059635</c:v>
                </c:pt>
                <c:pt idx="2465" formatCode="0.0%">
                  <c:v>0.47490978320670885</c:v>
                </c:pt>
                <c:pt idx="2466" formatCode="0.0%">
                  <c:v>0.46941500884008946</c:v>
                </c:pt>
                <c:pt idx="2467" formatCode="0.0%">
                  <c:v>0.43417963299445178</c:v>
                </c:pt>
                <c:pt idx="2468" formatCode="0.0%">
                  <c:v>0.42740315912665838</c:v>
                </c:pt>
                <c:pt idx="2469" formatCode="0.0%">
                  <c:v>0.43076379548437932</c:v>
                </c:pt>
                <c:pt idx="2470" formatCode="0.0%">
                  <c:v>0.42909853263350506</c:v>
                </c:pt>
                <c:pt idx="2471" formatCode="0.0%">
                  <c:v>0.46948040395885615</c:v>
                </c:pt>
                <c:pt idx="2472" formatCode="0.0%">
                  <c:v>0.4823650483538624</c:v>
                </c:pt>
                <c:pt idx="2473" formatCode="0.0%">
                  <c:v>0.47557631774802595</c:v>
                </c:pt>
                <c:pt idx="2474" formatCode="0.0%">
                  <c:v>0.46405672676126392</c:v>
                </c:pt>
                <c:pt idx="2475" formatCode="0.0%">
                  <c:v>0.46853395211918586</c:v>
                </c:pt>
                <c:pt idx="2476" formatCode="0.0%">
                  <c:v>0.44239406596718811</c:v>
                </c:pt>
                <c:pt idx="2477" formatCode="0.0%">
                  <c:v>0.44674741134496432</c:v>
                </c:pt>
                <c:pt idx="2478" formatCode="0.0%">
                  <c:v>0.45149681371262834</c:v>
                </c:pt>
                <c:pt idx="2479" formatCode="0.0%">
                  <c:v>0.43871983959540301</c:v>
                </c:pt>
                <c:pt idx="2480" formatCode="0.0%">
                  <c:v>0.43801006994856251</c:v>
                </c:pt>
                <c:pt idx="2481" formatCode="0.0%">
                  <c:v>0.39141270135529499</c:v>
                </c:pt>
                <c:pt idx="2482" formatCode="0.0%">
                  <c:v>0.40495758627211148</c:v>
                </c:pt>
                <c:pt idx="2483" formatCode="0.0%">
                  <c:v>0.39428156384324164</c:v>
                </c:pt>
                <c:pt idx="2484" formatCode="0.0%">
                  <c:v>0.39598911789140834</c:v>
                </c:pt>
                <c:pt idx="2485" formatCode="0.0%">
                  <c:v>0.40046417495214487</c:v>
                </c:pt>
                <c:pt idx="2486" formatCode="0.0%">
                  <c:v>0.39486095209581634</c:v>
                </c:pt>
                <c:pt idx="2487" formatCode="0.0%">
                  <c:v>0.33906876012573023</c:v>
                </c:pt>
                <c:pt idx="2488" formatCode="0.0%">
                  <c:v>0.32166171392383774</c:v>
                </c:pt>
                <c:pt idx="2489" formatCode="0.0%">
                  <c:v>0.32813367795849829</c:v>
                </c:pt>
                <c:pt idx="2490" formatCode="0.0%">
                  <c:v>0.31227016734837082</c:v>
                </c:pt>
                <c:pt idx="2491" formatCode="0.0%">
                  <c:v>0.2679262426209858</c:v>
                </c:pt>
                <c:pt idx="2492" formatCode="0.0%">
                  <c:v>0.27936490842747952</c:v>
                </c:pt>
                <c:pt idx="2493" formatCode="0.0%">
                  <c:v>0.29946326932498241</c:v>
                </c:pt>
                <c:pt idx="2494" formatCode="0.0%">
                  <c:v>0.30164243621519427</c:v>
                </c:pt>
                <c:pt idx="2495" formatCode="0.0%">
                  <c:v>0.29605593777134548</c:v>
                </c:pt>
                <c:pt idx="2496" formatCode="0.0%">
                  <c:v>0.28996242047295628</c:v>
                </c:pt>
                <c:pt idx="2497" formatCode="0.0%">
                  <c:v>0.28443394379329512</c:v>
                </c:pt>
                <c:pt idx="2498" formatCode="0.0%">
                  <c:v>0.32243800760749569</c:v>
                </c:pt>
                <c:pt idx="2499" formatCode="0.0%">
                  <c:v>0.32052000501974937</c:v>
                </c:pt>
                <c:pt idx="2500" formatCode="0.0%">
                  <c:v>0.35475256952698248</c:v>
                </c:pt>
                <c:pt idx="2501" formatCode="0.0%">
                  <c:v>0.35434251742195783</c:v>
                </c:pt>
                <c:pt idx="2502" formatCode="0.0%">
                  <c:v>0.36689689662348834</c:v>
                </c:pt>
                <c:pt idx="2503" formatCode="0.0%">
                  <c:v>0.36674564024104805</c:v>
                </c:pt>
                <c:pt idx="2504" formatCode="0.0%">
                  <c:v>0.37000401868261767</c:v>
                </c:pt>
                <c:pt idx="2505" formatCode="0.0%">
                  <c:v>0.37304031148479683</c:v>
                </c:pt>
                <c:pt idx="2506" formatCode="0.0%">
                  <c:v>0.37122890155620036</c:v>
                </c:pt>
                <c:pt idx="2507" formatCode="0.0%">
                  <c:v>0.35989837958910709</c:v>
                </c:pt>
                <c:pt idx="2508" formatCode="0.0%">
                  <c:v>0.36186206033905111</c:v>
                </c:pt>
                <c:pt idx="2509" formatCode="0.0%">
                  <c:v>0.35713506431817449</c:v>
                </c:pt>
                <c:pt idx="2510" formatCode="0.0%">
                  <c:v>0.36114934373758306</c:v>
                </c:pt>
                <c:pt idx="2511" formatCode="0.0%">
                  <c:v>0.36822183333915531</c:v>
                </c:pt>
                <c:pt idx="2512" formatCode="0.0%">
                  <c:v>0.34410561559763464</c:v>
                </c:pt>
                <c:pt idx="2513" formatCode="0.0%">
                  <c:v>0.31998556373544068</c:v>
                </c:pt>
                <c:pt idx="2514" formatCode="0.0%">
                  <c:v>0.35367807559245934</c:v>
                </c:pt>
                <c:pt idx="2515" formatCode="0.0%">
                  <c:v>0.35509809811946103</c:v>
                </c:pt>
                <c:pt idx="2516" formatCode="0.0%">
                  <c:v>0.35647942343287653</c:v>
                </c:pt>
                <c:pt idx="2517" formatCode="0.0%">
                  <c:v>0.3593112673633278</c:v>
                </c:pt>
                <c:pt idx="2518" formatCode="0.0%">
                  <c:v>0.32930139931754115</c:v>
                </c:pt>
                <c:pt idx="2519" formatCode="0.0%">
                  <c:v>0.33214689921719798</c:v>
                </c:pt>
                <c:pt idx="2520" formatCode="0.0%">
                  <c:v>0.31061577287041409</c:v>
                </c:pt>
                <c:pt idx="2521" formatCode="0.0%">
                  <c:v>0.32169709199803626</c:v>
                </c:pt>
                <c:pt idx="2522" formatCode="0.0%">
                  <c:v>0.26075779103763197</c:v>
                </c:pt>
                <c:pt idx="2523" formatCode="0.0%">
                  <c:v>0.30313018593848129</c:v>
                </c:pt>
                <c:pt idx="2524" formatCode="0.0%">
                  <c:v>0.3027832260966894</c:v>
                </c:pt>
                <c:pt idx="2525" formatCode="0.0%">
                  <c:v>0.30240289112716101</c:v>
                </c:pt>
                <c:pt idx="2526" formatCode="0.0%">
                  <c:v>0.30166385042104088</c:v>
                </c:pt>
                <c:pt idx="2527" formatCode="0.0%">
                  <c:v>0.30446829868667097</c:v>
                </c:pt>
                <c:pt idx="2528" formatCode="0.0%">
                  <c:v>0.30501448579299356</c:v>
                </c:pt>
                <c:pt idx="2529" formatCode="0.0%">
                  <c:v>0.3042691831986693</c:v>
                </c:pt>
                <c:pt idx="2530" formatCode="0.0%">
                  <c:v>0.31183848336173731</c:v>
                </c:pt>
                <c:pt idx="2531" formatCode="0.0%">
                  <c:v>0.30765861652164256</c:v>
                </c:pt>
                <c:pt idx="2532" formatCode="0.0%">
                  <c:v>0.33033654866245887</c:v>
                </c:pt>
                <c:pt idx="2533" formatCode="0.0%">
                  <c:v>0.3371559641300218</c:v>
                </c:pt>
                <c:pt idx="2534" formatCode="0.0%">
                  <c:v>0.30752982351375585</c:v>
                </c:pt>
                <c:pt idx="2535" formatCode="0.0%">
                  <c:v>0.30073998564703353</c:v>
                </c:pt>
                <c:pt idx="2536" formatCode="0.0%">
                  <c:v>0.30989252329946604</c:v>
                </c:pt>
                <c:pt idx="2537" formatCode="0.0%">
                  <c:v>0.30894622061253779</c:v>
                </c:pt>
                <c:pt idx="2538" formatCode="0.0%">
                  <c:v>0.30691617315964609</c:v>
                </c:pt>
                <c:pt idx="2539" formatCode="0.0%">
                  <c:v>0.30441095894414683</c:v>
                </c:pt>
                <c:pt idx="2540" formatCode="0.0%">
                  <c:v>0.26948177247952942</c:v>
                </c:pt>
                <c:pt idx="2541" formatCode="0.0%">
                  <c:v>0.2784313560918118</c:v>
                </c:pt>
                <c:pt idx="2542" formatCode="0.0%">
                  <c:v>0.27848482656970847</c:v>
                </c:pt>
                <c:pt idx="2543" formatCode="0.0%">
                  <c:v>0.24069810987630155</c:v>
                </c:pt>
                <c:pt idx="2544" formatCode="0.0%">
                  <c:v>0.24249575646632154</c:v>
                </c:pt>
                <c:pt idx="2545" formatCode="0.0%">
                  <c:v>0.24837276925335836</c:v>
                </c:pt>
                <c:pt idx="2546" formatCode="0.0%">
                  <c:v>0.25866165182188805</c:v>
                </c:pt>
                <c:pt idx="2547" formatCode="0.0%">
                  <c:v>0.27956327815346466</c:v>
                </c:pt>
                <c:pt idx="2548" formatCode="0.0%">
                  <c:v>0.32077879159312417</c:v>
                </c:pt>
                <c:pt idx="2549" formatCode="0.0%">
                  <c:v>0.32181234219347027</c:v>
                </c:pt>
                <c:pt idx="2550" formatCode="0.0%">
                  <c:v>0.32336692127301059</c:v>
                </c:pt>
                <c:pt idx="2551" formatCode="0.0%">
                  <c:v>0.33206940813918523</c:v>
                </c:pt>
                <c:pt idx="2552" formatCode="0.0%">
                  <c:v>0.31916062372811194</c:v>
                </c:pt>
                <c:pt idx="2553" formatCode="0.0%">
                  <c:v>0.29880378021413534</c:v>
                </c:pt>
                <c:pt idx="2554" formatCode="0.0%">
                  <c:v>0.30053911324300542</c:v>
                </c:pt>
                <c:pt idx="2555" formatCode="0.0%">
                  <c:v>0.3419649494307555</c:v>
                </c:pt>
                <c:pt idx="2556" formatCode="0.0%">
                  <c:v>0.34019114686754054</c:v>
                </c:pt>
                <c:pt idx="2557" formatCode="0.0%">
                  <c:v>0.37400277325926751</c:v>
                </c:pt>
                <c:pt idx="2558" formatCode="0.0%">
                  <c:v>0.3737316225048698</c:v>
                </c:pt>
                <c:pt idx="2559" formatCode="0.0%">
                  <c:v>0.37343003852209572</c:v>
                </c:pt>
                <c:pt idx="2560" formatCode="0.0%">
                  <c:v>0.43191723154682093</c:v>
                </c:pt>
                <c:pt idx="2561" formatCode="0.0%">
                  <c:v>0.46083424687160862</c:v>
                </c:pt>
                <c:pt idx="2562" formatCode="0.0%">
                  <c:v>0.47561521224043724</c:v>
                </c:pt>
                <c:pt idx="2563" formatCode="0.0%">
                  <c:v>0.47773762556416843</c:v>
                </c:pt>
                <c:pt idx="2564" formatCode="0.0%">
                  <c:v>0.47760498952355906</c:v>
                </c:pt>
                <c:pt idx="2565" formatCode="0.0%">
                  <c:v>0.51068425793242578</c:v>
                </c:pt>
                <c:pt idx="2566" formatCode="0.0%">
                  <c:v>0.52247334895005293</c:v>
                </c:pt>
                <c:pt idx="2567" formatCode="0.0%">
                  <c:v>0.5097400522756047</c:v>
                </c:pt>
                <c:pt idx="2568" formatCode="0.0%">
                  <c:v>0.4880294195666644</c:v>
                </c:pt>
                <c:pt idx="2569" formatCode="0.0%">
                  <c:v>0.48938590330969206</c:v>
                </c:pt>
                <c:pt idx="2570" formatCode="0.0%">
                  <c:v>0.4807170861790202</c:v>
                </c:pt>
                <c:pt idx="2571" formatCode="0.0%">
                  <c:v>0.48759141783184995</c:v>
                </c:pt>
                <c:pt idx="2572" formatCode="0.0%">
                  <c:v>0.47489670848637699</c:v>
                </c:pt>
                <c:pt idx="2573" formatCode="0.0%">
                  <c:v>0.46997920817548766</c:v>
                </c:pt>
                <c:pt idx="2574" formatCode="0.0%">
                  <c:v>0.47942387316361523</c:v>
                </c:pt>
                <c:pt idx="2575" formatCode="0.0%">
                  <c:v>0.43825941159553339</c:v>
                </c:pt>
                <c:pt idx="2576" formatCode="0.0%">
                  <c:v>0.44828504090495547</c:v>
                </c:pt>
                <c:pt idx="2577" formatCode="0.0%">
                  <c:v>0.38051693851150625</c:v>
                </c:pt>
                <c:pt idx="2578" formatCode="0.0%">
                  <c:v>0.39863823915432084</c:v>
                </c:pt>
                <c:pt idx="2579" formatCode="0.0%">
                  <c:v>0.39200925840773576</c:v>
                </c:pt>
                <c:pt idx="2580" formatCode="0.0%">
                  <c:v>0.37256474928962657</c:v>
                </c:pt>
                <c:pt idx="2581" formatCode="0.0%">
                  <c:v>0.36280898623980884</c:v>
                </c:pt>
                <c:pt idx="2582" formatCode="0.0%">
                  <c:v>0.35651186937242035</c:v>
                </c:pt>
                <c:pt idx="2583" formatCode="0.0%">
                  <c:v>0.34511744753948381</c:v>
                </c:pt>
                <c:pt idx="2584" formatCode="0.0%">
                  <c:v>0.37202223214326763</c:v>
                </c:pt>
                <c:pt idx="2585" formatCode="0.0%">
                  <c:v>0.34725620091912462</c:v>
                </c:pt>
                <c:pt idx="2586" formatCode="0.0%">
                  <c:v>0.33973739364735284</c:v>
                </c:pt>
                <c:pt idx="2587" formatCode="0.0%">
                  <c:v>0.33880075055294717</c:v>
                </c:pt>
                <c:pt idx="2588" formatCode="0.0%">
                  <c:v>0.3397467092086961</c:v>
                </c:pt>
                <c:pt idx="2589" formatCode="0.0%">
                  <c:v>0.34407106347517186</c:v>
                </c:pt>
                <c:pt idx="2590" formatCode="0.0%">
                  <c:v>0.34112494680976291</c:v>
                </c:pt>
                <c:pt idx="2591" formatCode="0.0%">
                  <c:v>0.32584441542472126</c:v>
                </c:pt>
                <c:pt idx="2592" formatCode="0.0%">
                  <c:v>0.32609333031710963</c:v>
                </c:pt>
                <c:pt idx="2593" formatCode="0.0%">
                  <c:v>0.32627173693459377</c:v>
                </c:pt>
                <c:pt idx="2594" formatCode="0.0%">
                  <c:v>0.31208688953248065</c:v>
                </c:pt>
                <c:pt idx="2595" formatCode="0.0%">
                  <c:v>0.30291108582530107</c:v>
                </c:pt>
                <c:pt idx="2596" formatCode="0.0%">
                  <c:v>0.29719113119323415</c:v>
                </c:pt>
                <c:pt idx="2597" formatCode="0.0%">
                  <c:v>0.29828868332177061</c:v>
                </c:pt>
                <c:pt idx="2598" formatCode="0.0%">
                  <c:v>0.29277098647207189</c:v>
                </c:pt>
                <c:pt idx="2599" formatCode="0.0%">
                  <c:v>0.29252882302786221</c:v>
                </c:pt>
                <c:pt idx="2600" formatCode="0.0%">
                  <c:v>0.2855629188861748</c:v>
                </c:pt>
                <c:pt idx="2601" formatCode="0.0%">
                  <c:v>0.292782756461552</c:v>
                </c:pt>
                <c:pt idx="2602" formatCode="0.0%">
                  <c:v>0.28535367948284646</c:v>
                </c:pt>
                <c:pt idx="2603" formatCode="0.0%">
                  <c:v>0.28764149144453638</c:v>
                </c:pt>
                <c:pt idx="2604" formatCode="0.0%">
                  <c:v>0.26378646972898512</c:v>
                </c:pt>
                <c:pt idx="2605" formatCode="0.0%">
                  <c:v>0.25014192454432627</c:v>
                </c:pt>
                <c:pt idx="2606" formatCode="0.0%">
                  <c:v>0.2455006383634564</c:v>
                </c:pt>
                <c:pt idx="2607" formatCode="0.0%">
                  <c:v>0.25915019082481505</c:v>
                </c:pt>
                <c:pt idx="2608" formatCode="0.0%">
                  <c:v>0.26218354903407293</c:v>
                </c:pt>
                <c:pt idx="2609" formatCode="0.0%">
                  <c:v>0.27415544108848761</c:v>
                </c:pt>
                <c:pt idx="2610" formatCode="0.0%">
                  <c:v>0.27402493642530451</c:v>
                </c:pt>
                <c:pt idx="2611" formatCode="0.0%">
                  <c:v>0.27338595139949756</c:v>
                </c:pt>
                <c:pt idx="2612" formatCode="0.0%">
                  <c:v>0.27458469272301056</c:v>
                </c:pt>
                <c:pt idx="2613" formatCode="0.0%">
                  <c:v>0.27438023687373164</c:v>
                </c:pt>
                <c:pt idx="2614" formatCode="0.0%">
                  <c:v>0.33117364681196809</c:v>
                </c:pt>
                <c:pt idx="2615" formatCode="0.0%">
                  <c:v>0.3411017634723395</c:v>
                </c:pt>
                <c:pt idx="2616" formatCode="0.0%">
                  <c:v>0.34052250653028782</c:v>
                </c:pt>
                <c:pt idx="2617" formatCode="0.0%">
                  <c:v>0.33845633002261405</c:v>
                </c:pt>
                <c:pt idx="2618" formatCode="0.0%">
                  <c:v>0.31405795730753028</c:v>
                </c:pt>
                <c:pt idx="2619" formatCode="0.0%">
                  <c:v>0.31173641702805766</c:v>
                </c:pt>
                <c:pt idx="2620" formatCode="0.0%">
                  <c:v>0.31165039813740653</c:v>
                </c:pt>
                <c:pt idx="2621" formatCode="0.0%">
                  <c:v>0.32172010163361892</c:v>
                </c:pt>
                <c:pt idx="2622" formatCode="0.0%">
                  <c:v>0.32962927606012749</c:v>
                </c:pt>
                <c:pt idx="2623" formatCode="0.0%">
                  <c:v>0.32605336580241823</c:v>
                </c:pt>
                <c:pt idx="2624" formatCode="0.0%">
                  <c:v>0.31627648780195072</c:v>
                </c:pt>
                <c:pt idx="2625" formatCode="0.0%">
                  <c:v>0.31171806196400798</c:v>
                </c:pt>
                <c:pt idx="2626" formatCode="0.0%">
                  <c:v>0.31524637766274188</c:v>
                </c:pt>
                <c:pt idx="2627" formatCode="0.0%">
                  <c:v>0.32713757731059051</c:v>
                </c:pt>
                <c:pt idx="2628" formatCode="0.0%">
                  <c:v>0.32654759479589307</c:v>
                </c:pt>
                <c:pt idx="2629" formatCode="0.0%">
                  <c:v>0.2989497250158471</c:v>
                </c:pt>
                <c:pt idx="2630" formatCode="0.0%">
                  <c:v>0.30666471331051842</c:v>
                </c:pt>
                <c:pt idx="2631" formatCode="0.0%">
                  <c:v>0.31410949453527587</c:v>
                </c:pt>
                <c:pt idx="2632" formatCode="0.0%">
                  <c:v>0.31430555665326021</c:v>
                </c:pt>
                <c:pt idx="2633" formatCode="0.0%">
                  <c:v>0.31182805493123678</c:v>
                </c:pt>
                <c:pt idx="2634" formatCode="0.0%">
                  <c:v>0.27883090235709002</c:v>
                </c:pt>
                <c:pt idx="2635" formatCode="0.0%">
                  <c:v>0.28312228138186335</c:v>
                </c:pt>
                <c:pt idx="2636" formatCode="0.0%">
                  <c:v>0.27759783145444106</c:v>
                </c:pt>
                <c:pt idx="2637" formatCode="0.0%">
                  <c:v>0.26841102747146228</c:v>
                </c:pt>
                <c:pt idx="2638" formatCode="0.0%">
                  <c:v>0.27216626328918375</c:v>
                </c:pt>
                <c:pt idx="2639" formatCode="0.0%">
                  <c:v>0.28189409781505831</c:v>
                </c:pt>
                <c:pt idx="2640" formatCode="0.0%">
                  <c:v>0.30823893577297817</c:v>
                </c:pt>
                <c:pt idx="2641" formatCode="0.0%">
                  <c:v>0.28208830343200686</c:v>
                </c:pt>
                <c:pt idx="2642" formatCode="0.0%">
                  <c:v>0.28083340759381709</c:v>
                </c:pt>
                <c:pt idx="2643" formatCode="0.0%">
                  <c:v>0.26431340054757452</c:v>
                </c:pt>
                <c:pt idx="2644" formatCode="0.0%">
                  <c:v>0.26709597992941636</c:v>
                </c:pt>
                <c:pt idx="2645" formatCode="0.0%">
                  <c:v>0.26602263831671663</c:v>
                </c:pt>
                <c:pt idx="2646" formatCode="0.0%">
                  <c:v>0.26615909109610353</c:v>
                </c:pt>
                <c:pt idx="2647" formatCode="0.0%">
                  <c:v>0.26748039867916956</c:v>
                </c:pt>
                <c:pt idx="2648" formatCode="0.0%">
                  <c:v>0.2601675402731416</c:v>
                </c:pt>
                <c:pt idx="2649" formatCode="0.0%">
                  <c:v>0.24901524608959891</c:v>
                </c:pt>
                <c:pt idx="2650" formatCode="0.0%">
                  <c:v>0.25245852681647052</c:v>
                </c:pt>
                <c:pt idx="2651" formatCode="0.0%">
                  <c:v>0.26894196425713524</c:v>
                </c:pt>
                <c:pt idx="2652" formatCode="0.0%">
                  <c:v>0.27590868341013119</c:v>
                </c:pt>
                <c:pt idx="2653" formatCode="0.0%">
                  <c:v>0.2536928152824886</c:v>
                </c:pt>
                <c:pt idx="2654" formatCode="0.0%">
                  <c:v>0.23950715804099335</c:v>
                </c:pt>
                <c:pt idx="2655" formatCode="0.0%">
                  <c:v>0.23761695769317207</c:v>
                </c:pt>
                <c:pt idx="2656" formatCode="0.0%">
                  <c:v>0.23745621046286738</c:v>
                </c:pt>
                <c:pt idx="2657" formatCode="0.0%">
                  <c:v>0.24764614446588254</c:v>
                </c:pt>
                <c:pt idx="2658" formatCode="0.0%">
                  <c:v>0.23530902147479479</c:v>
                </c:pt>
                <c:pt idx="2659" formatCode="0.0%">
                  <c:v>0.24622730725259626</c:v>
                </c:pt>
                <c:pt idx="2660" formatCode="0.0%">
                  <c:v>0.22060142243087361</c:v>
                </c:pt>
                <c:pt idx="2661" formatCode="0.0%">
                  <c:v>0.21248025518270319</c:v>
                </c:pt>
                <c:pt idx="2662" formatCode="0.0%">
                  <c:v>0.21065951807139233</c:v>
                </c:pt>
                <c:pt idx="2663" formatCode="0.0%">
                  <c:v>0.28465893474970194</c:v>
                </c:pt>
                <c:pt idx="2664" formatCode="0.0%">
                  <c:v>0.28683866897376209</c:v>
                </c:pt>
                <c:pt idx="2665" formatCode="0.0%">
                  <c:v>0.28567754307917975</c:v>
                </c:pt>
                <c:pt idx="2666" formatCode="0.0%">
                  <c:v>0.2866517794362507</c:v>
                </c:pt>
                <c:pt idx="2667" formatCode="0.0%">
                  <c:v>0.29375680775391022</c:v>
                </c:pt>
                <c:pt idx="2668" formatCode="0.0%">
                  <c:v>0.29258563601839854</c:v>
                </c:pt>
                <c:pt idx="2669" formatCode="0.0%">
                  <c:v>0.29849922276754126</c:v>
                </c:pt>
                <c:pt idx="2670" formatCode="0.0%">
                  <c:v>0.29711203377325079</c:v>
                </c:pt>
                <c:pt idx="2671" formatCode="0.0%">
                  <c:v>0.29318379666021105</c:v>
                </c:pt>
                <c:pt idx="2672" formatCode="0.0%">
                  <c:v>0.28355009624732419</c:v>
                </c:pt>
                <c:pt idx="2673" formatCode="0.0%">
                  <c:v>0.35362225376546697</c:v>
                </c:pt>
                <c:pt idx="2674" formatCode="0.0%">
                  <c:v>0.34888655782949435</c:v>
                </c:pt>
                <c:pt idx="2675" formatCode="0.0%">
                  <c:v>0.37086338025198312</c:v>
                </c:pt>
                <c:pt idx="2676" formatCode="0.0%">
                  <c:v>0.37687677285608734</c:v>
                </c:pt>
                <c:pt idx="2677" formatCode="0.0%">
                  <c:v>0.37045232356001195</c:v>
                </c:pt>
                <c:pt idx="2678" formatCode="0.0%">
                  <c:v>0.39276274935636662</c:v>
                </c:pt>
                <c:pt idx="2679" formatCode="0.0%">
                  <c:v>0.38351777347794563</c:v>
                </c:pt>
                <c:pt idx="2680" formatCode="0.0%">
                  <c:v>0.38734709085841779</c:v>
                </c:pt>
                <c:pt idx="2681" formatCode="0.0%">
                  <c:v>0.39955606424488843</c:v>
                </c:pt>
                <c:pt idx="2682" formatCode="0.0%">
                  <c:v>0.40925144780137274</c:v>
                </c:pt>
                <c:pt idx="2683" formatCode="0.0%">
                  <c:v>0.3695000100976929</c:v>
                </c:pt>
                <c:pt idx="2684" formatCode="0.0%">
                  <c:v>0.40083794452247029</c:v>
                </c:pt>
                <c:pt idx="2685" formatCode="0.0%">
                  <c:v>0.42325493833926847</c:v>
                </c:pt>
                <c:pt idx="2686" formatCode="0.0%">
                  <c:v>0.4330299411803254</c:v>
                </c:pt>
                <c:pt idx="2687" formatCode="0.0%">
                  <c:v>0.42893194103483923</c:v>
                </c:pt>
                <c:pt idx="2688" formatCode="0.0%">
                  <c:v>0.42892293459785735</c:v>
                </c:pt>
                <c:pt idx="2689" formatCode="0.0%">
                  <c:v>0.43840918202784357</c:v>
                </c:pt>
                <c:pt idx="2690" formatCode="0.0%">
                  <c:v>0.43673600594927853</c:v>
                </c:pt>
                <c:pt idx="2691" formatCode="0.0%">
                  <c:v>0.42719010838961141</c:v>
                </c:pt>
                <c:pt idx="2692" formatCode="0.0%">
                  <c:v>0.42721575810206991</c:v>
                </c:pt>
                <c:pt idx="2693" formatCode="0.0%">
                  <c:v>0.36074967512660244</c:v>
                </c:pt>
                <c:pt idx="2694" formatCode="0.0%">
                  <c:v>0.3677944143257863</c:v>
                </c:pt>
                <c:pt idx="2695" formatCode="0.0%">
                  <c:v>0.35960410446769836</c:v>
                </c:pt>
                <c:pt idx="2696" formatCode="0.0%">
                  <c:v>0.34873284608050215</c:v>
                </c:pt>
                <c:pt idx="2697" formatCode="0.0%">
                  <c:v>0.34959536763338339</c:v>
                </c:pt>
                <c:pt idx="2698" formatCode="0.0%">
                  <c:v>0.34616256004987384</c:v>
                </c:pt>
                <c:pt idx="2699" formatCode="0.0%">
                  <c:v>0.34825182362342133</c:v>
                </c:pt>
                <c:pt idx="2700" formatCode="0.0%">
                  <c:v>0.33796326230808527</c:v>
                </c:pt>
                <c:pt idx="2701" formatCode="0.0%">
                  <c:v>0.30376272874856691</c:v>
                </c:pt>
                <c:pt idx="2702" formatCode="0.0%">
                  <c:v>0.26877470585501007</c:v>
                </c:pt>
                <c:pt idx="2703" formatCode="0.0%">
                  <c:v>0.27722510493573199</c:v>
                </c:pt>
                <c:pt idx="2704" formatCode="0.0%">
                  <c:v>0.24609183644803548</c:v>
                </c:pt>
                <c:pt idx="2705" formatCode="0.0%">
                  <c:v>0.23336420118087067</c:v>
                </c:pt>
                <c:pt idx="2706" formatCode="0.0%">
                  <c:v>0.21670588077069999</c:v>
                </c:pt>
                <c:pt idx="2707" formatCode="0.0%">
                  <c:v>0.20675959449796941</c:v>
                </c:pt>
                <c:pt idx="2708" formatCode="0.0%">
                  <c:v>0.2057974894272869</c:v>
                </c:pt>
                <c:pt idx="2709" formatCode="0.0%">
                  <c:v>0.17869082886394369</c:v>
                </c:pt>
                <c:pt idx="2710" formatCode="0.0%">
                  <c:v>0.17826061639266505</c:v>
                </c:pt>
                <c:pt idx="2711" formatCode="0.0%">
                  <c:v>0.18963643830342206</c:v>
                </c:pt>
                <c:pt idx="2712" formatCode="0.0%">
                  <c:v>0.20823991422474389</c:v>
                </c:pt>
                <c:pt idx="2713" formatCode="0.0%">
                  <c:v>0.20889422875619176</c:v>
                </c:pt>
                <c:pt idx="2714" formatCode="0.0%">
                  <c:v>0.19764217706225054</c:v>
                </c:pt>
                <c:pt idx="2715" formatCode="0.0%">
                  <c:v>0.19723682123428748</c:v>
                </c:pt>
                <c:pt idx="2716" formatCode="0.0%">
                  <c:v>0.2226671341451143</c:v>
                </c:pt>
                <c:pt idx="2717" formatCode="0.0%">
                  <c:v>0.22096968869224481</c:v>
                </c:pt>
                <c:pt idx="2718" formatCode="0.0%">
                  <c:v>0.22476212368862189</c:v>
                </c:pt>
                <c:pt idx="2719" formatCode="0.0%">
                  <c:v>0.21737009793214662</c:v>
                </c:pt>
                <c:pt idx="2720" formatCode="0.0%">
                  <c:v>0.21823325357671128</c:v>
                </c:pt>
                <c:pt idx="2721" formatCode="0.0%">
                  <c:v>0.21337593234290511</c:v>
                </c:pt>
                <c:pt idx="2722" formatCode="0.0%">
                  <c:v>0.2131993757319694</c:v>
                </c:pt>
                <c:pt idx="2723" formatCode="0.0%">
                  <c:v>0.24180097417251686</c:v>
                </c:pt>
                <c:pt idx="2724" formatCode="0.0%">
                  <c:v>0.241601220180232</c:v>
                </c:pt>
                <c:pt idx="2725" formatCode="0.0%">
                  <c:v>0.2564279212439462</c:v>
                </c:pt>
                <c:pt idx="2726" formatCode="0.0%">
                  <c:v>0.25746921776582321</c:v>
                </c:pt>
                <c:pt idx="2727" formatCode="0.0%">
                  <c:v>0.25890368692535282</c:v>
                </c:pt>
                <c:pt idx="2728" formatCode="0.0%">
                  <c:v>0.25818421239752454</c:v>
                </c:pt>
                <c:pt idx="2729" formatCode="0.0%">
                  <c:v>0.26031697274748239</c:v>
                </c:pt>
                <c:pt idx="2730" formatCode="0.0%">
                  <c:v>0.26113379402792053</c:v>
                </c:pt>
                <c:pt idx="2731" formatCode="0.0%">
                  <c:v>0.2496552578038603</c:v>
                </c:pt>
                <c:pt idx="2732" formatCode="0.0%">
                  <c:v>0.22215990944076316</c:v>
                </c:pt>
                <c:pt idx="2733" formatCode="0.0%">
                  <c:v>0.23007998963804141</c:v>
                </c:pt>
                <c:pt idx="2734" formatCode="0.0%">
                  <c:v>0.22872086398102867</c:v>
                </c:pt>
                <c:pt idx="2735" formatCode="0.0%">
                  <c:v>0.24423455146268866</c:v>
                </c:pt>
                <c:pt idx="2736" formatCode="0.0%">
                  <c:v>0.22263036872255132</c:v>
                </c:pt>
                <c:pt idx="2737" formatCode="0.0%">
                  <c:v>0.21829870022315223</c:v>
                </c:pt>
                <c:pt idx="2738" formatCode="0.0%">
                  <c:v>0.21328802207233827</c:v>
                </c:pt>
                <c:pt idx="2739" formatCode="0.0%">
                  <c:v>0.21284724228481952</c:v>
                </c:pt>
                <c:pt idx="2740" formatCode="0.0%">
                  <c:v>0.21191750490456776</c:v>
                </c:pt>
                <c:pt idx="2741" formatCode="0.0%">
                  <c:v>0.2135179981747074</c:v>
                </c:pt>
                <c:pt idx="2742" formatCode="0.0%">
                  <c:v>0.21731998658936563</c:v>
                </c:pt>
                <c:pt idx="2743" formatCode="0.0%">
                  <c:v>0.17397940110415072</c:v>
                </c:pt>
                <c:pt idx="2744" formatCode="0.0%">
                  <c:v>0.17589564130942545</c:v>
                </c:pt>
                <c:pt idx="2745" formatCode="0.0%">
                  <c:v>0.17220976576717675</c:v>
                </c:pt>
                <c:pt idx="2746" formatCode="0.0%">
                  <c:v>0.16728658677620778</c:v>
                </c:pt>
                <c:pt idx="2747" formatCode="0.0%">
                  <c:v>0.16278869387564843</c:v>
                </c:pt>
                <c:pt idx="2748" formatCode="0.0%">
                  <c:v>0.16234082660919857</c:v>
                </c:pt>
                <c:pt idx="2749" formatCode="0.0%">
                  <c:v>0.17096005712697476</c:v>
                </c:pt>
                <c:pt idx="2750" formatCode="0.0%">
                  <c:v>0.17098840028754111</c:v>
                </c:pt>
                <c:pt idx="2751" formatCode="0.0%">
                  <c:v>0.18440005825175598</c:v>
                </c:pt>
                <c:pt idx="2752" formatCode="0.0%">
                  <c:v>0.18240269915202917</c:v>
                </c:pt>
                <c:pt idx="2753" formatCode="0.0%">
                  <c:v>0.19307808455349026</c:v>
                </c:pt>
                <c:pt idx="2754" formatCode="0.0%">
                  <c:v>0.19153810994414761</c:v>
                </c:pt>
                <c:pt idx="2755" formatCode="0.0%">
                  <c:v>0.17689585297736352</c:v>
                </c:pt>
                <c:pt idx="2756" formatCode="0.0%">
                  <c:v>0.19945984273807932</c:v>
                </c:pt>
                <c:pt idx="2757" formatCode="0.0%">
                  <c:v>0.20189062381774181</c:v>
                </c:pt>
                <c:pt idx="2758" formatCode="0.0%">
                  <c:v>0.19230502069453231</c:v>
                </c:pt>
                <c:pt idx="2759" formatCode="0.0%">
                  <c:v>0.19373181725494695</c:v>
                </c:pt>
                <c:pt idx="2760" formatCode="0.0%">
                  <c:v>0.19277689984875573</c:v>
                </c:pt>
                <c:pt idx="2761" formatCode="0.0%">
                  <c:v>0.30465652027558854</c:v>
                </c:pt>
                <c:pt idx="2762" formatCode="0.0%">
                  <c:v>0.30144965404432711</c:v>
                </c:pt>
                <c:pt idx="2763" formatCode="0.0%">
                  <c:v>0.30140118577469865</c:v>
                </c:pt>
                <c:pt idx="2764" formatCode="0.0%">
                  <c:v>0.31427596612832204</c:v>
                </c:pt>
                <c:pt idx="2765" formatCode="0.0%">
                  <c:v>0.32264020196210474</c:v>
                </c:pt>
                <c:pt idx="2766" formatCode="0.0%">
                  <c:v>0.33947651350138375</c:v>
                </c:pt>
                <c:pt idx="2767" formatCode="0.0%">
                  <c:v>0.34377543957820594</c:v>
                </c:pt>
                <c:pt idx="2768" formatCode="0.0%">
                  <c:v>0.34169318917657676</c:v>
                </c:pt>
                <c:pt idx="2769" formatCode="0.0%">
                  <c:v>0.35172055980385403</c:v>
                </c:pt>
                <c:pt idx="2770" formatCode="0.0%">
                  <c:v>0.35172165244998138</c:v>
                </c:pt>
                <c:pt idx="2771" formatCode="0.0%">
                  <c:v>0.34929395043507361</c:v>
                </c:pt>
                <c:pt idx="2772" formatCode="0.0%">
                  <c:v>0.35118840738151802</c:v>
                </c:pt>
                <c:pt idx="2773" formatCode="0.0%">
                  <c:v>0.34895819106928738</c:v>
                </c:pt>
                <c:pt idx="2774" formatCode="0.0%">
                  <c:v>0.3516167897643967</c:v>
                </c:pt>
                <c:pt idx="2775" formatCode="0.0%">
                  <c:v>0.34949580293055255</c:v>
                </c:pt>
                <c:pt idx="2776" formatCode="0.0%">
                  <c:v>0.33801056976131727</c:v>
                </c:pt>
                <c:pt idx="2777" formatCode="0.0%">
                  <c:v>0.33653399782222065</c:v>
                </c:pt>
                <c:pt idx="2778" formatCode="0.0%">
                  <c:v>0.33819382260306818</c:v>
                </c:pt>
                <c:pt idx="2779" formatCode="0.0%">
                  <c:v>0.33736617173014194</c:v>
                </c:pt>
                <c:pt idx="2780" formatCode="0.0%">
                  <c:v>0.34330592631362078</c:v>
                </c:pt>
                <c:pt idx="2781" formatCode="0.0%">
                  <c:v>0.24650883527400827</c:v>
                </c:pt>
                <c:pt idx="2782" formatCode="0.0%">
                  <c:v>0.24626571066196098</c:v>
                </c:pt>
                <c:pt idx="2783" formatCode="0.0%">
                  <c:v>0.25789856694887725</c:v>
                </c:pt>
                <c:pt idx="2784" formatCode="0.0%">
                  <c:v>0.22248591163657094</c:v>
                </c:pt>
                <c:pt idx="2785" formatCode="0.0%">
                  <c:v>0.20431473325751534</c:v>
                </c:pt>
                <c:pt idx="2786" formatCode="0.0%">
                  <c:v>0.18793985958562012</c:v>
                </c:pt>
                <c:pt idx="2787" formatCode="0.0%">
                  <c:v>0.18507927988246814</c:v>
                </c:pt>
                <c:pt idx="2788" formatCode="0.0%">
                  <c:v>0.17969915001973294</c:v>
                </c:pt>
                <c:pt idx="2789" formatCode="0.0%">
                  <c:v>0.16833575860488392</c:v>
                </c:pt>
                <c:pt idx="2790" formatCode="0.0%">
                  <c:v>0.16584621510064493</c:v>
                </c:pt>
                <c:pt idx="2791" formatCode="0.0%">
                  <c:v>0.16921157782045629</c:v>
                </c:pt>
                <c:pt idx="2792" formatCode="0.0%">
                  <c:v>0.16268408674194382</c:v>
                </c:pt>
                <c:pt idx="2793" formatCode="0.0%">
                  <c:v>0.15905524169198482</c:v>
                </c:pt>
                <c:pt idx="2794" formatCode="0.0%">
                  <c:v>0.15809257867047985</c:v>
                </c:pt>
                <c:pt idx="2795" formatCode="0.0%">
                  <c:v>0.15817091467562039</c:v>
                </c:pt>
                <c:pt idx="2796" formatCode="0.0%">
                  <c:v>0.19204459907058496</c:v>
                </c:pt>
                <c:pt idx="2797" formatCode="0.0%">
                  <c:v>0.19239881263865471</c:v>
                </c:pt>
                <c:pt idx="2798" formatCode="0.0%">
                  <c:v>0.21870541019518505</c:v>
                </c:pt>
                <c:pt idx="2799" formatCode="0.0%">
                  <c:v>0.22986784638022764</c:v>
                </c:pt>
                <c:pt idx="2800" formatCode="0.0%">
                  <c:v>0.22957360300306842</c:v>
                </c:pt>
                <c:pt idx="2801" formatCode="0.0%">
                  <c:v>0.25846984961419139</c:v>
                </c:pt>
                <c:pt idx="2802" formatCode="0.0%">
                  <c:v>0.26482480456439211</c:v>
                </c:pt>
                <c:pt idx="2803" formatCode="0.0%">
                  <c:v>0.25283870840405559</c:v>
                </c:pt>
                <c:pt idx="2804" formatCode="0.0%">
                  <c:v>0.25101804674085976</c:v>
                </c:pt>
                <c:pt idx="2805" formatCode="0.0%">
                  <c:v>0.25189763486961697</c:v>
                </c:pt>
                <c:pt idx="2806" formatCode="0.0%">
                  <c:v>0.25473418916974994</c:v>
                </c:pt>
                <c:pt idx="2807" formatCode="0.0%">
                  <c:v>0.27848582565365598</c:v>
                </c:pt>
                <c:pt idx="2808" formatCode="0.0%">
                  <c:v>0.30666531366962629</c:v>
                </c:pt>
                <c:pt idx="2809" formatCode="0.0%">
                  <c:v>0.32841832090515993</c:v>
                </c:pt>
                <c:pt idx="2810" formatCode="0.0%">
                  <c:v>0.32990440405762672</c:v>
                </c:pt>
                <c:pt idx="2811" formatCode="0.0%">
                  <c:v>0.31992172943699243</c:v>
                </c:pt>
                <c:pt idx="2812" formatCode="0.0%">
                  <c:v>0.33501931291804088</c:v>
                </c:pt>
                <c:pt idx="2813" formatCode="0.0%">
                  <c:v>0.33095794670907591</c:v>
                </c:pt>
                <c:pt idx="2814" formatCode="0.0%">
                  <c:v>0.33247036214795944</c:v>
                </c:pt>
                <c:pt idx="2815" formatCode="0.0%">
                  <c:v>0.35466271220528467</c:v>
                </c:pt>
                <c:pt idx="2816" formatCode="0.0%">
                  <c:v>0.35304758904595662</c:v>
                </c:pt>
                <c:pt idx="2817" formatCode="0.0%">
                  <c:v>0.35330851034258026</c:v>
                </c:pt>
                <c:pt idx="2818" formatCode="0.0%">
                  <c:v>0.35621384320813759</c:v>
                </c:pt>
                <c:pt idx="2819" formatCode="0.0%">
                  <c:v>0.35348171261814565</c:v>
                </c:pt>
                <c:pt idx="2820" formatCode="0.0%">
                  <c:v>0.34935865744877947</c:v>
                </c:pt>
                <c:pt idx="2821" formatCode="0.0%">
                  <c:v>0.33803445152654193</c:v>
                </c:pt>
                <c:pt idx="2822" formatCode="0.0%">
                  <c:v>0.33255294501512833</c:v>
                </c:pt>
                <c:pt idx="2823" formatCode="0.0%">
                  <c:v>0.32917676864619277</c:v>
                </c:pt>
                <c:pt idx="2824" formatCode="0.0%">
                  <c:v>0.33021694745758751</c:v>
                </c:pt>
                <c:pt idx="2825" formatCode="0.0%">
                  <c:v>0.3330322989977495</c:v>
                </c:pt>
                <c:pt idx="2826" formatCode="0.0%">
                  <c:v>0.33479705852337782</c:v>
                </c:pt>
                <c:pt idx="2827" formatCode="0.0%">
                  <c:v>0.31489820322187245</c:v>
                </c:pt>
                <c:pt idx="2828" formatCode="0.0%">
                  <c:v>0.26819225792243162</c:v>
                </c:pt>
                <c:pt idx="2829" formatCode="0.0%">
                  <c:v>0.25575626009196178</c:v>
                </c:pt>
                <c:pt idx="2830" formatCode="0.0%">
                  <c:v>0.26116909966292828</c:v>
                </c:pt>
                <c:pt idx="2831" formatCode="0.0%">
                  <c:v>0.26153090603599854</c:v>
                </c:pt>
                <c:pt idx="2832" formatCode="0.0%">
                  <c:v>0.22154794676282638</c:v>
                </c:pt>
                <c:pt idx="2833" formatCode="0.0%">
                  <c:v>0.2037339551229089</c:v>
                </c:pt>
                <c:pt idx="2834" formatCode="0.0%">
                  <c:v>0.20843331438259005</c:v>
                </c:pt>
                <c:pt idx="2835" formatCode="0.0%">
                  <c:v>0.19974622239515474</c:v>
                </c:pt>
                <c:pt idx="2836" formatCode="0.0%">
                  <c:v>0.19879080902991239</c:v>
                </c:pt>
                <c:pt idx="2837" formatCode="0.0%">
                  <c:v>0.19161757398971341</c:v>
                </c:pt>
                <c:pt idx="2838" formatCode="0.0%">
                  <c:v>0.1821785073295393</c:v>
                </c:pt>
                <c:pt idx="2839" formatCode="0.0%">
                  <c:v>0.20183823886829746</c:v>
                </c:pt>
                <c:pt idx="2840" formatCode="0.0%">
                  <c:v>0.19936415656173531</c:v>
                </c:pt>
                <c:pt idx="2841" formatCode="0.0%">
                  <c:v>0.19472988597889426</c:v>
                </c:pt>
                <c:pt idx="2842" formatCode="0.0%">
                  <c:v>0.19710576554214523</c:v>
                </c:pt>
                <c:pt idx="2843" formatCode="0.0%">
                  <c:v>0.19463166883017083</c:v>
                </c:pt>
                <c:pt idx="2844" formatCode="0.0%">
                  <c:v>0.19628336138818081</c:v>
                </c:pt>
                <c:pt idx="2845" formatCode="0.0%">
                  <c:v>0.21668629468100667</c:v>
                </c:pt>
                <c:pt idx="2846" formatCode="0.0%">
                  <c:v>0.2142847394604715</c:v>
                </c:pt>
                <c:pt idx="2847" formatCode="0.0%">
                  <c:v>0.21035598413772322</c:v>
                </c:pt>
                <c:pt idx="2848" formatCode="0.0%">
                  <c:v>0.21124472570074507</c:v>
                </c:pt>
                <c:pt idx="2849" formatCode="0.0%">
                  <c:v>0.20998331998917172</c:v>
                </c:pt>
                <c:pt idx="2850" formatCode="0.0%">
                  <c:v>0.20034794593176658</c:v>
                </c:pt>
                <c:pt idx="2851" formatCode="0.0%">
                  <c:v>0.20037895197376318</c:v>
                </c:pt>
                <c:pt idx="2852" formatCode="0.0%">
                  <c:v>0.19970695747522885</c:v>
                </c:pt>
                <c:pt idx="2853" formatCode="0.0%">
                  <c:v>0.20393752367602011</c:v>
                </c:pt>
                <c:pt idx="2854" formatCode="0.0%">
                  <c:v>0.19523622665552587</c:v>
                </c:pt>
                <c:pt idx="2855" formatCode="0.0%">
                  <c:v>0.18936431063215511</c:v>
                </c:pt>
                <c:pt idx="2856" formatCode="0.0%">
                  <c:v>0.1940474607513375</c:v>
                </c:pt>
                <c:pt idx="2857" formatCode="0.0%">
                  <c:v>0.19783921520782</c:v>
                </c:pt>
                <c:pt idx="2858" formatCode="0.0%">
                  <c:v>0.20018416510953602</c:v>
                </c:pt>
                <c:pt idx="2859" formatCode="0.0%">
                  <c:v>0.1693846132292407</c:v>
                </c:pt>
                <c:pt idx="2860" formatCode="0.0%">
                  <c:v>0.19289207480135784</c:v>
                </c:pt>
                <c:pt idx="2861" formatCode="0.0%">
                  <c:v>0.19292111149744343</c:v>
                </c:pt>
                <c:pt idx="2862" formatCode="0.0%">
                  <c:v>0.19486541563569679</c:v>
                </c:pt>
                <c:pt idx="2863" formatCode="0.0%">
                  <c:v>0.18927697360875567</c:v>
                </c:pt>
                <c:pt idx="2864" formatCode="0.0%">
                  <c:v>0.18762031514595906</c:v>
                </c:pt>
                <c:pt idx="2865" formatCode="0.0%">
                  <c:v>0.16083698903421492</c:v>
                </c:pt>
                <c:pt idx="2866" formatCode="0.0%">
                  <c:v>0.16145975216243114</c:v>
                </c:pt>
                <c:pt idx="2867" formatCode="0.0%">
                  <c:v>0.18037640132311245</c:v>
                </c:pt>
                <c:pt idx="2868" formatCode="0.0%">
                  <c:v>0.17299705017149217</c:v>
                </c:pt>
                <c:pt idx="2869" formatCode="0.0%">
                  <c:v>0.18560103998341324</c:v>
                </c:pt>
                <c:pt idx="2870" formatCode="0.0%">
                  <c:v>0.19666498304698127</c:v>
                </c:pt>
                <c:pt idx="2871" formatCode="0.0%">
                  <c:v>0.19737991420863502</c:v>
                </c:pt>
                <c:pt idx="2872" formatCode="0.0%">
                  <c:v>0.20427095303912712</c:v>
                </c:pt>
                <c:pt idx="2873" formatCode="0.0%">
                  <c:v>0.20999262465435944</c:v>
                </c:pt>
                <c:pt idx="2874" formatCode="0.0%">
                  <c:v>0.20976714412015499</c:v>
                </c:pt>
                <c:pt idx="2875" formatCode="0.0%">
                  <c:v>0.21008673691512905</c:v>
                </c:pt>
                <c:pt idx="2876" formatCode="0.0%">
                  <c:v>0.20290367092426245</c:v>
                </c:pt>
                <c:pt idx="2877" formatCode="0.0%">
                  <c:v>0.20668499558670331</c:v>
                </c:pt>
                <c:pt idx="2878" formatCode="0.0%">
                  <c:v>0.2203396247928279</c:v>
                </c:pt>
                <c:pt idx="2879" formatCode="0.0%">
                  <c:v>0.22146099355812748</c:v>
                </c:pt>
                <c:pt idx="2880" formatCode="0.0%">
                  <c:v>0.20353996025879209</c:v>
                </c:pt>
                <c:pt idx="2881" formatCode="0.0%">
                  <c:v>0.25392207829511187</c:v>
                </c:pt>
                <c:pt idx="2882" formatCode="0.0%">
                  <c:v>0.25221992758730927</c:v>
                </c:pt>
                <c:pt idx="2883" formatCode="0.0%">
                  <c:v>0.25776474217012951</c:v>
                </c:pt>
                <c:pt idx="2884" formatCode="0.0%">
                  <c:v>0.26290180314540906</c:v>
                </c:pt>
                <c:pt idx="2885" formatCode="0.0%">
                  <c:v>0.26930311148560609</c:v>
                </c:pt>
                <c:pt idx="2886" formatCode="0.0%">
                  <c:v>0.26924406542793305</c:v>
                </c:pt>
                <c:pt idx="2887" formatCode="0.0%">
                  <c:v>0.25458270845205511</c:v>
                </c:pt>
                <c:pt idx="2888" formatCode="0.0%">
                  <c:v>0.25559471906240283</c:v>
                </c:pt>
                <c:pt idx="2889" formatCode="0.0%">
                  <c:v>0.23934150958274214</c:v>
                </c:pt>
                <c:pt idx="2890" formatCode="0.0%">
                  <c:v>0.21512928730342737</c:v>
                </c:pt>
                <c:pt idx="2891" formatCode="0.0%">
                  <c:v>0.22089292538672095</c:v>
                </c:pt>
                <c:pt idx="2892" formatCode="0.0%">
                  <c:v>0.21968422116853531</c:v>
                </c:pt>
                <c:pt idx="2893" formatCode="0.0%">
                  <c:v>0.2149108963215228</c:v>
                </c:pt>
                <c:pt idx="2894" formatCode="0.0%">
                  <c:v>0.21581990327944622</c:v>
                </c:pt>
                <c:pt idx="2895" formatCode="0.0%">
                  <c:v>0.22782653570102998</c:v>
                </c:pt>
                <c:pt idx="2896" formatCode="0.0%">
                  <c:v>0.22976151133287012</c:v>
                </c:pt>
                <c:pt idx="2897" formatCode="0.0%">
                  <c:v>0.22697815276133976</c:v>
                </c:pt>
                <c:pt idx="2898" formatCode="0.0%">
                  <c:v>0.21847273840254836</c:v>
                </c:pt>
                <c:pt idx="2899" formatCode="0.0%">
                  <c:v>0.22969387756685</c:v>
                </c:pt>
                <c:pt idx="2900" formatCode="0.0%">
                  <c:v>0.2281421274694671</c:v>
                </c:pt>
                <c:pt idx="2901" formatCode="0.0%">
                  <c:v>0.17507021246462087</c:v>
                </c:pt>
                <c:pt idx="2902" formatCode="0.0%">
                  <c:v>0.17641221466027573</c:v>
                </c:pt>
                <c:pt idx="2903" formatCode="0.0%">
                  <c:v>0.19376200547301106</c:v>
                </c:pt>
                <c:pt idx="2904" formatCode="0.0%">
                  <c:v>0.18951936861832624</c:v>
                </c:pt>
                <c:pt idx="2905" formatCode="0.0%">
                  <c:v>0.18438221181079947</c:v>
                </c:pt>
                <c:pt idx="2906" formatCode="0.0%">
                  <c:v>0.20051362782940971</c:v>
                </c:pt>
                <c:pt idx="2907" formatCode="0.0%">
                  <c:v>0.21708173400990213</c:v>
                </c:pt>
                <c:pt idx="2908" formatCode="0.0%">
                  <c:v>0.23262844044106123</c:v>
                </c:pt>
                <c:pt idx="2909" formatCode="0.0%">
                  <c:v>0.23167178637008842</c:v>
                </c:pt>
                <c:pt idx="2910" formatCode="0.0%">
                  <c:v>0.25030532247816345</c:v>
                </c:pt>
                <c:pt idx="2911" formatCode="0.0%">
                  <c:v>0.25323292062601022</c:v>
                </c:pt>
                <c:pt idx="2912" formatCode="0.0%">
                  <c:v>0.27621052355836945</c:v>
                </c:pt>
                <c:pt idx="2913" formatCode="0.0%">
                  <c:v>0.27365177917760364</c:v>
                </c:pt>
                <c:pt idx="2914" formatCode="0.0%">
                  <c:v>0.2772615534370948</c:v>
                </c:pt>
                <c:pt idx="2915" formatCode="0.0%">
                  <c:v>0.27655396242012387</c:v>
                </c:pt>
                <c:pt idx="2916" formatCode="0.0%">
                  <c:v>0.49157452630289178</c:v>
                </c:pt>
                <c:pt idx="2917" formatCode="0.0%">
                  <c:v>0.49342378822895194</c:v>
                </c:pt>
                <c:pt idx="2918" formatCode="0.0%">
                  <c:v>0.49232379342627919</c:v>
                </c:pt>
                <c:pt idx="2919" formatCode="0.0%">
                  <c:v>0.4859332774366768</c:v>
                </c:pt>
                <c:pt idx="2920" formatCode="0.0%">
                  <c:v>0.49136163480994749</c:v>
                </c:pt>
                <c:pt idx="2921" formatCode="0.0%">
                  <c:v>0.48948273204563647</c:v>
                </c:pt>
                <c:pt idx="2922" formatCode="0.0%">
                  <c:v>0.49259884323567227</c:v>
                </c:pt>
                <c:pt idx="2923" formatCode="0.0%">
                  <c:v>0.47886492348555965</c:v>
                </c:pt>
                <c:pt idx="2924" formatCode="0.0%">
                  <c:v>0.47884596224933912</c:v>
                </c:pt>
                <c:pt idx="2925" formatCode="0.0%">
                  <c:v>0.50647405781357335</c:v>
                </c:pt>
                <c:pt idx="2926" formatCode="0.0%">
                  <c:v>0.50487898465927761</c:v>
                </c:pt>
                <c:pt idx="2927" formatCode="0.0%">
                  <c:v>0.5040992348706349</c:v>
                </c:pt>
                <c:pt idx="2928" formatCode="0.0%">
                  <c:v>0.48305203896428539</c:v>
                </c:pt>
                <c:pt idx="2929" formatCode="0.0%">
                  <c:v>0.48495743578301564</c:v>
                </c:pt>
                <c:pt idx="2930" formatCode="0.0%">
                  <c:v>0.48321107119523138</c:v>
                </c:pt>
                <c:pt idx="2931" formatCode="0.0%">
                  <c:v>0.48347007843506257</c:v>
                </c:pt>
                <c:pt idx="2932" formatCode="0.0%">
                  <c:v>0.47866655253240509</c:v>
                </c:pt>
                <c:pt idx="2933" formatCode="0.0%">
                  <c:v>0.48380074486479496</c:v>
                </c:pt>
                <c:pt idx="2934" formatCode="0.0%">
                  <c:v>0.47882359934771795</c:v>
                </c:pt>
                <c:pt idx="2935" formatCode="0.0%">
                  <c:v>0.47859935152034982</c:v>
                </c:pt>
                <c:pt idx="2936" formatCode="0.0%">
                  <c:v>0.27342233346339784</c:v>
                </c:pt>
                <c:pt idx="2937" formatCode="0.0%">
                  <c:v>0.27123547039275409</c:v>
                </c:pt>
                <c:pt idx="2938" formatCode="0.0%">
                  <c:v>0.27096356426754514</c:v>
                </c:pt>
                <c:pt idx="2939" formatCode="0.0%">
                  <c:v>0.26610061473969338</c:v>
                </c:pt>
                <c:pt idx="2940" formatCode="0.0%">
                  <c:v>0.24935909425031644</c:v>
                </c:pt>
                <c:pt idx="2941" formatCode="0.0%">
                  <c:v>0.24532896946028562</c:v>
                </c:pt>
                <c:pt idx="2942" formatCode="0.0%">
                  <c:v>0.24435581819921276</c:v>
                </c:pt>
                <c:pt idx="2943" formatCode="0.0%">
                  <c:v>0.24496751160412475</c:v>
                </c:pt>
                <c:pt idx="2944" formatCode="0.0%">
                  <c:v>0.24500541279019594</c:v>
                </c:pt>
                <c:pt idx="2945" formatCode="0.0%">
                  <c:v>0.19837185814177172</c:v>
                </c:pt>
                <c:pt idx="2946" formatCode="0.0%">
                  <c:v>0.15037737252373573</c:v>
                </c:pt>
                <c:pt idx="2947" formatCode="0.0%">
                  <c:v>0.15046730680167111</c:v>
                </c:pt>
                <c:pt idx="2948" formatCode="0.0%">
                  <c:v>0.14914441186426899</c:v>
                </c:pt>
                <c:pt idx="2949" formatCode="0.0%">
                  <c:v>0.14716895839802122</c:v>
                </c:pt>
                <c:pt idx="2950" formatCode="0.0%">
                  <c:v>0.14716665967480053</c:v>
                </c:pt>
                <c:pt idx="2951" formatCode="0.0%">
                  <c:v>0.14974267480367989</c:v>
                </c:pt>
                <c:pt idx="2952" formatCode="0.0%">
                  <c:v>0.15412630488895354</c:v>
                </c:pt>
                <c:pt idx="2953" formatCode="0.0%">
                  <c:v>0.1379156254119524</c:v>
                </c:pt>
                <c:pt idx="2954" formatCode="0.0%">
                  <c:v>0.13745666383664532</c:v>
                </c:pt>
                <c:pt idx="2955" formatCode="0.0%">
                  <c:v>0.14034173838875283</c:v>
                </c:pt>
                <c:pt idx="2956" formatCode="0.0%">
                  <c:v>0.13685049540562907</c:v>
                </c:pt>
                <c:pt idx="2957" formatCode="0.0%">
                  <c:v>0.13684968760359134</c:v>
                </c:pt>
                <c:pt idx="2958" formatCode="0.0%">
                  <c:v>0.13986699624086546</c:v>
                </c:pt>
                <c:pt idx="2959" formatCode="0.0%">
                  <c:v>0.14472890252454534</c:v>
                </c:pt>
                <c:pt idx="2960" formatCode="0.0%">
                  <c:v>0.14472453327558757</c:v>
                </c:pt>
                <c:pt idx="2961" formatCode="0.0%">
                  <c:v>0.152082900697707</c:v>
                </c:pt>
                <c:pt idx="2962" formatCode="0.0%">
                  <c:v>0.15126731916572539</c:v>
                </c:pt>
                <c:pt idx="2963" formatCode="0.0%">
                  <c:v>0.14902822514341249</c:v>
                </c:pt>
                <c:pt idx="2964" formatCode="0.0%">
                  <c:v>0.15135834879281185</c:v>
                </c:pt>
                <c:pt idx="2965" formatCode="0.0%">
                  <c:v>0.11539523017874358</c:v>
                </c:pt>
                <c:pt idx="2966" formatCode="0.0%">
                  <c:v>0.12433588287458827</c:v>
                </c:pt>
                <c:pt idx="2967" formatCode="0.0%">
                  <c:v>0.1245873961600751</c:v>
                </c:pt>
                <c:pt idx="2968" formatCode="0.0%">
                  <c:v>0.12509045853699829</c:v>
                </c:pt>
                <c:pt idx="2969" formatCode="0.0%">
                  <c:v>0.12595178771753288</c:v>
                </c:pt>
                <c:pt idx="2970" formatCode="0.0%">
                  <c:v>0.1252994334830165</c:v>
                </c:pt>
                <c:pt idx="2971" formatCode="0.0%">
                  <c:v>0.1196687901711517</c:v>
                </c:pt>
                <c:pt idx="2972" formatCode="0.0%">
                  <c:v>0.11795359940035366</c:v>
                </c:pt>
                <c:pt idx="2973" formatCode="0.0%">
                  <c:v>0.11781096363916405</c:v>
                </c:pt>
                <c:pt idx="2974" formatCode="0.0%">
                  <c:v>0.12196614806018281</c:v>
                </c:pt>
                <c:pt idx="2975" formatCode="0.0%">
                  <c:v>0.12240661992947549</c:v>
                </c:pt>
                <c:pt idx="2976" formatCode="0.0%">
                  <c:v>0.12724344661941764</c:v>
                </c:pt>
                <c:pt idx="2977" formatCode="0.0%">
                  <c:v>0.12661297461817395</c:v>
                </c:pt>
                <c:pt idx="2978" formatCode="0.0%">
                  <c:v>0.12013131019329107</c:v>
                </c:pt>
                <c:pt idx="2979" formatCode="0.0%">
                  <c:v>0.13280654403767236</c:v>
                </c:pt>
                <c:pt idx="2980" formatCode="0.0%">
                  <c:v>0.13215992978467542</c:v>
                </c:pt>
                <c:pt idx="2981" formatCode="0.0%">
                  <c:v>0.12681624479916684</c:v>
                </c:pt>
                <c:pt idx="2982" formatCode="0.0%">
                  <c:v>0.1294227582456168</c:v>
                </c:pt>
                <c:pt idx="2983" formatCode="0.0%">
                  <c:v>0.12921094979579714</c:v>
                </c:pt>
                <c:pt idx="2984" formatCode="0.0%">
                  <c:v>0.13988035096039783</c:v>
                </c:pt>
                <c:pt idx="2985" formatCode="0.0%">
                  <c:v>0.13725530735871297</c:v>
                </c:pt>
                <c:pt idx="2986" formatCode="0.0%">
                  <c:v>0.12864421236616244</c:v>
                </c:pt>
                <c:pt idx="2987" formatCode="0.0%">
                  <c:v>0.12855291258275464</c:v>
                </c:pt>
                <c:pt idx="2988" formatCode="0.0%">
                  <c:v>0.12739806972083476</c:v>
                </c:pt>
                <c:pt idx="2989" formatCode="0.0%">
                  <c:v>0.12740301204361729</c:v>
                </c:pt>
                <c:pt idx="2990" formatCode="0.0%">
                  <c:v>0.12740498546789145</c:v>
                </c:pt>
                <c:pt idx="2991" formatCode="0.0%">
                  <c:v>0.11784905533192593</c:v>
                </c:pt>
                <c:pt idx="2992" formatCode="0.0%">
                  <c:v>0.11852809891326088</c:v>
                </c:pt>
                <c:pt idx="2993" formatCode="0.0%">
                  <c:v>0.11931571364237364</c:v>
                </c:pt>
                <c:pt idx="2994" formatCode="0.0%">
                  <c:v>0.11692180949241839</c:v>
                </c:pt>
                <c:pt idx="2995" formatCode="0.0%">
                  <c:v>0.1098086866718065</c:v>
                </c:pt>
                <c:pt idx="2996" formatCode="0.0%">
                  <c:v>0.11652533629268171</c:v>
                </c:pt>
                <c:pt idx="2997" formatCode="0.0%">
                  <c:v>0.12107748714399047</c:v>
                </c:pt>
                <c:pt idx="2998" formatCode="0.0%">
                  <c:v>0.12178576481438184</c:v>
                </c:pt>
                <c:pt idx="2999" formatCode="0.0%">
                  <c:v>0.11336318247946575</c:v>
                </c:pt>
                <c:pt idx="3000" formatCode="0.0%">
                  <c:v>0.11336324442810854</c:v>
                </c:pt>
                <c:pt idx="3001" formatCode="0.0%">
                  <c:v>0.11498717851615317</c:v>
                </c:pt>
                <c:pt idx="3002" formatCode="0.0%">
                  <c:v>0.10690447488876757</c:v>
                </c:pt>
                <c:pt idx="3003" formatCode="0.0%">
                  <c:v>0.12269574036961375</c:v>
                </c:pt>
                <c:pt idx="3004" formatCode="0.0%">
                  <c:v>0.12976653515203626</c:v>
                </c:pt>
                <c:pt idx="3005" formatCode="0.0%">
                  <c:v>0.13051044276348836</c:v>
                </c:pt>
                <c:pt idx="3006" formatCode="0.0%">
                  <c:v>0.13196239428475612</c:v>
                </c:pt>
                <c:pt idx="3007" formatCode="0.0%">
                  <c:v>0.13202075443079453</c:v>
                </c:pt>
                <c:pt idx="3008" formatCode="0.0%">
                  <c:v>0.13192973454456183</c:v>
                </c:pt>
                <c:pt idx="3009" formatCode="0.0%">
                  <c:v>0.13101993471436832</c:v>
                </c:pt>
                <c:pt idx="3010" formatCode="0.0%">
                  <c:v>0.13300255302612296</c:v>
                </c:pt>
                <c:pt idx="3011" formatCode="0.0%">
                  <c:v>0.13259764226111054</c:v>
                </c:pt>
                <c:pt idx="3012" formatCode="0.0%">
                  <c:v>0.14136357199416277</c:v>
                </c:pt>
                <c:pt idx="3013" formatCode="0.0%">
                  <c:v>0.14347808581049648</c:v>
                </c:pt>
                <c:pt idx="3014" formatCode="0.0%">
                  <c:v>0.13901295234780733</c:v>
                </c:pt>
                <c:pt idx="3015" formatCode="0.0%">
                  <c:v>0.13828558388127485</c:v>
                </c:pt>
                <c:pt idx="3016" formatCode="0.0%">
                  <c:v>0.12750291526362562</c:v>
                </c:pt>
                <c:pt idx="3017" formatCode="0.0%">
                  <c:v>0.11757386029553973</c:v>
                </c:pt>
                <c:pt idx="3018" formatCode="0.0%">
                  <c:v>0.11801704811472737</c:v>
                </c:pt>
                <c:pt idx="3019" formatCode="0.0%">
                  <c:v>0.11819088171274925</c:v>
                </c:pt>
                <c:pt idx="3020" formatCode="0.0%">
                  <c:v>0.11762501944500814</c:v>
                </c:pt>
                <c:pt idx="3021" formatCode="0.0%">
                  <c:v>0.12056268015739161</c:v>
                </c:pt>
                <c:pt idx="3022" formatCode="0.0%">
                  <c:v>0.12359893208465733</c:v>
                </c:pt>
                <c:pt idx="3023" formatCode="0.0%">
                  <c:v>0.11986584316257981</c:v>
                </c:pt>
                <c:pt idx="3024" formatCode="0.0%">
                  <c:v>9.4984211230845619E-2</c:v>
                </c:pt>
                <c:pt idx="3025" formatCode="0.0%">
                  <c:v>9.3746252886772657E-2</c:v>
                </c:pt>
                <c:pt idx="3026" formatCode="0.0%">
                  <c:v>9.3690212035360917E-2</c:v>
                </c:pt>
                <c:pt idx="3027" formatCode="0.0%">
                  <c:v>9.3706649285587973E-2</c:v>
                </c:pt>
                <c:pt idx="3028" formatCode="0.0%">
                  <c:v>9.3353972279189096E-2</c:v>
                </c:pt>
                <c:pt idx="3029" formatCode="0.0%">
                  <c:v>9.3304877278932705E-2</c:v>
                </c:pt>
                <c:pt idx="3030" formatCode="0.0%">
                  <c:v>8.944167924723069E-2</c:v>
                </c:pt>
                <c:pt idx="3031" formatCode="0.0%">
                  <c:v>8.9608328404580245E-2</c:v>
                </c:pt>
                <c:pt idx="3032" formatCode="0.0%">
                  <c:v>8.1526512366674284E-2</c:v>
                </c:pt>
                <c:pt idx="3033" formatCode="0.0%">
                  <c:v>8.156912904717234E-2</c:v>
                </c:pt>
                <c:pt idx="3034" formatCode="0.0%">
                  <c:v>8.1776232652700495E-2</c:v>
                </c:pt>
                <c:pt idx="3035" formatCode="0.0%">
                  <c:v>8.1776327599493173E-2</c:v>
                </c:pt>
                <c:pt idx="3036" formatCode="0.0%">
                  <c:v>7.9211855075613638E-2</c:v>
                </c:pt>
                <c:pt idx="3037" formatCode="0.0%">
                  <c:v>8.1116514479061347E-2</c:v>
                </c:pt>
                <c:pt idx="3038" formatCode="0.0%">
                  <c:v>8.1577756219793629E-2</c:v>
                </c:pt>
                <c:pt idx="3039" formatCode="0.0%">
                  <c:v>8.3315515174300414E-2</c:v>
                </c:pt>
                <c:pt idx="3040" formatCode="0.0%">
                  <c:v>8.6510075433903932E-2</c:v>
                </c:pt>
                <c:pt idx="3041" formatCode="0.0%">
                  <c:v>8.1923596140399346E-2</c:v>
                </c:pt>
                <c:pt idx="3042" formatCode="0.0%">
                  <c:v>8.0083300887897932E-2</c:v>
                </c:pt>
                <c:pt idx="3043" formatCode="0.0%">
                  <c:v>6.7149392875423125E-2</c:v>
                </c:pt>
                <c:pt idx="3044" formatCode="0.0%">
                  <c:v>6.7962121905885284E-2</c:v>
                </c:pt>
                <c:pt idx="3045" formatCode="0.0%">
                  <c:v>6.730976453111262E-2</c:v>
                </c:pt>
                <c:pt idx="3046" formatCode="0.0%">
                  <c:v>6.6359213802205039E-2</c:v>
                </c:pt>
                <c:pt idx="3047" formatCode="0.0%">
                  <c:v>7.9027716434534212E-2</c:v>
                </c:pt>
                <c:pt idx="3048" formatCode="0.0%">
                  <c:v>8.0650162509961723E-2</c:v>
                </c:pt>
                <c:pt idx="3049" formatCode="0.0%">
                  <c:v>8.6281915767378745E-2</c:v>
                </c:pt>
                <c:pt idx="3050" formatCode="0.0%">
                  <c:v>8.5670111174889027E-2</c:v>
                </c:pt>
                <c:pt idx="3051" formatCode="0.0%">
                  <c:v>8.5512070722496891E-2</c:v>
                </c:pt>
                <c:pt idx="3052" formatCode="0.0%">
                  <c:v>8.4092108769381793E-2</c:v>
                </c:pt>
                <c:pt idx="3053" formatCode="0.0%">
                  <c:v>7.9862773174320806E-2</c:v>
                </c:pt>
                <c:pt idx="3054" formatCode="0.0%">
                  <c:v>9.335994799731645E-2</c:v>
                </c:pt>
                <c:pt idx="3055" formatCode="0.0%">
                  <c:v>9.3762851126481528E-2</c:v>
                </c:pt>
                <c:pt idx="3056" formatCode="0.0%">
                  <c:v>9.4277352569337045E-2</c:v>
                </c:pt>
                <c:pt idx="3057" formatCode="0.0%">
                  <c:v>9.18374700084367E-2</c:v>
                </c:pt>
                <c:pt idx="3058" formatCode="0.0%">
                  <c:v>9.2091430282195713E-2</c:v>
                </c:pt>
                <c:pt idx="3059" formatCode="0.0%">
                  <c:v>0.10508717393365677</c:v>
                </c:pt>
                <c:pt idx="3060" formatCode="0.0%">
                  <c:v>0.10438221042253015</c:v>
                </c:pt>
                <c:pt idx="3061" formatCode="0.0%">
                  <c:v>0.10551024044230875</c:v>
                </c:pt>
                <c:pt idx="3062" formatCode="0.0%">
                  <c:v>0.1072602188603084</c:v>
                </c:pt>
                <c:pt idx="3063" formatCode="0.0%">
                  <c:v>0.11505510453701609</c:v>
                </c:pt>
                <c:pt idx="3064" formatCode="0.0%">
                  <c:v>0.11993141153060605</c:v>
                </c:pt>
                <c:pt idx="3065" formatCode="0.0%">
                  <c:v>0.12012203478642849</c:v>
                </c:pt>
                <c:pt idx="3066" formatCode="0.0%">
                  <c:v>0.12172471206879983</c:v>
                </c:pt>
                <c:pt idx="3067" formatCode="0.0%">
                  <c:v>0.11206697115274289</c:v>
                </c:pt>
                <c:pt idx="3068" formatCode="0.0%">
                  <c:v>0.12184966848702974</c:v>
                </c:pt>
                <c:pt idx="3069" formatCode="0.0%">
                  <c:v>0.11914721236787341</c:v>
                </c:pt>
                <c:pt idx="3070" formatCode="0.0%">
                  <c:v>0.12349649113239371</c:v>
                </c:pt>
                <c:pt idx="3071" formatCode="0.0%">
                  <c:v>0.12349649113239371</c:v>
                </c:pt>
                <c:pt idx="3072" formatCode="0.0%">
                  <c:v>0.12545300162580392</c:v>
                </c:pt>
                <c:pt idx="3073" formatCode="0.0%">
                  <c:v>0.12623911152553219</c:v>
                </c:pt>
                <c:pt idx="3074" formatCode="0.0%">
                  <c:v>0.11854950952654637</c:v>
                </c:pt>
                <c:pt idx="3075" formatCode="0.0%">
                  <c:v>0.11820054743371194</c:v>
                </c:pt>
                <c:pt idx="3076" formatCode="0.0%">
                  <c:v>0.12199924119287217</c:v>
                </c:pt>
                <c:pt idx="3077" formatCode="0.0%">
                  <c:v>0.12229990249263202</c:v>
                </c:pt>
                <c:pt idx="3078" formatCode="0.0%">
                  <c:v>0.12359441741364156</c:v>
                </c:pt>
                <c:pt idx="3079" formatCode="0.0%">
                  <c:v>0.11713317555436779</c:v>
                </c:pt>
                <c:pt idx="3080" formatCode="0.0%">
                  <c:v>0.11659484305948199</c:v>
                </c:pt>
                <c:pt idx="3081" formatCode="0.0%">
                  <c:v>0.11704132736040887</c:v>
                </c:pt>
                <c:pt idx="3082" formatCode="0.0%">
                  <c:v>0.11111004124833464</c:v>
                </c:pt>
                <c:pt idx="3083" formatCode="0.0%">
                  <c:v>0.10780776855099423</c:v>
                </c:pt>
                <c:pt idx="3084" formatCode="0.0%">
                  <c:v>0.10470467812464476</c:v>
                </c:pt>
                <c:pt idx="3085" formatCode="0.0%">
                  <c:v>0.10376364469693516</c:v>
                </c:pt>
                <c:pt idx="3086" formatCode="0.0%">
                  <c:v>0.14590014954371383</c:v>
                </c:pt>
                <c:pt idx="3087" formatCode="0.0%">
                  <c:v>0.24189429864603626</c:v>
                </c:pt>
                <c:pt idx="3088" formatCode="0.0%">
                  <c:v>0.35281293384496892</c:v>
                </c:pt>
                <c:pt idx="3089" formatCode="0.0%">
                  <c:v>0.35724277398774207</c:v>
                </c:pt>
                <c:pt idx="3090" formatCode="0.0%">
                  <c:v>0.36246283751850872</c:v>
                </c:pt>
                <c:pt idx="3091" formatCode="0.0%">
                  <c:v>0.39466744515969776</c:v>
                </c:pt>
                <c:pt idx="3092" formatCode="0.0%">
                  <c:v>0.38955357274864444</c:v>
                </c:pt>
                <c:pt idx="3093" formatCode="0.0%">
                  <c:v>0.43367927696637304</c:v>
                </c:pt>
                <c:pt idx="3094" formatCode="0.0%">
                  <c:v>0.43741249668135884</c:v>
                </c:pt>
                <c:pt idx="3095" formatCode="0.0%">
                  <c:v>0.43805337653806758</c:v>
                </c:pt>
                <c:pt idx="3096" formatCode="0.0%">
                  <c:v>0.43908435002937435</c:v>
                </c:pt>
                <c:pt idx="3097" formatCode="0.0%">
                  <c:v>0.4553474144869667</c:v>
                </c:pt>
                <c:pt idx="3098" formatCode="0.0%">
                  <c:v>0.45065099611774079</c:v>
                </c:pt>
                <c:pt idx="3099" formatCode="0.0%">
                  <c:v>0.45657811631780548</c:v>
                </c:pt>
                <c:pt idx="3100" formatCode="0.0%">
                  <c:v>0.4547535656110146</c:v>
                </c:pt>
                <c:pt idx="3101" formatCode="0.0%">
                  <c:v>0.45145135393628533</c:v>
                </c:pt>
                <c:pt idx="3102" formatCode="0.0%">
                  <c:v>0.46083742614843326</c:v>
                </c:pt>
                <c:pt idx="3103" formatCode="0.0%">
                  <c:v>0.45702914690124469</c:v>
                </c:pt>
                <c:pt idx="3104" formatCode="0.0%">
                  <c:v>0.46492545693636894</c:v>
                </c:pt>
                <c:pt idx="3105" formatCode="0.0%">
                  <c:v>0.47185281126350753</c:v>
                </c:pt>
                <c:pt idx="3106" formatCode="0.0%">
                  <c:v>0.47656288420911058</c:v>
                </c:pt>
                <c:pt idx="3107" formatCode="0.0%">
                  <c:v>0.4929212605005826</c:v>
                </c:pt>
                <c:pt idx="3108" formatCode="0.0%">
                  <c:v>0.45991000264960158</c:v>
                </c:pt>
                <c:pt idx="3109" formatCode="0.0%">
                  <c:v>0.46174958960908569</c:v>
                </c:pt>
                <c:pt idx="3110" formatCode="0.0%">
                  <c:v>0.47021796718325626</c:v>
                </c:pt>
                <c:pt idx="3111" formatCode="0.0%">
                  <c:v>0.43295300597100944</c:v>
                </c:pt>
                <c:pt idx="3112" formatCode="0.0%">
                  <c:v>0.42867323112941774</c:v>
                </c:pt>
                <c:pt idx="3113" formatCode="0.0%">
                  <c:v>0.34031651614531355</c:v>
                </c:pt>
                <c:pt idx="3114" formatCode="0.0%">
                  <c:v>0.34543737080911241</c:v>
                </c:pt>
                <c:pt idx="3115" formatCode="0.0%">
                  <c:v>0.34566151233713693</c:v>
                </c:pt>
                <c:pt idx="3116" formatCode="0.0%">
                  <c:v>0.34835314292778707</c:v>
                </c:pt>
                <c:pt idx="3117" formatCode="0.0%">
                  <c:v>0.36073854462342514</c:v>
                </c:pt>
                <c:pt idx="3118" formatCode="0.0%">
                  <c:v>0.35226313988710345</c:v>
                </c:pt>
                <c:pt idx="3119" formatCode="0.0%">
                  <c:v>0.35300084432123774</c:v>
                </c:pt>
                <c:pt idx="3120" formatCode="0.0%">
                  <c:v>0.35473288489928995</c:v>
                </c:pt>
                <c:pt idx="3121" formatCode="0.0%">
                  <c:v>0.35042584337915517</c:v>
                </c:pt>
                <c:pt idx="3122" formatCode="0.0%">
                  <c:v>0.3493369380406583</c:v>
                </c:pt>
                <c:pt idx="3123" formatCode="0.0%">
                  <c:v>0.34242925060368257</c:v>
                </c:pt>
                <c:pt idx="3124" formatCode="0.0%">
                  <c:v>0.340478925440865</c:v>
                </c:pt>
                <c:pt idx="3125" formatCode="0.0%">
                  <c:v>0.33894955337562221</c:v>
                </c:pt>
                <c:pt idx="3126" formatCode="0.0%">
                  <c:v>0.3023542074569201</c:v>
                </c:pt>
                <c:pt idx="3127" formatCode="0.0%">
                  <c:v>0.25911777695387778</c:v>
                </c:pt>
                <c:pt idx="3128" formatCode="0.0%">
                  <c:v>0.19440272014175469</c:v>
                </c:pt>
                <c:pt idx="3129" formatCode="0.0%">
                  <c:v>0.18019072405045225</c:v>
                </c:pt>
                <c:pt idx="3130" formatCode="0.0%">
                  <c:v>0.1583812666371277</c:v>
                </c:pt>
                <c:pt idx="3131" formatCode="0.0%">
                  <c:v>0.16246666253553485</c:v>
                </c:pt>
                <c:pt idx="3132" formatCode="0.0%">
                  <c:v>0.16265530351499044</c:v>
                </c:pt>
                <c:pt idx="3133" formatCode="0.0%">
                  <c:v>0.16255139927457504</c:v>
                </c:pt>
                <c:pt idx="3134" formatCode="0.0%">
                  <c:v>0.16065147303462529</c:v>
                </c:pt>
                <c:pt idx="3135" formatCode="0.0%">
                  <c:v>0.16065147303462529</c:v>
                </c:pt>
                <c:pt idx="3136" formatCode="0.0%">
                  <c:v>0.1448038249594194</c:v>
                </c:pt>
                <c:pt idx="3137" formatCode="0.0%">
                  <c:v>0.10416619339780815</c:v>
                </c:pt>
                <c:pt idx="3138" formatCode="0.0%">
                  <c:v>0.10158082163742663</c:v>
                </c:pt>
                <c:pt idx="3139" formatCode="0.0%">
                  <c:v>9.6818394166077418E-2</c:v>
                </c:pt>
                <c:pt idx="3140" formatCode="0.0%">
                  <c:v>9.3390923763366704E-2</c:v>
                </c:pt>
                <c:pt idx="3141" formatCode="0.0%">
                  <c:v>0.11723083758477927</c:v>
                </c:pt>
                <c:pt idx="3142" formatCode="0.0%">
                  <c:v>0.11831195960499172</c:v>
                </c:pt>
                <c:pt idx="3143" formatCode="0.0%">
                  <c:v>0.11962465676117021</c:v>
                </c:pt>
                <c:pt idx="3144" formatCode="0.0%">
                  <c:v>0.11897724181174259</c:v>
                </c:pt>
                <c:pt idx="3145" formatCode="0.0%">
                  <c:v>0.11892923558192986</c:v>
                </c:pt>
                <c:pt idx="3146" formatCode="0.0%">
                  <c:v>0.1268161283523212</c:v>
                </c:pt>
                <c:pt idx="3147" formatCode="0.0%">
                  <c:v>0.12667789217770711</c:v>
                </c:pt>
                <c:pt idx="3148" formatCode="0.0%">
                  <c:v>0.12667789217770711</c:v>
                </c:pt>
                <c:pt idx="3149" formatCode="0.0%">
                  <c:v>0.12984904720301332</c:v>
                </c:pt>
                <c:pt idx="3150" formatCode="0.0%">
                  <c:v>0.13373989104243661</c:v>
                </c:pt>
                <c:pt idx="3151" formatCode="0.0%">
                  <c:v>0.18897692242296873</c:v>
                </c:pt>
                <c:pt idx="3152" formatCode="0.0%">
                  <c:v>0.19126504061286864</c:v>
                </c:pt>
                <c:pt idx="3153" formatCode="0.0%">
                  <c:v>0.19434681495971612</c:v>
                </c:pt>
                <c:pt idx="3154" formatCode="0.0%">
                  <c:v>0.19954490882920795</c:v>
                </c:pt>
                <c:pt idx="3155" formatCode="0.0%">
                  <c:v>0.20143163183789417</c:v>
                </c:pt>
                <c:pt idx="3156" formatCode="0.0%">
                  <c:v>0.20613205795406619</c:v>
                </c:pt>
                <c:pt idx="3157" formatCode="0.0%">
                  <c:v>0.2119959520992856</c:v>
                </c:pt>
                <c:pt idx="3158" formatCode="0.0%">
                  <c:v>0.21442908657756857</c:v>
                </c:pt>
                <c:pt idx="3159" formatCode="0.0%">
                  <c:v>0.22021900146915202</c:v>
                </c:pt>
                <c:pt idx="3160" formatCode="0.0%">
                  <c:v>0.21742659298431033</c:v>
                </c:pt>
                <c:pt idx="3161" formatCode="0.0%">
                  <c:v>0.19848347930829793</c:v>
                </c:pt>
                <c:pt idx="3162" formatCode="0.0%">
                  <c:v>0.2041309809370298</c:v>
                </c:pt>
                <c:pt idx="3163" formatCode="0.0%">
                  <c:v>0.20465447179369539</c:v>
                </c:pt>
                <c:pt idx="3164" formatCode="0.0%">
                  <c:v>0.21324616567516574</c:v>
                </c:pt>
                <c:pt idx="3165" formatCode="0.0%">
                  <c:v>0.21376961441825532</c:v>
                </c:pt>
                <c:pt idx="3166" formatCode="0.0%">
                  <c:v>0.21915763236247476</c:v>
                </c:pt>
                <c:pt idx="3167" formatCode="0.0%">
                  <c:v>0.22219027679776823</c:v>
                </c:pt>
                <c:pt idx="3168" formatCode="0.0%">
                  <c:v>0.22527916416852722</c:v>
                </c:pt>
                <c:pt idx="3169" formatCode="0.0%">
                  <c:v>0.25402417696772289</c:v>
                </c:pt>
                <c:pt idx="3170" formatCode="0.0%">
                  <c:v>0.25155898989583825</c:v>
                </c:pt>
                <c:pt idx="3171" formatCode="0.0%">
                  <c:v>0.21084650609986691</c:v>
                </c:pt>
                <c:pt idx="3172" formatCode="0.0%">
                  <c:v>0.21550282486377589</c:v>
                </c:pt>
                <c:pt idx="3173" formatCode="0.0%">
                  <c:v>0.21386879870683093</c:v>
                </c:pt>
                <c:pt idx="3174" formatCode="0.0%">
                  <c:v>0.20784286656789885</c:v>
                </c:pt>
                <c:pt idx="3175" formatCode="0.0%">
                  <c:v>0.20798787731209029</c:v>
                </c:pt>
                <c:pt idx="3176" formatCode="0.0%">
                  <c:v>0.20602997328382242</c:v>
                </c:pt>
                <c:pt idx="3177" formatCode="0.0%">
                  <c:v>0.1990963353448649</c:v>
                </c:pt>
                <c:pt idx="3178" formatCode="0.0%">
                  <c:v>0.19636571641106423</c:v>
                </c:pt>
                <c:pt idx="3179" formatCode="0.0%">
                  <c:v>0.2119032468576523</c:v>
                </c:pt>
                <c:pt idx="3180" formatCode="0.0%">
                  <c:v>0.21335151872309083</c:v>
                </c:pt>
                <c:pt idx="3181" formatCode="0.0%">
                  <c:v>0.2137938023911245</c:v>
                </c:pt>
                <c:pt idx="3182" formatCode="0.0%">
                  <c:v>0.2123409854333678</c:v>
                </c:pt>
                <c:pt idx="3183" formatCode="0.0%">
                  <c:v>0.22253109233362908</c:v>
                </c:pt>
                <c:pt idx="3184" formatCode="0.0%">
                  <c:v>0.21579151238144334</c:v>
                </c:pt>
                <c:pt idx="3185" formatCode="0.0%">
                  <c:v>0.2202580299923616</c:v>
                </c:pt>
                <c:pt idx="3186" formatCode="0.0%">
                  <c:v>0.20852807760563433</c:v>
                </c:pt>
                <c:pt idx="3187" formatCode="0.0%">
                  <c:v>0.20243185114187615</c:v>
                </c:pt>
                <c:pt idx="3188" formatCode="0.0%">
                  <c:v>0.20290886557490004</c:v>
                </c:pt>
                <c:pt idx="3189" formatCode="0.0%">
                  <c:v>0.16948368209492515</c:v>
                </c:pt>
                <c:pt idx="3190" formatCode="0.0%">
                  <c:v>0.18097107675856808</c:v>
                </c:pt>
                <c:pt idx="3191" formatCode="0.0%">
                  <c:v>0.18001816221065645</c:v>
                </c:pt>
                <c:pt idx="3192" formatCode="0.0%">
                  <c:v>0.17167959278433978</c:v>
                </c:pt>
                <c:pt idx="3193" formatCode="0.0%">
                  <c:v>0.17505624678713955</c:v>
                </c:pt>
                <c:pt idx="3194" formatCode="0.0%">
                  <c:v>0.169082368668942</c:v>
                </c:pt>
                <c:pt idx="3195" formatCode="0.0%">
                  <c:v>0.17094345387190069</c:v>
                </c:pt>
                <c:pt idx="3196" formatCode="0.0%">
                  <c:v>0.16937580535855898</c:v>
                </c:pt>
                <c:pt idx="3197" formatCode="0.0%">
                  <c:v>0.16964089568056756</c:v>
                </c:pt>
                <c:pt idx="3198" formatCode="0.0%">
                  <c:v>0.1697210331470177</c:v>
                </c:pt>
                <c:pt idx="3199" formatCode="0.0%">
                  <c:v>0.13444302629462018</c:v>
                </c:pt>
                <c:pt idx="3200" formatCode="0.0%">
                  <c:v>0.13563761131964125</c:v>
                </c:pt>
                <c:pt idx="3201" formatCode="0.0%">
                  <c:v>0.14013296669729108</c:v>
                </c:pt>
                <c:pt idx="3202" formatCode="0.0%">
                  <c:v>0.14014733150727168</c:v>
                </c:pt>
                <c:pt idx="3203" formatCode="0.0%">
                  <c:v>0.12376253502659545</c:v>
                </c:pt>
                <c:pt idx="3204" formatCode="0.0%">
                  <c:v>0.12368628845881166</c:v>
                </c:pt>
                <c:pt idx="3205" formatCode="0.0%">
                  <c:v>0.11349532899501508</c:v>
                </c:pt>
                <c:pt idx="3206" formatCode="0.0%">
                  <c:v>0.11614337786158017</c:v>
                </c:pt>
                <c:pt idx="3207" formatCode="0.0%">
                  <c:v>0.12673418972081363</c:v>
                </c:pt>
                <c:pt idx="3208" formatCode="0.0%">
                  <c:v>0.12201596478936406</c:v>
                </c:pt>
                <c:pt idx="3209" formatCode="0.0%">
                  <c:v>0.12078011305834818</c:v>
                </c:pt>
                <c:pt idx="3210" formatCode="0.0%">
                  <c:v>0.16300473815319722</c:v>
                </c:pt>
                <c:pt idx="3211" formatCode="0.0%">
                  <c:v>0.24646799761963942</c:v>
                </c:pt>
                <c:pt idx="3212" formatCode="0.0%">
                  <c:v>0.25442164781040971</c:v>
                </c:pt>
                <c:pt idx="3213" formatCode="0.0%">
                  <c:v>0.25483232767140807</c:v>
                </c:pt>
                <c:pt idx="3214" formatCode="0.0%">
                  <c:v>0.25701137860365286</c:v>
                </c:pt>
                <c:pt idx="3215" formatCode="0.0%">
                  <c:v>0.25566394610080334</c:v>
                </c:pt>
                <c:pt idx="3216" formatCode="0.0%">
                  <c:v>0.26017115944345875</c:v>
                </c:pt>
                <c:pt idx="3217" formatCode="0.0%">
                  <c:v>0.26460130524942455</c:v>
                </c:pt>
                <c:pt idx="3218" formatCode="0.0%">
                  <c:v>0.26446460864971738</c:v>
                </c:pt>
                <c:pt idx="3219" formatCode="0.0%">
                  <c:v>0.27818752533062446</c:v>
                </c:pt>
                <c:pt idx="3220" formatCode="0.0%">
                  <c:v>0.27778392502554183</c:v>
                </c:pt>
                <c:pt idx="3221" formatCode="0.0%">
                  <c:v>0.27579366363820362</c:v>
                </c:pt>
                <c:pt idx="3222" formatCode="0.0%">
                  <c:v>0.27495371670815133</c:v>
                </c:pt>
                <c:pt idx="3223" formatCode="0.0%">
                  <c:v>0.28302740927429321</c:v>
                </c:pt>
                <c:pt idx="3224" formatCode="0.0%">
                  <c:v>0.28138722979534919</c:v>
                </c:pt>
                <c:pt idx="3225" formatCode="0.0%">
                  <c:v>0.28127710642006182</c:v>
                </c:pt>
                <c:pt idx="3226" formatCode="0.0%">
                  <c:v>0.27996566067742401</c:v>
                </c:pt>
                <c:pt idx="3227" formatCode="0.0%">
                  <c:v>0.27361295776095695</c:v>
                </c:pt>
                <c:pt idx="3228" formatCode="0.0%">
                  <c:v>0.27361295776095695</c:v>
                </c:pt>
                <c:pt idx="3229" formatCode="0.0%">
                  <c:v>0.27163944598812589</c:v>
                </c:pt>
                <c:pt idx="3230" formatCode="0.0%">
                  <c:v>0.24647951329004372</c:v>
                </c:pt>
                <c:pt idx="3231" formatCode="0.0%">
                  <c:v>0.14045473993362809</c:v>
                </c:pt>
                <c:pt idx="3232" formatCode="0.0%">
                  <c:v>0.13517175967100351</c:v>
                </c:pt>
                <c:pt idx="3233" formatCode="0.0%">
                  <c:v>0.1255981535726885</c:v>
                </c:pt>
                <c:pt idx="3234" formatCode="0.0%">
                  <c:v>0.12621259946763042</c:v>
                </c:pt>
                <c:pt idx="3235" formatCode="0.0%">
                  <c:v>0.12579970410044475</c:v>
                </c:pt>
                <c:pt idx="3236" formatCode="0.0%">
                  <c:v>0.12551802303849827</c:v>
                </c:pt>
                <c:pt idx="3237" formatCode="0.0%">
                  <c:v>0.12106113110677436</c:v>
                </c:pt>
                <c:pt idx="3238" formatCode="0.0%">
                  <c:v>0.12302978776302251</c:v>
                </c:pt>
                <c:pt idx="3239" formatCode="0.0%">
                  <c:v>9.5141752455411885E-2</c:v>
                </c:pt>
                <c:pt idx="3240" formatCode="0.0%">
                  <c:v>9.5449032022180996E-2</c:v>
                </c:pt>
                <c:pt idx="3241" formatCode="0.0%">
                  <c:v>9.5279732135849046E-2</c:v>
                </c:pt>
                <c:pt idx="3242" formatCode="0.0%">
                  <c:v>9.6186315660089686E-2</c:v>
                </c:pt>
                <c:pt idx="3243" formatCode="0.0%">
                  <c:v>7.2030718468985733E-2</c:v>
                </c:pt>
                <c:pt idx="3244" formatCode="0.0%">
                  <c:v>7.4713861646510601E-2</c:v>
                </c:pt>
                <c:pt idx="3245" formatCode="0.0%">
                  <c:v>8.7681792338876505E-2</c:v>
                </c:pt>
                <c:pt idx="3246" formatCode="0.0%">
                  <c:v>8.5994939508419257E-2</c:v>
                </c:pt>
                <c:pt idx="3247" formatCode="0.0%">
                  <c:v>9.1389700768892718E-2</c:v>
                </c:pt>
                <c:pt idx="3248" formatCode="0.0%">
                  <c:v>0.12287011447501386</c:v>
                </c:pt>
                <c:pt idx="3249" formatCode="0.0%">
                  <c:v>0.11984369188596888</c:v>
                </c:pt>
                <c:pt idx="3250" formatCode="0.0%">
                  <c:v>0.11980526014234144</c:v>
                </c:pt>
                <c:pt idx="3251" formatCode="0.0%">
                  <c:v>0.11736407826197884</c:v>
                </c:pt>
                <c:pt idx="3252" formatCode="0.0%">
                  <c:v>0.11854505618488831</c:v>
                </c:pt>
                <c:pt idx="3253" formatCode="0.0%">
                  <c:v>0.11867110139681883</c:v>
                </c:pt>
                <c:pt idx="3254" formatCode="0.0%">
                  <c:v>0.11937739085762135</c:v>
                </c:pt>
                <c:pt idx="3255" formatCode="0.0%">
                  <c:v>0.12130770120167604</c:v>
                </c:pt>
                <c:pt idx="3256" formatCode="0.0%">
                  <c:v>0.11921835901838358</c:v>
                </c:pt>
                <c:pt idx="3257" formatCode="0.0%">
                  <c:v>0.12674135917120793</c:v>
                </c:pt>
                <c:pt idx="3258" formatCode="0.0%">
                  <c:v>0.12193135147054979</c:v>
                </c:pt>
                <c:pt idx="3259" formatCode="0.0%">
                  <c:v>0.1223995383247316</c:v>
                </c:pt>
                <c:pt idx="3260" formatCode="0.0%">
                  <c:v>0.12732234283480356</c:v>
                </c:pt>
                <c:pt idx="3261" formatCode="0.0%">
                  <c:v>0.12859424161699351</c:v>
                </c:pt>
                <c:pt idx="3262" formatCode="0.0%">
                  <c:v>0.12850059859094562</c:v>
                </c:pt>
                <c:pt idx="3263" formatCode="0.0%">
                  <c:v>0.12880300128205455</c:v>
                </c:pt>
                <c:pt idx="3264" formatCode="0.0%">
                  <c:v>0.12839379628361758</c:v>
                </c:pt>
                <c:pt idx="3265" formatCode="0.0%">
                  <c:v>0.12160349980712711</c:v>
                </c:pt>
                <c:pt idx="3266" formatCode="0.0%">
                  <c:v>0.13994885965209974</c:v>
                </c:pt>
                <c:pt idx="3267" formatCode="0.0%">
                  <c:v>0.14883604246610405</c:v>
                </c:pt>
                <c:pt idx="3268" formatCode="0.0%">
                  <c:v>0.11872578966194135</c:v>
                </c:pt>
                <c:pt idx="3269" formatCode="0.0%">
                  <c:v>0.12030996583158252</c:v>
                </c:pt>
                <c:pt idx="3270" formatCode="0.0%">
                  <c:v>0.12034798679783777</c:v>
                </c:pt>
                <c:pt idx="3271" formatCode="0.0%">
                  <c:v>0.14182952359218876</c:v>
                </c:pt>
                <c:pt idx="3272" formatCode="0.0%">
                  <c:v>0.14064885397112714</c:v>
                </c:pt>
                <c:pt idx="3273" formatCode="0.0%">
                  <c:v>0.13896964082553517</c:v>
                </c:pt>
                <c:pt idx="3274" formatCode="0.0%">
                  <c:v>0.13920861742477222</c:v>
                </c:pt>
                <c:pt idx="3275" formatCode="0.0%">
                  <c:v>0.14733333868442369</c:v>
                </c:pt>
                <c:pt idx="3276" formatCode="0.0%">
                  <c:v>0.15107953923773307</c:v>
                </c:pt>
                <c:pt idx="3277" formatCode="0.0%">
                  <c:v>0.17900418712740668</c:v>
                </c:pt>
                <c:pt idx="3278" formatCode="0.0%">
                  <c:v>0.18936528940817005</c:v>
                </c:pt>
                <c:pt idx="3279" formatCode="0.0%">
                  <c:v>0.18952144991814596</c:v>
                </c:pt>
                <c:pt idx="3280" formatCode="0.0%">
                  <c:v>0.18909772442995862</c:v>
                </c:pt>
                <c:pt idx="3281" formatCode="0.0%">
                  <c:v>0.2016174617490287</c:v>
                </c:pt>
                <c:pt idx="3282" formatCode="0.0%">
                  <c:v>0.20326773663678968</c:v>
                </c:pt>
                <c:pt idx="3283" formatCode="0.0%">
                  <c:v>0.20623388693592334</c:v>
                </c:pt>
                <c:pt idx="3284" formatCode="0.0%">
                  <c:v>0.20938321534082638</c:v>
                </c:pt>
                <c:pt idx="3285" formatCode="0.0%">
                  <c:v>0.20972029828009925</c:v>
                </c:pt>
                <c:pt idx="3286" formatCode="0.0%">
                  <c:v>0.19967362443462644</c:v>
                </c:pt>
                <c:pt idx="3287" formatCode="0.0%">
                  <c:v>0.19121047583696166</c:v>
                </c:pt>
                <c:pt idx="3288" formatCode="0.0%">
                  <c:v>0.19751378801192931</c:v>
                </c:pt>
                <c:pt idx="3289" formatCode="0.0%">
                  <c:v>0.19552733801063191</c:v>
                </c:pt>
                <c:pt idx="3290" formatCode="0.0%">
                  <c:v>0.19633675256121388</c:v>
                </c:pt>
                <c:pt idx="3291" formatCode="0.0%">
                  <c:v>0.19816624608223524</c:v>
                </c:pt>
                <c:pt idx="3292" formatCode="0.0%">
                  <c:v>0.1977653575960279</c:v>
                </c:pt>
                <c:pt idx="3293" formatCode="0.0%">
                  <c:v>0.2117333169197351</c:v>
                </c:pt>
                <c:pt idx="3294" formatCode="0.0%">
                  <c:v>0.21347121916680256</c:v>
                </c:pt>
                <c:pt idx="3295" formatCode="0.0%">
                  <c:v>0.20465986865715607</c:v>
                </c:pt>
                <c:pt idx="3296" formatCode="0.0%">
                  <c:v>0.19866265042344089</c:v>
                </c:pt>
                <c:pt idx="3297" formatCode="0.0%">
                  <c:v>0.15681808428201571</c:v>
                </c:pt>
                <c:pt idx="3298" formatCode="0.0%">
                  <c:v>0.15254137209840074</c:v>
                </c:pt>
                <c:pt idx="3299" formatCode="0.0%">
                  <c:v>0.15194542443725609</c:v>
                </c:pt>
                <c:pt idx="3300" formatCode="0.0%">
                  <c:v>0.14998065162037519</c:v>
                </c:pt>
                <c:pt idx="3301" formatCode="0.0%">
                  <c:v>0.13868345723769193</c:v>
                </c:pt>
                <c:pt idx="3302" formatCode="0.0%">
                  <c:v>0.14319269954931091</c:v>
                </c:pt>
                <c:pt idx="3303" formatCode="0.0%">
                  <c:v>0.14066992005592935</c:v>
                </c:pt>
                <c:pt idx="3304" formatCode="0.0%">
                  <c:v>0.13762550356315686</c:v>
                </c:pt>
                <c:pt idx="3305" formatCode="0.0%">
                  <c:v>0.13788084203350617</c:v>
                </c:pt>
                <c:pt idx="3306" formatCode="0.0%">
                  <c:v>0.13817875307318289</c:v>
                </c:pt>
                <c:pt idx="3307" formatCode="0.0%">
                  <c:v>0.14014506610593711</c:v>
                </c:pt>
                <c:pt idx="3308" formatCode="0.0%">
                  <c:v>0.12795260153265534</c:v>
                </c:pt>
                <c:pt idx="3309" formatCode="0.0%">
                  <c:v>0.12701666128285041</c:v>
                </c:pt>
                <c:pt idx="3310" formatCode="0.0%">
                  <c:v>0.12480332074582989</c:v>
                </c:pt>
                <c:pt idx="3311" formatCode="0.0%">
                  <c:v>0.11711018070343314</c:v>
                </c:pt>
                <c:pt idx="3312" formatCode="0.0%">
                  <c:v>0.11549229882736713</c:v>
                </c:pt>
                <c:pt idx="3313" formatCode="0.0%">
                  <c:v>9.7217375446985055E-2</c:v>
                </c:pt>
                <c:pt idx="3314" formatCode="0.0%">
                  <c:v>0.1196881230829839</c:v>
                </c:pt>
                <c:pt idx="3315" formatCode="0.0%">
                  <c:v>0.12871694980451154</c:v>
                </c:pt>
                <c:pt idx="3316" formatCode="0.0%">
                  <c:v>0.12810441901038169</c:v>
                </c:pt>
                <c:pt idx="3317" formatCode="0.0%">
                  <c:v>0.12937396756901035</c:v>
                </c:pt>
                <c:pt idx="3318" formatCode="0.0%">
                  <c:v>0.12687127193553405</c:v>
                </c:pt>
                <c:pt idx="3319" formatCode="0.0%">
                  <c:v>0.12505559069526256</c:v>
                </c:pt>
                <c:pt idx="3320" formatCode="0.0%">
                  <c:v>0.12480294228545692</c:v>
                </c:pt>
                <c:pt idx="3321" formatCode="0.0%">
                  <c:v>0.13148960805633028</c:v>
                </c:pt>
                <c:pt idx="3322" formatCode="0.0%">
                  <c:v>0.12967794917120232</c:v>
                </c:pt>
                <c:pt idx="3323" formatCode="0.0%">
                  <c:v>0.12975258162588313</c:v>
                </c:pt>
                <c:pt idx="3324" formatCode="0.0%">
                  <c:v>0.1380053388051502</c:v>
                </c:pt>
                <c:pt idx="3325" formatCode="0.0%">
                  <c:v>0.14019029500061581</c:v>
                </c:pt>
                <c:pt idx="3326" formatCode="0.0%">
                  <c:v>0.13564560458445632</c:v>
                </c:pt>
                <c:pt idx="3327" formatCode="0.0%">
                  <c:v>0.13606431105188094</c:v>
                </c:pt>
                <c:pt idx="3328" formatCode="0.0%">
                  <c:v>0.1361156148109631</c:v>
                </c:pt>
                <c:pt idx="3329" formatCode="0.0%">
                  <c:v>0.14092650857253589</c:v>
                </c:pt>
                <c:pt idx="3330" formatCode="0.0%">
                  <c:v>0.13850813020766359</c:v>
                </c:pt>
                <c:pt idx="3331" formatCode="0.0%">
                  <c:v>0.12312879033489618</c:v>
                </c:pt>
                <c:pt idx="3332" formatCode="0.0%">
                  <c:v>0.12434668646405193</c:v>
                </c:pt>
                <c:pt idx="3333" formatCode="0.0%">
                  <c:v>0.14357130193769788</c:v>
                </c:pt>
                <c:pt idx="3334" formatCode="0.0%">
                  <c:v>0.12632287116805249</c:v>
                </c:pt>
                <c:pt idx="3335" formatCode="0.0%">
                  <c:v>0.11753828140646377</c:v>
                </c:pt>
                <c:pt idx="3336" formatCode="0.0%">
                  <c:v>0.11762717536432216</c:v>
                </c:pt>
                <c:pt idx="3337" formatCode="0.0%">
                  <c:v>0.12371954411147935</c:v>
                </c:pt>
                <c:pt idx="3338" formatCode="0.0%">
                  <c:v>0.12327443358539042</c:v>
                </c:pt>
                <c:pt idx="3339" formatCode="0.0%">
                  <c:v>0.12588314327882935</c:v>
                </c:pt>
                <c:pt idx="3340" formatCode="0.0%">
                  <c:v>0.138069284017555</c:v>
                </c:pt>
                <c:pt idx="3341" formatCode="0.0%">
                  <c:v>0.12858782920002512</c:v>
                </c:pt>
                <c:pt idx="3342" formatCode="0.0%">
                  <c:v>0.12957104628357194</c:v>
                </c:pt>
                <c:pt idx="3343" formatCode="0.0%">
                  <c:v>0.14058913086244779</c:v>
                </c:pt>
                <c:pt idx="3344" formatCode="0.0%">
                  <c:v>0.13519055834965288</c:v>
                </c:pt>
                <c:pt idx="3345" formatCode="0.0%">
                  <c:v>0.1411323765508265</c:v>
                </c:pt>
                <c:pt idx="3346" formatCode="0.0%">
                  <c:v>0.13850270335931439</c:v>
                </c:pt>
                <c:pt idx="3347" formatCode="0.0%">
                  <c:v>0.14455459508445845</c:v>
                </c:pt>
                <c:pt idx="3348" formatCode="0.0%">
                  <c:v>0.14636867981234111</c:v>
                </c:pt>
                <c:pt idx="3349" formatCode="0.0%">
                  <c:v>0.13727186236915814</c:v>
                </c:pt>
                <c:pt idx="3350" formatCode="0.0%">
                  <c:v>0.13727053631211955</c:v>
                </c:pt>
                <c:pt idx="3351" formatCode="0.0%">
                  <c:v>0.13714180597148423</c:v>
                </c:pt>
                <c:pt idx="3352" formatCode="0.0%">
                  <c:v>0.14311986237623089</c:v>
                </c:pt>
                <c:pt idx="3353" formatCode="0.0%">
                  <c:v>0.12956258186702327</c:v>
                </c:pt>
                <c:pt idx="3354" formatCode="0.0%">
                  <c:v>0.12998108366294112</c:v>
                </c:pt>
                <c:pt idx="3355" formatCode="0.0%">
                  <c:v>0.12978949887637628</c:v>
                </c:pt>
                <c:pt idx="3356" formatCode="0.0%">
                  <c:v>0.14393709471258256</c:v>
                </c:pt>
                <c:pt idx="3357" formatCode="0.0%">
                  <c:v>0.14954457368505375</c:v>
                </c:pt>
                <c:pt idx="3358" formatCode="0.0%">
                  <c:v>0.14954457368505375</c:v>
                </c:pt>
                <c:pt idx="3359" formatCode="0.0%">
                  <c:v>0.14643981519183033</c:v>
                </c:pt>
                <c:pt idx="3360" formatCode="0.0%">
                  <c:v>0.12936767773023736</c:v>
                </c:pt>
                <c:pt idx="3361" formatCode="0.0%">
                  <c:v>0.13159015064757895</c:v>
                </c:pt>
                <c:pt idx="3362" formatCode="0.0%">
                  <c:v>0.13278111884433491</c:v>
                </c:pt>
                <c:pt idx="3363" formatCode="0.0%">
                  <c:v>0.12152594318688405</c:v>
                </c:pt>
                <c:pt idx="3364" formatCode="0.0%">
                  <c:v>0.12187230547684587</c:v>
                </c:pt>
                <c:pt idx="3365" formatCode="0.0%">
                  <c:v>0.12280745262376376</c:v>
                </c:pt>
                <c:pt idx="3366" formatCode="0.0%">
                  <c:v>0.13752429222204088</c:v>
                </c:pt>
                <c:pt idx="3367" formatCode="0.0%">
                  <c:v>0.13195544990530902</c:v>
                </c:pt>
                <c:pt idx="3368" formatCode="0.0%">
                  <c:v>0.13130901015747182</c:v>
                </c:pt>
                <c:pt idx="3369" formatCode="0.0%">
                  <c:v>0.13101170053613623</c:v>
                </c:pt>
                <c:pt idx="3370" formatCode="0.0%">
                  <c:v>0.133326969858372</c:v>
                </c:pt>
                <c:pt idx="3371" formatCode="0.0%">
                  <c:v>0.13440889621043586</c:v>
                </c:pt>
                <c:pt idx="3372" formatCode="0.0%">
                  <c:v>0.13127005935906172</c:v>
                </c:pt>
                <c:pt idx="3373" formatCode="0.0%">
                  <c:v>0.13209571416464483</c:v>
                </c:pt>
                <c:pt idx="3374" formatCode="0.0%">
                  <c:v>0.13188528772738092</c:v>
                </c:pt>
                <c:pt idx="3375" formatCode="0.0%">
                  <c:v>0.14271645437558622</c:v>
                </c:pt>
                <c:pt idx="3376" formatCode="0.0%">
                  <c:v>0.14397586962485678</c:v>
                </c:pt>
                <c:pt idx="3377" formatCode="0.0%">
                  <c:v>0.13537439824704828</c:v>
                </c:pt>
                <c:pt idx="3378" formatCode="0.0%">
                  <c:v>0.13511583440608976</c:v>
                </c:pt>
                <c:pt idx="3379" formatCode="0.0%">
                  <c:v>0.13601705333450359</c:v>
                </c:pt>
                <c:pt idx="3380" formatCode="0.0%">
                  <c:v>0.13517135040590453</c:v>
                </c:pt>
                <c:pt idx="3381" formatCode="0.0%">
                  <c:v>0.13310958874681528</c:v>
                </c:pt>
                <c:pt idx="3382" formatCode="0.0%">
                  <c:v>0.13391283180631186</c:v>
                </c:pt>
                <c:pt idx="3383" formatCode="0.0%">
                  <c:v>0.13747663741723581</c:v>
                </c:pt>
                <c:pt idx="3384" formatCode="0.0%">
                  <c:v>0.13704899646042376</c:v>
                </c:pt>
                <c:pt idx="3385" formatCode="0.0%">
                  <c:v>0.14132150358620074</c:v>
                </c:pt>
                <c:pt idx="3386" formatCode="0.0%">
                  <c:v>0.12900077276494432</c:v>
                </c:pt>
                <c:pt idx="3387" formatCode="0.0%">
                  <c:v>0.12572178202822423</c:v>
                </c:pt>
                <c:pt idx="3388" formatCode="0.0%">
                  <c:v>0.12924405102405551</c:v>
                </c:pt>
                <c:pt idx="3389" formatCode="0.0%">
                  <c:v>0.12989844580990445</c:v>
                </c:pt>
                <c:pt idx="3390" formatCode="0.0%">
                  <c:v>0.13223137209660926</c:v>
                </c:pt>
                <c:pt idx="3391" formatCode="0.0%">
                  <c:v>0.13096161259866398</c:v>
                </c:pt>
                <c:pt idx="3392" formatCode="0.0%">
                  <c:v>0.13216478345953289</c:v>
                </c:pt>
                <c:pt idx="3393" formatCode="0.0%">
                  <c:v>0.13183829064213604</c:v>
                </c:pt>
                <c:pt idx="3394" formatCode="0.0%">
                  <c:v>0.13435951158381904</c:v>
                </c:pt>
                <c:pt idx="3395" formatCode="0.0%">
                  <c:v>0.12057571931359706</c:v>
                </c:pt>
                <c:pt idx="3396" formatCode="0.0%">
                  <c:v>0.10171134310013562</c:v>
                </c:pt>
                <c:pt idx="3397" formatCode="0.0%">
                  <c:v>0.10171134310013562</c:v>
                </c:pt>
                <c:pt idx="3398" formatCode="0.0%">
                  <c:v>0.10156943200864833</c:v>
                </c:pt>
                <c:pt idx="3399" formatCode="0.0%">
                  <c:v>0.10821607942756339</c:v>
                </c:pt>
                <c:pt idx="3400" formatCode="0.0%">
                  <c:v>0.11202451278536571</c:v>
                </c:pt>
                <c:pt idx="3401" formatCode="0.0%">
                  <c:v>0.11122635011912783</c:v>
                </c:pt>
                <c:pt idx="3402" formatCode="0.0%">
                  <c:v>0.11126945640997778</c:v>
                </c:pt>
                <c:pt idx="3403" formatCode="0.0%">
                  <c:v>0.11026822911881019</c:v>
                </c:pt>
                <c:pt idx="3404" formatCode="0.0%">
                  <c:v>0.11397595702306917</c:v>
                </c:pt>
                <c:pt idx="3405" formatCode="0.0%">
                  <c:v>9.2039782035302525E-2</c:v>
                </c:pt>
                <c:pt idx="3406" formatCode="0.0%">
                  <c:v>9.2478185908864224E-2</c:v>
                </c:pt>
                <c:pt idx="3407" formatCode="0.0%">
                  <c:v>9.428399887155231E-2</c:v>
                </c:pt>
                <c:pt idx="3408" formatCode="0.0%">
                  <c:v>9.2697637000513311E-2</c:v>
                </c:pt>
                <c:pt idx="3409" formatCode="0.0%">
                  <c:v>9.270293155108196E-2</c:v>
                </c:pt>
                <c:pt idx="3410" formatCode="0.0%">
                  <c:v>7.9008960295266398E-2</c:v>
                </c:pt>
                <c:pt idx="3411" formatCode="0.0%">
                  <c:v>8.5563182584883199E-2</c:v>
                </c:pt>
                <c:pt idx="3412" formatCode="0.0%">
                  <c:v>8.4583713780408826E-2</c:v>
                </c:pt>
                <c:pt idx="3413" formatCode="0.0%">
                  <c:v>8.5527646613006075E-2</c:v>
                </c:pt>
                <c:pt idx="3414" formatCode="0.0%">
                  <c:v>8.4014556587939118E-2</c:v>
                </c:pt>
                <c:pt idx="3415" formatCode="0.0%">
                  <c:v>8.6476000108616113E-2</c:v>
                </c:pt>
                <c:pt idx="3416" formatCode="0.0%">
                  <c:v>8.9677687288006042E-2</c:v>
                </c:pt>
                <c:pt idx="3417" formatCode="0.0%">
                  <c:v>9.0089202264373572E-2</c:v>
                </c:pt>
                <c:pt idx="3418" formatCode="0.0%">
                  <c:v>9.0358006883976674E-2</c:v>
                </c:pt>
                <c:pt idx="3419" formatCode="0.0%">
                  <c:v>8.2488533526685268E-2</c:v>
                </c:pt>
                <c:pt idx="3420" formatCode="0.0%">
                  <c:v>7.6550744111697835E-2</c:v>
                </c:pt>
                <c:pt idx="3421" formatCode="0.0%">
                  <c:v>8.1870872236206732E-2</c:v>
                </c:pt>
                <c:pt idx="3422" formatCode="0.0%">
                  <c:v>8.83490999246722E-2</c:v>
                </c:pt>
                <c:pt idx="3423" formatCode="0.0%">
                  <c:v>8.7520706401090109E-2</c:v>
                </c:pt>
                <c:pt idx="3424" formatCode="0.0%">
                  <c:v>7.839914270113478E-2</c:v>
                </c:pt>
                <c:pt idx="3425" formatCode="0.0%">
                  <c:v>7.2647155480788109E-2</c:v>
                </c:pt>
                <c:pt idx="3426" formatCode="0.0%">
                  <c:v>9.3466400391741145E-2</c:v>
                </c:pt>
                <c:pt idx="3427" formatCode="0.0%">
                  <c:v>9.8561554620275618E-2</c:v>
                </c:pt>
                <c:pt idx="3428" formatCode="0.0%">
                  <c:v>0.1054862641838632</c:v>
                </c:pt>
                <c:pt idx="3429" formatCode="0.0%">
                  <c:v>0.10522517741125124</c:v>
                </c:pt>
                <c:pt idx="3430" formatCode="0.0%">
                  <c:v>0.10576491098355657</c:v>
                </c:pt>
                <c:pt idx="3431" formatCode="0.0%">
                  <c:v>0.10549156562564695</c:v>
                </c:pt>
                <c:pt idx="3432" formatCode="0.0%">
                  <c:v>0.11468008313920972</c:v>
                </c:pt>
                <c:pt idx="3433" formatCode="0.0%">
                  <c:v>0.11412738042030802</c:v>
                </c:pt>
                <c:pt idx="3434" formatCode="0.0%">
                  <c:v>0.11546574209234028</c:v>
                </c:pt>
                <c:pt idx="3435" formatCode="0.0%">
                  <c:v>0.11632780576769923</c:v>
                </c:pt>
                <c:pt idx="3436" formatCode="0.0%">
                  <c:v>0.11443328737742463</c:v>
                </c:pt>
                <c:pt idx="3437" formatCode="0.0%">
                  <c:v>0.11444146683771328</c:v>
                </c:pt>
                <c:pt idx="3438" formatCode="0.0%">
                  <c:v>0.11409829044716899</c:v>
                </c:pt>
                <c:pt idx="3439" formatCode="0.0%">
                  <c:v>0.11377210859694285</c:v>
                </c:pt>
                <c:pt idx="3440" formatCode="0.0%">
                  <c:v>0.12055859647055611</c:v>
                </c:pt>
                <c:pt idx="3441" formatCode="0.0%">
                  <c:v>0.1178837079513734</c:v>
                </c:pt>
                <c:pt idx="3442" formatCode="0.0%">
                  <c:v>0.11882897435360547</c:v>
                </c:pt>
                <c:pt idx="3443" formatCode="0.0%">
                  <c:v>0.11882897435360547</c:v>
                </c:pt>
                <c:pt idx="3444" formatCode="0.0%">
                  <c:v>0.1191837826843361</c:v>
                </c:pt>
                <c:pt idx="3445" formatCode="0.0%">
                  <c:v>0.11678908463730135</c:v>
                </c:pt>
                <c:pt idx="3446" formatCode="0.0%">
                  <c:v>9.6761559429772298E-2</c:v>
                </c:pt>
                <c:pt idx="3447" formatCode="0.0%">
                  <c:v>0.10057101421755536</c:v>
                </c:pt>
                <c:pt idx="3448" formatCode="0.0%">
                  <c:v>0.10827641572695756</c:v>
                </c:pt>
                <c:pt idx="3449" formatCode="0.0%">
                  <c:v>0.11643018765157583</c:v>
                </c:pt>
                <c:pt idx="3450" formatCode="0.0%">
                  <c:v>0.11414890585085237</c:v>
                </c:pt>
                <c:pt idx="3451" formatCode="0.0%">
                  <c:v>0.11387821247958541</c:v>
                </c:pt>
                <c:pt idx="3452" formatCode="0.0%">
                  <c:v>0.10989962537630013</c:v>
                </c:pt>
                <c:pt idx="3453" formatCode="0.0%">
                  <c:v>0.12199574776017431</c:v>
                </c:pt>
                <c:pt idx="3454" formatCode="0.0%">
                  <c:v>0.11993615447317557</c:v>
                </c:pt>
                <c:pt idx="3455" formatCode="0.0%">
                  <c:v>0.11477862973578649</c:v>
                </c:pt>
                <c:pt idx="3456" formatCode="0.0%">
                  <c:v>0.11524764231333287</c:v>
                </c:pt>
                <c:pt idx="3457" formatCode="0.0%">
                  <c:v>0.12036276148847284</c:v>
                </c:pt>
                <c:pt idx="3458" formatCode="0.0%">
                  <c:v>0.12838299815149168</c:v>
                </c:pt>
                <c:pt idx="3459" formatCode="0.0%">
                  <c:v>0.13313791625721089</c:v>
                </c:pt>
                <c:pt idx="3460" formatCode="0.0%">
                  <c:v>0.13026878139896592</c:v>
                </c:pt>
                <c:pt idx="3461" formatCode="0.0%">
                  <c:v>0.13031445225032032</c:v>
                </c:pt>
                <c:pt idx="3462" formatCode="0.0%">
                  <c:v>0.12416800022529524</c:v>
                </c:pt>
                <c:pt idx="3463" formatCode="0.0%">
                  <c:v>0.14561471965973505</c:v>
                </c:pt>
                <c:pt idx="3464" formatCode="0.0%">
                  <c:v>0.1454390772602219</c:v>
                </c:pt>
                <c:pt idx="3465" formatCode="0.0%">
                  <c:v>0.15166390051254158</c:v>
                </c:pt>
                <c:pt idx="3466" formatCode="0.0%">
                  <c:v>0.14454874552394711</c:v>
                </c:pt>
                <c:pt idx="3467" formatCode="0.0%">
                  <c:v>0.14294202356968302</c:v>
                </c:pt>
                <c:pt idx="3468" formatCode="0.0%">
                  <c:v>0.14222352174543595</c:v>
                </c:pt>
                <c:pt idx="3469" formatCode="0.0%">
                  <c:v>0.1380917102250592</c:v>
                </c:pt>
                <c:pt idx="3470" formatCode="0.0%">
                  <c:v>0.13872029747552089</c:v>
                </c:pt>
                <c:pt idx="3471" formatCode="0.0%">
                  <c:v>0.13879113455866762</c:v>
                </c:pt>
                <c:pt idx="3472" formatCode="0.0%">
                  <c:v>0.13774618476362757</c:v>
                </c:pt>
                <c:pt idx="3473" formatCode="0.0%">
                  <c:v>0.12902716725213159</c:v>
                </c:pt>
                <c:pt idx="3474" formatCode="0.0%">
                  <c:v>0.13155163985123025</c:v>
                </c:pt>
                <c:pt idx="3475" formatCode="0.0%">
                  <c:v>0.13189287125499144</c:v>
                </c:pt>
                <c:pt idx="3476" formatCode="0.0%">
                  <c:v>0.15630129049238531</c:v>
                </c:pt>
                <c:pt idx="3477" formatCode="0.0%">
                  <c:v>0.15712742132133253</c:v>
                </c:pt>
                <c:pt idx="3478" formatCode="0.0%">
                  <c:v>0.15294223946884505</c:v>
                </c:pt>
                <c:pt idx="3479" formatCode="0.0%">
                  <c:v>0.15069727295093643</c:v>
                </c:pt>
                <c:pt idx="3480" formatCode="0.0%">
                  <c:v>0.19800376237481299</c:v>
                </c:pt>
                <c:pt idx="3481" formatCode="0.0%">
                  <c:v>0.22409774042981792</c:v>
                </c:pt>
                <c:pt idx="3482" formatCode="0.0%">
                  <c:v>0.22449519856864703</c:v>
                </c:pt>
                <c:pt idx="3483" formatCode="0.0%">
                  <c:v>0.22375026717382404</c:v>
                </c:pt>
                <c:pt idx="3484" formatCode="0.0%">
                  <c:v>0.22526076718039895</c:v>
                </c:pt>
                <c:pt idx="3485" formatCode="0.0%">
                  <c:v>0.22076026770182949</c:v>
                </c:pt>
                <c:pt idx="3486" formatCode="0.0%">
                  <c:v>0.22075229684143788</c:v>
                </c:pt>
                <c:pt idx="3487" formatCode="0.0%">
                  <c:v>0.22547851207334046</c:v>
                </c:pt>
                <c:pt idx="3488" formatCode="0.0%">
                  <c:v>0.2212794808148929</c:v>
                </c:pt>
                <c:pt idx="3489" formatCode="0.0%">
                  <c:v>0.2194753891519165</c:v>
                </c:pt>
                <c:pt idx="3490" formatCode="0.0%">
                  <c:v>0.2186698409874398</c:v>
                </c:pt>
                <c:pt idx="3491" formatCode="0.0%">
                  <c:v>0.21897226050335253</c:v>
                </c:pt>
                <c:pt idx="3492" formatCode="0.0%">
                  <c:v>0.21987818667603795</c:v>
                </c:pt>
                <c:pt idx="3493" formatCode="0.0%">
                  <c:v>0.22185626421479762</c:v>
                </c:pt>
                <c:pt idx="3494" formatCode="0.0%">
                  <c:v>0.22104612512542049</c:v>
                </c:pt>
                <c:pt idx="3495" formatCode="0.0%">
                  <c:v>0.27793914309926721</c:v>
                </c:pt>
                <c:pt idx="3496" formatCode="0.0%">
                  <c:v>0.2649913472046872</c:v>
                </c:pt>
                <c:pt idx="3497" formatCode="0.0%">
                  <c:v>0.27653880937100811</c:v>
                </c:pt>
                <c:pt idx="3498" formatCode="0.0%">
                  <c:v>0.28997270934989017</c:v>
                </c:pt>
                <c:pt idx="3499" formatCode="0.0%">
                  <c:v>0.28961506608042292</c:v>
                </c:pt>
                <c:pt idx="3500" formatCode="0.0%">
                  <c:v>0.25576850091781128</c:v>
                </c:pt>
                <c:pt idx="3501" formatCode="0.0%">
                  <c:v>0.23053330874755298</c:v>
                </c:pt>
                <c:pt idx="3502" formatCode="0.0%">
                  <c:v>0.23106741143258119</c:v>
                </c:pt>
                <c:pt idx="3503" formatCode="0.0%">
                  <c:v>0.2241866805788591</c:v>
                </c:pt>
                <c:pt idx="3504" formatCode="0.0%">
                  <c:v>0.23140607749358497</c:v>
                </c:pt>
                <c:pt idx="3505" formatCode="0.0%">
                  <c:v>0.23140607749358497</c:v>
                </c:pt>
                <c:pt idx="3506" formatCode="0.0%">
                  <c:v>0.2309441024926176</c:v>
                </c:pt>
                <c:pt idx="3507" formatCode="0.0%">
                  <c:v>0.22473169463946049</c:v>
                </c:pt>
                <c:pt idx="3508" formatCode="0.0%">
                  <c:v>0.22073919800129072</c:v>
                </c:pt>
                <c:pt idx="3509" formatCode="0.0%">
                  <c:v>0.22124287120295225</c:v>
                </c:pt>
                <c:pt idx="3510" formatCode="0.0%">
                  <c:v>0.22483475989939922</c:v>
                </c:pt>
                <c:pt idx="3511" formatCode="0.0%">
                  <c:v>0.2243231202436832</c:v>
                </c:pt>
                <c:pt idx="3512" formatCode="0.0%">
                  <c:v>0.22428904613369618</c:v>
                </c:pt>
                <c:pt idx="3513" formatCode="0.0%">
                  <c:v>0.22829443820475073</c:v>
                </c:pt>
                <c:pt idx="3514" formatCode="0.0%">
                  <c:v>0.22579301814592706</c:v>
                </c:pt>
                <c:pt idx="3515" formatCode="0.0%">
                  <c:v>0.17274274781240234</c:v>
                </c:pt>
                <c:pt idx="3516" formatCode="0.0%">
                  <c:v>0.17135451070813712</c:v>
                </c:pt>
                <c:pt idx="3517" formatCode="0.0%">
                  <c:v>0.1533033685408326</c:v>
                </c:pt>
                <c:pt idx="3518" formatCode="0.0%">
                  <c:v>0.12826444544971305</c:v>
                </c:pt>
                <c:pt idx="3519" formatCode="0.0%">
                  <c:v>0.13088624841409474</c:v>
                </c:pt>
                <c:pt idx="3520" formatCode="0.0%">
                  <c:v>0.13310159040255107</c:v>
                </c:pt>
                <c:pt idx="3521" formatCode="0.0%">
                  <c:v>0.12393103462564574</c:v>
                </c:pt>
                <c:pt idx="3522" formatCode="0.0%">
                  <c:v>0.13008597563749932</c:v>
                </c:pt>
                <c:pt idx="3523" formatCode="0.0%">
                  <c:v>0.13745674042728945</c:v>
                </c:pt>
                <c:pt idx="3524" formatCode="0.0%">
                  <c:v>0.12149762294026073</c:v>
                </c:pt>
                <c:pt idx="3525" formatCode="0.0%">
                  <c:v>0.12120195146180794</c:v>
                </c:pt>
                <c:pt idx="3526" formatCode="0.0%">
                  <c:v>0.12125691891726302</c:v>
                </c:pt>
                <c:pt idx="3527" formatCode="0.0%">
                  <c:v>0.12039143155029318</c:v>
                </c:pt>
                <c:pt idx="3528" formatCode="0.0%">
                  <c:v>0.13421735070755156</c:v>
                </c:pt>
                <c:pt idx="3529" formatCode="0.0%">
                  <c:v>0.13431761093121045</c:v>
                </c:pt>
                <c:pt idx="3530" formatCode="0.0%">
                  <c:v>0.12754830012326562</c:v>
                </c:pt>
                <c:pt idx="3531" formatCode="0.0%">
                  <c:v>0.1275072528521583</c:v>
                </c:pt>
                <c:pt idx="3532" formatCode="0.0%">
                  <c:v>0.12918975760514731</c:v>
                </c:pt>
                <c:pt idx="3533" formatCode="0.0%">
                  <c:v>0.11469483832379943</c:v>
                </c:pt>
                <c:pt idx="3534" formatCode="0.0%">
                  <c:v>0.11879299363196759</c:v>
                </c:pt>
                <c:pt idx="3535" formatCode="0.0%">
                  <c:v>0.12376530816156373</c:v>
                </c:pt>
                <c:pt idx="3536" formatCode="0.0%">
                  <c:v>0.13105169442275771</c:v>
                </c:pt>
                <c:pt idx="3537" formatCode="0.0%">
                  <c:v>0.14423060035026905</c:v>
                </c:pt>
                <c:pt idx="3538" formatCode="0.0%">
                  <c:v>0.14777717435520485</c:v>
                </c:pt>
                <c:pt idx="3539" formatCode="0.0%">
                  <c:v>0.15142835851889122</c:v>
                </c:pt>
                <c:pt idx="3540" formatCode="0.0%">
                  <c:v>0.16723418084373926</c:v>
                </c:pt>
                <c:pt idx="3541" formatCode="0.0%">
                  <c:v>0.17052477659257578</c:v>
                </c:pt>
                <c:pt idx="3542" formatCode="0.0%">
                  <c:v>0.16900092197594363</c:v>
                </c:pt>
                <c:pt idx="3543" formatCode="0.0%">
                  <c:v>0.17567882740832658</c:v>
                </c:pt>
                <c:pt idx="3544" formatCode="0.0%">
                  <c:v>0.17282755697899999</c:v>
                </c:pt>
                <c:pt idx="3545" formatCode="0.0%">
                  <c:v>0.17647475977413113</c:v>
                </c:pt>
                <c:pt idx="3546" formatCode="0.0%">
                  <c:v>0.18294876090193882</c:v>
                </c:pt>
                <c:pt idx="3547" formatCode="0.0%">
                  <c:v>0.20043384031643166</c:v>
                </c:pt>
                <c:pt idx="3548" formatCode="0.0%">
                  <c:v>0.19300294056930717</c:v>
                </c:pt>
                <c:pt idx="3549" formatCode="0.0%">
                  <c:v>0.19300161627883061</c:v>
                </c:pt>
                <c:pt idx="3550" formatCode="0.0%">
                  <c:v>0.19513111392745439</c:v>
                </c:pt>
                <c:pt idx="3551" formatCode="0.0%">
                  <c:v>0.19675046017187944</c:v>
                </c:pt>
                <c:pt idx="3552" formatCode="0.0%">
                  <c:v>0.19837550787501917</c:v>
                </c:pt>
                <c:pt idx="3553" formatCode="0.0%">
                  <c:v>0.19846891113097681</c:v>
                </c:pt>
                <c:pt idx="3554" formatCode="0.0%">
                  <c:v>0.1957446575853079</c:v>
                </c:pt>
                <c:pt idx="3555" formatCode="0.0%">
                  <c:v>0.19335296112425562</c:v>
                </c:pt>
                <c:pt idx="3556" formatCode="0.0%">
                  <c:v>0.18958840367351226</c:v>
                </c:pt>
                <c:pt idx="3557" formatCode="0.0%">
                  <c:v>0.17794134399628594</c:v>
                </c:pt>
                <c:pt idx="3558" formatCode="0.0%">
                  <c:v>0.17839896401949953</c:v>
                </c:pt>
                <c:pt idx="3559" formatCode="0.0%">
                  <c:v>0.17535978702807942</c:v>
                </c:pt>
                <c:pt idx="3560" formatCode="0.0%">
                  <c:v>0.15386618298751956</c:v>
                </c:pt>
                <c:pt idx="3561" formatCode="0.0%">
                  <c:v>0.15386618298751953</c:v>
                </c:pt>
                <c:pt idx="3562" formatCode="0.0%">
                  <c:v>0.15261580676761319</c:v>
                </c:pt>
                <c:pt idx="3563" formatCode="0.0%">
                  <c:v>0.14670525483360877</c:v>
                </c:pt>
                <c:pt idx="3564" formatCode="0.0%">
                  <c:v>0.1467796767250315</c:v>
                </c:pt>
                <c:pt idx="3565" formatCode="0.0%">
                  <c:v>0.14511894392596678</c:v>
                </c:pt>
                <c:pt idx="3566" formatCode="0.0%">
                  <c:v>0.14893581159536104</c:v>
                </c:pt>
                <c:pt idx="3567" formatCode="0.0%">
                  <c:v>0.12285157402335657</c:v>
                </c:pt>
                <c:pt idx="3568" formatCode="0.0%">
                  <c:v>0.12105988023224699</c:v>
                </c:pt>
                <c:pt idx="3569" formatCode="0.0%">
                  <c:v>0.12943515661367982</c:v>
                </c:pt>
                <c:pt idx="3570" formatCode="0.0%">
                  <c:v>0.13593812028959207</c:v>
                </c:pt>
                <c:pt idx="3571" formatCode="0.0%">
                  <c:v>0.13459509014646703</c:v>
                </c:pt>
                <c:pt idx="3572" formatCode="0.0%">
                  <c:v>0.1285407457866917</c:v>
                </c:pt>
                <c:pt idx="3573" formatCode="0.0%">
                  <c:v>0.15238200909341906</c:v>
                </c:pt>
                <c:pt idx="3574" formatCode="0.0%">
                  <c:v>0.15249663321053428</c:v>
                </c:pt>
                <c:pt idx="3575" formatCode="0.0%">
                  <c:v>0.15090901720901262</c:v>
                </c:pt>
                <c:pt idx="3576" formatCode="0.0%">
                  <c:v>0.15137842805118984</c:v>
                </c:pt>
                <c:pt idx="3577" formatCode="0.0%">
                  <c:v>0.17048940510452359</c:v>
                </c:pt>
                <c:pt idx="3578" formatCode="0.0%">
                  <c:v>0.1714969900907681</c:v>
                </c:pt>
                <c:pt idx="3579" formatCode="0.0%">
                  <c:v>0.17082203784436947</c:v>
                </c:pt>
                <c:pt idx="3580" formatCode="0.0%">
                  <c:v>0.16773272203670772</c:v>
                </c:pt>
                <c:pt idx="3581" formatCode="0.0%">
                  <c:v>0.169079930507853</c:v>
                </c:pt>
                <c:pt idx="3582" formatCode="0.0%">
                  <c:v>0.16881391007263719</c:v>
                </c:pt>
                <c:pt idx="3583" formatCode="0.0%">
                  <c:v>0.16804037034181971</c:v>
                </c:pt>
                <c:pt idx="3584" formatCode="0.0%">
                  <c:v>0.16803762718691315</c:v>
                </c:pt>
                <c:pt idx="3585" formatCode="0.0%">
                  <c:v>0.17539743501219712</c:v>
                </c:pt>
                <c:pt idx="3586" formatCode="0.0%">
                  <c:v>0.16675521005194932</c:v>
                </c:pt>
                <c:pt idx="3587" formatCode="0.0%">
                  <c:v>0.17738135463109667</c:v>
                </c:pt>
                <c:pt idx="3588" formatCode="0.0%">
                  <c:v>0.17753825324452255</c:v>
                </c:pt>
                <c:pt idx="3589" formatCode="0.0%">
                  <c:v>0.17249304295627241</c:v>
                </c:pt>
                <c:pt idx="3590" formatCode="0.0%">
                  <c:v>0.16982002654964926</c:v>
                </c:pt>
                <c:pt idx="3591" formatCode="0.0%">
                  <c:v>0.17051564303435898</c:v>
                </c:pt>
                <c:pt idx="3592" formatCode="0.0%">
                  <c:v>0.17050760244449831</c:v>
                </c:pt>
                <c:pt idx="3593" formatCode="0.0%">
                  <c:v>0.14743402278438192</c:v>
                </c:pt>
                <c:pt idx="3594" formatCode="0.0%">
                  <c:v>0.14519400338664604</c:v>
                </c:pt>
                <c:pt idx="3595" formatCode="0.0%">
                  <c:v>0.14639405224190782</c:v>
                </c:pt>
                <c:pt idx="3596" formatCode="0.0%">
                  <c:v>0.13920396025202889</c:v>
                </c:pt>
                <c:pt idx="3597" formatCode="0.0%">
                  <c:v>0.14104161957723896</c:v>
                </c:pt>
                <c:pt idx="3598" formatCode="0.0%">
                  <c:v>0.14061219570214792</c:v>
                </c:pt>
                <c:pt idx="3599" formatCode="0.0%">
                  <c:v>0.14215314282217731</c:v>
                </c:pt>
                <c:pt idx="3600" formatCode="0.0%">
                  <c:v>0.14118511946497483</c:v>
                </c:pt>
                <c:pt idx="3601" formatCode="0.0%">
                  <c:v>0.14175106788666755</c:v>
                </c:pt>
                <c:pt idx="3602" formatCode="0.0%">
                  <c:v>0.14208784685640519</c:v>
                </c:pt>
                <c:pt idx="3603" formatCode="0.0%">
                  <c:v>0.14256814493971504</c:v>
                </c:pt>
                <c:pt idx="3604" formatCode="0.0%">
                  <c:v>0.14218997889707688</c:v>
                </c:pt>
                <c:pt idx="3605" formatCode="0.0%">
                  <c:v>0.14034946418469615</c:v>
                </c:pt>
                <c:pt idx="3606" formatCode="0.0%">
                  <c:v>0.14243155995160584</c:v>
                </c:pt>
                <c:pt idx="3607" formatCode="0.0%">
                  <c:v>0.1276814471989963</c:v>
                </c:pt>
                <c:pt idx="3608" formatCode="0.0%">
                  <c:v>0.12579845528067038</c:v>
                </c:pt>
                <c:pt idx="3609" formatCode="0.0%">
                  <c:v>0.12654438189644432</c:v>
                </c:pt>
                <c:pt idx="3610" formatCode="0.0%">
                  <c:v>0.12634821698252455</c:v>
                </c:pt>
                <c:pt idx="3611" formatCode="0.0%">
                  <c:v>0.12417784223695637</c:v>
                </c:pt>
                <c:pt idx="3612" formatCode="0.0%">
                  <c:v>0.13128255949104647</c:v>
                </c:pt>
                <c:pt idx="3613" formatCode="0.0%">
                  <c:v>0.12597233446566911</c:v>
                </c:pt>
                <c:pt idx="3614" formatCode="0.0%">
                  <c:v>0.13418949114688342</c:v>
                </c:pt>
                <c:pt idx="3615" formatCode="0.0%">
                  <c:v>0.15129689588114636</c:v>
                </c:pt>
                <c:pt idx="3616" formatCode="0.0%">
                  <c:v>0.15137358908131882</c:v>
                </c:pt>
                <c:pt idx="3617" formatCode="0.0%">
                  <c:v>0.13648954217390241</c:v>
                </c:pt>
                <c:pt idx="3618" formatCode="0.0%">
                  <c:v>0.13630309649927361</c:v>
                </c:pt>
                <c:pt idx="3619" formatCode="0.0%">
                  <c:v>0.13554184792505403</c:v>
                </c:pt>
                <c:pt idx="3620" formatCode="0.0%">
                  <c:v>0.13610405549469171</c:v>
                </c:pt>
                <c:pt idx="3621" formatCode="0.0%">
                  <c:v>0.13608921150628805</c:v>
                </c:pt>
                <c:pt idx="3622" formatCode="0.0%">
                  <c:v>0.13748804759858435</c:v>
                </c:pt>
                <c:pt idx="3623" formatCode="0.0%">
                  <c:v>0.14081299031489472</c:v>
                </c:pt>
                <c:pt idx="3624" formatCode="0.0%">
                  <c:v>0.14460417108208945</c:v>
                </c:pt>
                <c:pt idx="3625" formatCode="0.0%">
                  <c:v>0.14333432703466131</c:v>
                </c:pt>
                <c:pt idx="3626" formatCode="0.0%">
                  <c:v>0.13900587551973637</c:v>
                </c:pt>
                <c:pt idx="3627" formatCode="0.0%">
                  <c:v>0.15983632015089283</c:v>
                </c:pt>
                <c:pt idx="3628" formatCode="0.0%">
                  <c:v>0.16232954620543302</c:v>
                </c:pt>
                <c:pt idx="3629" formatCode="0.0%">
                  <c:v>0.15983191573723121</c:v>
                </c:pt>
                <c:pt idx="3630" formatCode="0.0%">
                  <c:v>0.16335052125095892</c:v>
                </c:pt>
                <c:pt idx="3631" formatCode="0.0%">
                  <c:v>0.16587158597205237</c:v>
                </c:pt>
                <c:pt idx="3632" formatCode="0.0%">
                  <c:v>0.15736085054698118</c:v>
                </c:pt>
                <c:pt idx="3633" formatCode="0.0%">
                  <c:v>0.15593095126391188</c:v>
                </c:pt>
                <c:pt idx="3634" formatCode="0.0%">
                  <c:v>0.15674777064791146</c:v>
                </c:pt>
                <c:pt idx="3635" formatCode="0.0%">
                  <c:v>0.13802607793015834</c:v>
                </c:pt>
                <c:pt idx="3636" formatCode="0.0%">
                  <c:v>0.13761795137516603</c:v>
                </c:pt>
                <c:pt idx="3637" formatCode="0.0%">
                  <c:v>0.13661455881058521</c:v>
                </c:pt>
                <c:pt idx="3638" formatCode="0.0%">
                  <c:v>0.14925461855457803</c:v>
                </c:pt>
                <c:pt idx="3639" formatCode="0.0%">
                  <c:v>0.14926056454656622</c:v>
                </c:pt>
                <c:pt idx="3640" formatCode="0.0%">
                  <c:v>0.14882560378629933</c:v>
                </c:pt>
                <c:pt idx="3641" formatCode="0.0%">
                  <c:v>0.14925606754563597</c:v>
                </c:pt>
                <c:pt idx="3642" formatCode="0.0%">
                  <c:v>0.15886282873320459</c:v>
                </c:pt>
                <c:pt idx="3643" formatCode="0.0%">
                  <c:v>0.14988052950898167</c:v>
                </c:pt>
                <c:pt idx="3644" formatCode="0.0%">
                  <c:v>0.14821642571007509</c:v>
                </c:pt>
                <c:pt idx="3645" formatCode="0.0%">
                  <c:v>0.1435674711945274</c:v>
                </c:pt>
                <c:pt idx="3646" formatCode="0.0%">
                  <c:v>0.14356486060048265</c:v>
                </c:pt>
                <c:pt idx="3647" formatCode="0.0%">
                  <c:v>0.11556287796950064</c:v>
                </c:pt>
                <c:pt idx="3648" formatCode="0.0%">
                  <c:v>0.10698694707985239</c:v>
                </c:pt>
                <c:pt idx="3649" formatCode="0.0%">
                  <c:v>0.10877583546521148</c:v>
                </c:pt>
                <c:pt idx="3650" formatCode="0.0%">
                  <c:v>0.10629081168550916</c:v>
                </c:pt>
                <c:pt idx="3651" formatCode="0.0%">
                  <c:v>9.8887674762662608E-2</c:v>
                </c:pt>
                <c:pt idx="3652" formatCode="0.0%">
                  <c:v>9.8524700833847831E-2</c:v>
                </c:pt>
                <c:pt idx="3653" formatCode="0.0%">
                  <c:v>0.10033816351910664</c:v>
                </c:pt>
                <c:pt idx="3654" formatCode="0.0%">
                  <c:v>9.5652246941059046E-2</c:v>
                </c:pt>
                <c:pt idx="3655" formatCode="0.0%">
                  <c:v>9.9773126968027495E-2</c:v>
                </c:pt>
                <c:pt idx="3656" formatCode="0.0%">
                  <c:v>0.10527758675060937</c:v>
                </c:pt>
                <c:pt idx="3657" formatCode="0.0%">
                  <c:v>0.10466823342530308</c:v>
                </c:pt>
                <c:pt idx="3658" formatCode="0.0%">
                  <c:v>9.2401473274570906E-2</c:v>
                </c:pt>
                <c:pt idx="3659" formatCode="0.0%">
                  <c:v>9.2613236260597656E-2</c:v>
                </c:pt>
                <c:pt idx="3660" formatCode="0.0%">
                  <c:v>9.2819310450094727E-2</c:v>
                </c:pt>
                <c:pt idx="3661" formatCode="0.0%">
                  <c:v>9.9003445953429609E-2</c:v>
                </c:pt>
                <c:pt idx="3662" formatCode="0.0%">
                  <c:v>9.161305170284835E-2</c:v>
                </c:pt>
                <c:pt idx="3663" formatCode="0.0%">
                  <c:v>9.343844650729892E-2</c:v>
                </c:pt>
                <c:pt idx="3664" formatCode="0.0%">
                  <c:v>9.0539049101181518E-2</c:v>
                </c:pt>
                <c:pt idx="3665" formatCode="0.0%">
                  <c:v>9.053818239238591E-2</c:v>
                </c:pt>
                <c:pt idx="3666" formatCode="0.0%">
                  <c:v>9.0017284653009885E-2</c:v>
                </c:pt>
                <c:pt idx="3667" formatCode="0.0%">
                  <c:v>8.2223218503492401E-2</c:v>
                </c:pt>
                <c:pt idx="3668" formatCode="0.0%">
                  <c:v>8.2215771294855772E-2</c:v>
                </c:pt>
                <c:pt idx="3669" formatCode="0.0%">
                  <c:v>8.1934527863582865E-2</c:v>
                </c:pt>
                <c:pt idx="3670" formatCode="0.0%">
                  <c:v>8.5642935408482654E-2</c:v>
                </c:pt>
                <c:pt idx="3671" formatCode="0.0%">
                  <c:v>8.7522610646133744E-2</c:v>
                </c:pt>
                <c:pt idx="3672" formatCode="0.0%">
                  <c:v>9.1718142123466337E-2</c:v>
                </c:pt>
                <c:pt idx="3673" formatCode="0.0%">
                  <c:v>9.2639556560875871E-2</c:v>
                </c:pt>
                <c:pt idx="3674" formatCode="0.0%">
                  <c:v>9.1118061156239494E-2</c:v>
                </c:pt>
                <c:pt idx="3675" formatCode="0.0%">
                  <c:v>8.7702811378391532E-2</c:v>
                </c:pt>
                <c:pt idx="3676" formatCode="0.0%">
                  <c:v>8.0427127377460536E-2</c:v>
                </c:pt>
                <c:pt idx="3677" formatCode="0.0%">
                  <c:v>8.0428282899473638E-2</c:v>
                </c:pt>
                <c:pt idx="3678" formatCode="0.0%">
                  <c:v>8.5595002283565022E-2</c:v>
                </c:pt>
                <c:pt idx="3679" formatCode="0.0%">
                  <c:v>8.5149056127906797E-2</c:v>
                </c:pt>
                <c:pt idx="3680" formatCode="0.0%">
                  <c:v>8.5728543823574171E-2</c:v>
                </c:pt>
                <c:pt idx="3681" formatCode="0.0%">
                  <c:v>8.3757135003967656E-2</c:v>
                </c:pt>
                <c:pt idx="3682" formatCode="0.0%">
                  <c:v>7.8122345879880997E-2</c:v>
                </c:pt>
                <c:pt idx="3683" formatCode="0.0%">
                  <c:v>7.7356905968051726E-2</c:v>
                </c:pt>
                <c:pt idx="3684" formatCode="0.0%">
                  <c:v>7.7996438984507616E-2</c:v>
                </c:pt>
                <c:pt idx="3685" formatCode="0.0%">
                  <c:v>8.0960848020664333E-2</c:v>
                </c:pt>
                <c:pt idx="3686" formatCode="0.0%">
                  <c:v>8.0960848020664333E-2</c:v>
                </c:pt>
                <c:pt idx="3687" formatCode="0.0%">
                  <c:v>8.4234666312733172E-2</c:v>
                </c:pt>
                <c:pt idx="3688" formatCode="0.0%">
                  <c:v>9.4906193151862592E-2</c:v>
                </c:pt>
                <c:pt idx="3689" formatCode="0.0%">
                  <c:v>9.6476164290880753E-2</c:v>
                </c:pt>
                <c:pt idx="3690" formatCode="0.0%">
                  <c:v>9.4996581842334463E-2</c:v>
                </c:pt>
                <c:pt idx="3691" formatCode="0.0%">
                  <c:v>9.1315656062851025E-2</c:v>
                </c:pt>
                <c:pt idx="3692" formatCode="0.0%">
                  <c:v>9.1472465199272018E-2</c:v>
                </c:pt>
                <c:pt idx="3693" formatCode="0.0%">
                  <c:v>8.5501451882879373E-2</c:v>
                </c:pt>
                <c:pt idx="3694" formatCode="0.0%">
                  <c:v>8.823459059567533E-2</c:v>
                </c:pt>
                <c:pt idx="3695" formatCode="0.0%">
                  <c:v>9.1794336182548744E-2</c:v>
                </c:pt>
                <c:pt idx="3696" formatCode="0.0%">
                  <c:v>0.11037645163142293</c:v>
                </c:pt>
                <c:pt idx="3697" formatCode="0.0%">
                  <c:v>0.10869960771993893</c:v>
                </c:pt>
                <c:pt idx="3698" formatCode="0.0%">
                  <c:v>0.10867780679356477</c:v>
                </c:pt>
                <c:pt idx="3699" formatCode="0.0%">
                  <c:v>0.1113899289984641</c:v>
                </c:pt>
                <c:pt idx="3700" formatCode="0.0%">
                  <c:v>0.11310527781173078</c:v>
                </c:pt>
                <c:pt idx="3701" formatCode="0.0%">
                  <c:v>0.11318592378584298</c:v>
                </c:pt>
                <c:pt idx="3702" formatCode="0.0%">
                  <c:v>0.11105581010672298</c:v>
                </c:pt>
                <c:pt idx="3703" formatCode="0.0%">
                  <c:v>0.1112203531685791</c:v>
                </c:pt>
                <c:pt idx="3704" formatCode="0.0%">
                  <c:v>0.11923803026570001</c:v>
                </c:pt>
                <c:pt idx="3705" formatCode="0.0%">
                  <c:v>0.12329549136331948</c:v>
                </c:pt>
                <c:pt idx="3706" formatCode="0.0%">
                  <c:v>0.1236469046164098</c:v>
                </c:pt>
                <c:pt idx="3707" formatCode="0.0%">
                  <c:v>0.1229132056539237</c:v>
                </c:pt>
                <c:pt idx="3708" formatCode="0.0%">
                  <c:v>0.12079703872145289</c:v>
                </c:pt>
                <c:pt idx="3709" formatCode="0.0%">
                  <c:v>0.12037994344831927</c:v>
                </c:pt>
                <c:pt idx="3710" formatCode="0.0%">
                  <c:v>0.1202249602378956</c:v>
                </c:pt>
                <c:pt idx="3711" formatCode="0.0%">
                  <c:v>0.12599709563452585</c:v>
                </c:pt>
                <c:pt idx="3712" formatCode="0.0%">
                  <c:v>0.12298530715407956</c:v>
                </c:pt>
                <c:pt idx="3713" formatCode="0.0%">
                  <c:v>0.12795769919352037</c:v>
                </c:pt>
                <c:pt idx="3714" formatCode="0.0%">
                  <c:v>0.12212594390755821</c:v>
                </c:pt>
                <c:pt idx="3715" formatCode="0.0%">
                  <c:v>0.12435987683722562</c:v>
                </c:pt>
                <c:pt idx="3716" formatCode="0.0%">
                  <c:v>0.12000417634642654</c:v>
                </c:pt>
                <c:pt idx="3717" formatCode="0.0%">
                  <c:v>0.12855343388154183</c:v>
                </c:pt>
                <c:pt idx="3718" formatCode="0.0%">
                  <c:v>0.12941820461006598</c:v>
                </c:pt>
                <c:pt idx="3719" formatCode="0.0%">
                  <c:v>0.12074052072739568</c:v>
                </c:pt>
                <c:pt idx="3720" formatCode="0.0%">
                  <c:v>0.12575807404397055</c:v>
                </c:pt>
                <c:pt idx="3721" formatCode="0.0%">
                  <c:v>0.13252971091483071</c:v>
                </c:pt>
                <c:pt idx="3722" formatCode="0.0%">
                  <c:v>0.13230016628288774</c:v>
                </c:pt>
                <c:pt idx="3723" formatCode="0.0%">
                  <c:v>0.13117623140709411</c:v>
                </c:pt>
                <c:pt idx="3724" formatCode="0.0%">
                  <c:v>0.1278118304644669</c:v>
                </c:pt>
                <c:pt idx="3725" formatCode="0.0%">
                  <c:v>0.12555024566809164</c:v>
                </c:pt>
                <c:pt idx="3726" formatCode="0.0%">
                  <c:v>0.12555048245325526</c:v>
                </c:pt>
                <c:pt idx="3727" formatCode="0.0%">
                  <c:v>0.12384110411796782</c:v>
                </c:pt>
                <c:pt idx="3728" formatCode="0.0%">
                  <c:v>0.11486401981942837</c:v>
                </c:pt>
                <c:pt idx="3729" formatCode="0.0%">
                  <c:v>0.11414111736205322</c:v>
                </c:pt>
                <c:pt idx="3730" formatCode="0.0%">
                  <c:v>0.1144348946011043</c:v>
                </c:pt>
                <c:pt idx="3731" formatCode="0.0%">
                  <c:v>0.10663718913985902</c:v>
                </c:pt>
                <c:pt idx="3732" formatCode="0.0%">
                  <c:v>9.5940012229508126E-2</c:v>
                </c:pt>
                <c:pt idx="3733" formatCode="0.0%">
                  <c:v>9.316675922436532E-2</c:v>
                </c:pt>
                <c:pt idx="3734" formatCode="0.0%">
                  <c:v>9.2466825692295515E-2</c:v>
                </c:pt>
                <c:pt idx="3735" formatCode="0.0%">
                  <c:v>9.3482378015080247E-2</c:v>
                </c:pt>
                <c:pt idx="3736" formatCode="0.0%">
                  <c:v>8.8136911402072624E-2</c:v>
                </c:pt>
                <c:pt idx="3737" formatCode="0.0%">
                  <c:v>7.9884928183643567E-2</c:v>
                </c:pt>
                <c:pt idx="3738" formatCode="0.0%">
                  <c:v>9.9366465042098645E-2</c:v>
                </c:pt>
                <c:pt idx="3739" formatCode="0.0%">
                  <c:v>9.9355537783142461E-2</c:v>
                </c:pt>
                <c:pt idx="3740" formatCode="0.0%">
                  <c:v>9.4811126528085571E-2</c:v>
                </c:pt>
                <c:pt idx="3741" formatCode="0.0%">
                  <c:v>8.262593511428902E-2</c:v>
                </c:pt>
                <c:pt idx="3742" formatCode="0.0%">
                  <c:v>8.1589149857296345E-2</c:v>
                </c:pt>
                <c:pt idx="3743" formatCode="0.0%">
                  <c:v>7.8620920346822359E-2</c:v>
                </c:pt>
                <c:pt idx="3744" formatCode="0.0%">
                  <c:v>8.8498217631251111E-2</c:v>
                </c:pt>
                <c:pt idx="3745" formatCode="0.0%">
                  <c:v>8.4842388840310715E-2</c:v>
                </c:pt>
                <c:pt idx="3746" formatCode="0.0%">
                  <c:v>9.0325840956402073E-2</c:v>
                </c:pt>
                <c:pt idx="3747" formatCode="0.0%">
                  <c:v>9.0435991922119333E-2</c:v>
                </c:pt>
                <c:pt idx="3748" formatCode="0.0%">
                  <c:v>0.10127100628095545</c:v>
                </c:pt>
                <c:pt idx="3749" formatCode="0.0%">
                  <c:v>0.10231519920195022</c:v>
                </c:pt>
                <c:pt idx="3750" formatCode="0.0%">
                  <c:v>9.9885387928461744E-2</c:v>
                </c:pt>
                <c:pt idx="3751" formatCode="0.0%">
                  <c:v>9.9144507765372494E-2</c:v>
                </c:pt>
                <c:pt idx="3752" formatCode="0.0%">
                  <c:v>9.8823427186220406E-2</c:v>
                </c:pt>
                <c:pt idx="3753" formatCode="0.0%">
                  <c:v>9.8651350835309126E-2</c:v>
                </c:pt>
                <c:pt idx="3754" formatCode="0.0%">
                  <c:v>0.10045427427061349</c:v>
                </c:pt>
                <c:pt idx="3755" formatCode="0.0%">
                  <c:v>0.10008325789590716</c:v>
                </c:pt>
                <c:pt idx="3756" formatCode="0.0%">
                  <c:v>0.10071670894683309</c:v>
                </c:pt>
                <c:pt idx="3757" formatCode="0.0%">
                  <c:v>0.10038335639506168</c:v>
                </c:pt>
                <c:pt idx="3758" formatCode="0.0%">
                  <c:v>8.3850542382106E-2</c:v>
                </c:pt>
                <c:pt idx="3759" formatCode="0.0%">
                  <c:v>9.3726448010906183E-2</c:v>
                </c:pt>
                <c:pt idx="3760" formatCode="0.0%">
                  <c:v>9.3549518784973335E-2</c:v>
                </c:pt>
                <c:pt idx="3761" formatCode="0.0%">
                  <c:v>0.10365702964022458</c:v>
                </c:pt>
                <c:pt idx="3762" formatCode="0.0%">
                  <c:v>0.10439081335825445</c:v>
                </c:pt>
                <c:pt idx="3763" formatCode="0.0%">
                  <c:v>0.11056610457078599</c:v>
                </c:pt>
                <c:pt idx="3764" formatCode="0.0%">
                  <c:v>0.10106050677764064</c:v>
                </c:pt>
                <c:pt idx="3765" formatCode="0.0%">
                  <c:v>0.10156171617478628</c:v>
                </c:pt>
                <c:pt idx="3766" formatCode="0.0%">
                  <c:v>9.7476348770468554E-2</c:v>
                </c:pt>
                <c:pt idx="3767" formatCode="0.0%">
                  <c:v>9.9242289968980213E-2</c:v>
                </c:pt>
                <c:pt idx="3768" formatCode="0.0%">
                  <c:v>9.0406710908226134E-2</c:v>
                </c:pt>
                <c:pt idx="3769" formatCode="0.0%">
                  <c:v>8.9215807776659772E-2</c:v>
                </c:pt>
                <c:pt idx="3770" formatCode="0.0%">
                  <c:v>9.6037920003315208E-2</c:v>
                </c:pt>
                <c:pt idx="3771" formatCode="0.0%">
                  <c:v>9.6898140539908736E-2</c:v>
                </c:pt>
                <c:pt idx="3772" formatCode="0.0%">
                  <c:v>9.8341567595166754E-2</c:v>
                </c:pt>
                <c:pt idx="3773" formatCode="0.0%">
                  <c:v>9.9162405405372522E-2</c:v>
                </c:pt>
                <c:pt idx="3774" formatCode="0.0%">
                  <c:v>9.8281338317623659E-2</c:v>
                </c:pt>
                <c:pt idx="3775" formatCode="0.0%">
                  <c:v>9.890914824909168E-2</c:v>
                </c:pt>
                <c:pt idx="3776" formatCode="0.0%">
                  <c:v>9.8549037898591221E-2</c:v>
                </c:pt>
                <c:pt idx="3777" formatCode="0.0%">
                  <c:v>0.10333607743158818</c:v>
                </c:pt>
                <c:pt idx="3778" formatCode="0.0%">
                  <c:v>0.10503436377265975</c:v>
                </c:pt>
                <c:pt idx="3779" formatCode="0.0%">
                  <c:v>9.3144386353071373E-2</c:v>
                </c:pt>
                <c:pt idx="3780" formatCode="0.0%">
                  <c:v>0.11229660244939062</c:v>
                </c:pt>
                <c:pt idx="3781" formatCode="0.0%">
                  <c:v>0.10440468386397668</c:v>
                </c:pt>
                <c:pt idx="3782" formatCode="0.0%">
                  <c:v>0.1186720636507788</c:v>
                </c:pt>
                <c:pt idx="3783" formatCode="0.0%">
                  <c:v>0.1136701626661272</c:v>
                </c:pt>
                <c:pt idx="3784" formatCode="0.0%">
                  <c:v>0.11416965046854841</c:v>
                </c:pt>
                <c:pt idx="3785" formatCode="0.0%">
                  <c:v>0.11378535663005443</c:v>
                </c:pt>
                <c:pt idx="3786" formatCode="0.0%">
                  <c:v>0.11672778935625588</c:v>
                </c:pt>
                <c:pt idx="3787" formatCode="0.0%">
                  <c:v>0.11965225981164641</c:v>
                </c:pt>
                <c:pt idx="3788" formatCode="0.0%">
                  <c:v>0.12430076025008477</c:v>
                </c:pt>
                <c:pt idx="3789" formatCode="0.0%">
                  <c:v>0.1240528476632604</c:v>
                </c:pt>
                <c:pt idx="3790" formatCode="0.0%">
                  <c:v>0.11862008053345438</c:v>
                </c:pt>
                <c:pt idx="3791" formatCode="0.0%">
                  <c:v>0.12012162832395251</c:v>
                </c:pt>
                <c:pt idx="3792" formatCode="0.0%">
                  <c:v>0.12197406360359003</c:v>
                </c:pt>
                <c:pt idx="3793" formatCode="0.0%">
                  <c:v>0.12382212055655904</c:v>
                </c:pt>
                <c:pt idx="3794" formatCode="0.0%">
                  <c:v>0.12561668754223468</c:v>
                </c:pt>
                <c:pt idx="3795" formatCode="0.0%">
                  <c:v>0.12461215035242261</c:v>
                </c:pt>
                <c:pt idx="3796" formatCode="0.0%">
                  <c:v>0.12499306538837776</c:v>
                </c:pt>
                <c:pt idx="3797" formatCode="0.0%">
                  <c:v>0.11838696722562526</c:v>
                </c:pt>
                <c:pt idx="3798" formatCode="0.0%">
                  <c:v>0.12160600196140819</c:v>
                </c:pt>
                <c:pt idx="3799" formatCode="0.0%">
                  <c:v>0.12182367286890952</c:v>
                </c:pt>
                <c:pt idx="3800" formatCode="0.0%">
                  <c:v>0.11014274993093293</c:v>
                </c:pt>
                <c:pt idx="3801" formatCode="0.0%">
                  <c:v>0.10996612223157054</c:v>
                </c:pt>
                <c:pt idx="3802" formatCode="0.0%">
                  <c:v>8.9289352482014583E-2</c:v>
                </c:pt>
                <c:pt idx="3803" formatCode="0.0%">
                  <c:v>8.7749111730250698E-2</c:v>
                </c:pt>
                <c:pt idx="3804" formatCode="0.0%">
                  <c:v>0.11216642657605644</c:v>
                </c:pt>
                <c:pt idx="3805" formatCode="0.0%">
                  <c:v>0.11470600546434902</c:v>
                </c:pt>
                <c:pt idx="3806" formatCode="0.0%">
                  <c:v>0.12423361024838113</c:v>
                </c:pt>
                <c:pt idx="3807" formatCode="0.0%">
                  <c:v>0.12025678423296969</c:v>
                </c:pt>
                <c:pt idx="3808" formatCode="0.0%">
                  <c:v>0.11566476255811858</c:v>
                </c:pt>
                <c:pt idx="3809" formatCode="0.0%">
                  <c:v>0.11580670993717834</c:v>
                </c:pt>
                <c:pt idx="3810" formatCode="0.0%">
                  <c:v>0.1169943802817503</c:v>
                </c:pt>
                <c:pt idx="3811" formatCode="0.0%">
                  <c:v>0.11491119396605924</c:v>
                </c:pt>
                <c:pt idx="3812" formatCode="0.0%">
                  <c:v>0.11828443147352123</c:v>
                </c:pt>
                <c:pt idx="3813" formatCode="0.0%">
                  <c:v>0.11879053129231451</c:v>
                </c:pt>
                <c:pt idx="3814" formatCode="0.0%">
                  <c:v>0.12357472099000731</c:v>
                </c:pt>
                <c:pt idx="3815" formatCode="0.0%">
                  <c:v>0.19640453687074805</c:v>
                </c:pt>
                <c:pt idx="3816" formatCode="0.0%">
                  <c:v>0.19634917500143798</c:v>
                </c:pt>
                <c:pt idx="3817" formatCode="0.0%">
                  <c:v>0.19605938632172351</c:v>
                </c:pt>
                <c:pt idx="3818" formatCode="0.0%">
                  <c:v>0.1980786748389767</c:v>
                </c:pt>
                <c:pt idx="3819" formatCode="0.0%">
                  <c:v>0.19856629239684237</c:v>
                </c:pt>
                <c:pt idx="3820" formatCode="0.0%">
                  <c:v>0.19853183646838629</c:v>
                </c:pt>
                <c:pt idx="3821" formatCode="0.0%">
                  <c:v>0.19862943240057712</c:v>
                </c:pt>
                <c:pt idx="3822" formatCode="0.0%">
                  <c:v>0.19958726050537601</c:v>
                </c:pt>
                <c:pt idx="3823" formatCode="0.0%">
                  <c:v>0.20154143441736833</c:v>
                </c:pt>
                <c:pt idx="3824" formatCode="0.0%">
                  <c:v>0.18920650839374223</c:v>
                </c:pt>
                <c:pt idx="3825" formatCode="0.0%">
                  <c:v>0.18751272532612609</c:v>
                </c:pt>
                <c:pt idx="3826" formatCode="0.0%">
                  <c:v>0.17787223410887953</c:v>
                </c:pt>
                <c:pt idx="3827" formatCode="0.0%">
                  <c:v>0.17487929895426771</c:v>
                </c:pt>
                <c:pt idx="3828" formatCode="0.0%">
                  <c:v>0.1784344621541564</c:v>
                </c:pt>
                <c:pt idx="3829" formatCode="0.0%">
                  <c:v>0.17840815330754148</c:v>
                </c:pt>
                <c:pt idx="3830" formatCode="0.0%">
                  <c:v>0.19113788440413293</c:v>
                </c:pt>
                <c:pt idx="3831" formatCode="0.0%">
                  <c:v>0.19123901480554983</c:v>
                </c:pt>
                <c:pt idx="3832" formatCode="0.0%">
                  <c:v>0.18556553039778464</c:v>
                </c:pt>
                <c:pt idx="3833" formatCode="0.0%">
                  <c:v>0.18446564099138343</c:v>
                </c:pt>
                <c:pt idx="3834" formatCode="0.0%">
                  <c:v>0.18863679912069853</c:v>
                </c:pt>
                <c:pt idx="3835" formatCode="0.0%">
                  <c:v>0.11427823515450074</c:v>
                </c:pt>
                <c:pt idx="3836" formatCode="0.0%">
                  <c:v>0.11657634835954574</c:v>
                </c:pt>
                <c:pt idx="3837" formatCode="0.0%">
                  <c:v>0.11875299282145434</c:v>
                </c:pt>
                <c:pt idx="3838" formatCode="0.0%">
                  <c:v>0.11360787402758921</c:v>
                </c:pt>
                <c:pt idx="3839" formatCode="0.0%">
                  <c:v>0.13524056558515585</c:v>
                </c:pt>
                <c:pt idx="3840" formatCode="0.0%">
                  <c:v>0.13436205535795601</c:v>
                </c:pt>
                <c:pt idx="3841" formatCode="0.0%">
                  <c:v>0.13571825812822128</c:v>
                </c:pt>
                <c:pt idx="3842" formatCode="0.0%">
                  <c:v>0.13717440688500315</c:v>
                </c:pt>
                <c:pt idx="3843" formatCode="0.0%">
                  <c:v>0.13559296346230026</c:v>
                </c:pt>
                <c:pt idx="3844" formatCode="0.0%">
                  <c:v>0.13573460623466216</c:v>
                </c:pt>
                <c:pt idx="3845" formatCode="0.0%">
                  <c:v>0.13647146457961565</c:v>
                </c:pt>
                <c:pt idx="3846" formatCode="0.0%">
                  <c:v>0.13635577319504139</c:v>
                </c:pt>
                <c:pt idx="3847" formatCode="0.0%">
                  <c:v>0.13765579927991578</c:v>
                </c:pt>
                <c:pt idx="3848" formatCode="0.0%">
                  <c:v>0.13490237151799508</c:v>
                </c:pt>
                <c:pt idx="3849" formatCode="0.0%">
                  <c:v>0.13474606478809212</c:v>
                </c:pt>
                <c:pt idx="3850" formatCode="0.0%">
                  <c:v>0.12235199937257789</c:v>
                </c:pt>
                <c:pt idx="3851" formatCode="0.0%">
                  <c:v>0.12216793805700907</c:v>
                </c:pt>
                <c:pt idx="3852" formatCode="0.0%">
                  <c:v>0.12145367740463486</c:v>
                </c:pt>
                <c:pt idx="3853" formatCode="0.0%">
                  <c:v>0.12311980634713303</c:v>
                </c:pt>
                <c:pt idx="3854" formatCode="0.0%">
                  <c:v>0.11182002992031316</c:v>
                </c:pt>
                <c:pt idx="3855" formatCode="0.0%">
                  <c:v>0.10499256649235258</c:v>
                </c:pt>
                <c:pt idx="3856" formatCode="0.0%">
                  <c:v>0.1044495289634626</c:v>
                </c:pt>
                <c:pt idx="3857" formatCode="0.0%">
                  <c:v>0.10279373430071727</c:v>
                </c:pt>
                <c:pt idx="3858" formatCode="0.0%">
                  <c:v>0.1045715231564583</c:v>
                </c:pt>
                <c:pt idx="3859" formatCode="0.0%">
                  <c:v>9.9962310991972517E-2</c:v>
                </c:pt>
                <c:pt idx="3860" formatCode="0.0%">
                  <c:v>0.10066353871903379</c:v>
                </c:pt>
                <c:pt idx="3861" formatCode="0.0%">
                  <c:v>9.7525689939856081E-2</c:v>
                </c:pt>
                <c:pt idx="3862" formatCode="0.0%">
                  <c:v>9.0980588084650538E-2</c:v>
                </c:pt>
                <c:pt idx="3863" formatCode="0.0%">
                  <c:v>9.051688359155291E-2</c:v>
                </c:pt>
                <c:pt idx="3864" formatCode="0.0%">
                  <c:v>9.244221577050854E-2</c:v>
                </c:pt>
                <c:pt idx="3865" formatCode="0.0%">
                  <c:v>9.2123504957159472E-2</c:v>
                </c:pt>
                <c:pt idx="3866" formatCode="0.0%">
                  <c:v>9.2182998011456962E-2</c:v>
                </c:pt>
                <c:pt idx="3867" formatCode="0.0%">
                  <c:v>8.9854707990441832E-2</c:v>
                </c:pt>
                <c:pt idx="3868" formatCode="0.0%">
                  <c:v>0.11823674657415975</c:v>
                </c:pt>
                <c:pt idx="3869" formatCode="0.0%">
                  <c:v>0.12166283777495047</c:v>
                </c:pt>
                <c:pt idx="3870" formatCode="0.0%">
                  <c:v>0.11703081896387758</c:v>
                </c:pt>
                <c:pt idx="3871" formatCode="0.0%">
                  <c:v>0.11852162561493841</c:v>
                </c:pt>
                <c:pt idx="3872" formatCode="0.0%">
                  <c:v>0.11782818209721446</c:v>
                </c:pt>
                <c:pt idx="3873" formatCode="0.0%">
                  <c:v>0.11622224792027777</c:v>
                </c:pt>
                <c:pt idx="3874" formatCode="0.0%">
                  <c:v>0.11565263223276978</c:v>
                </c:pt>
                <c:pt idx="3875" formatCode="0.0%">
                  <c:v>0.1133886438060374</c:v>
                </c:pt>
                <c:pt idx="3876" formatCode="0.0%">
                  <c:v>0.11309194131919216</c:v>
                </c:pt>
                <c:pt idx="3877" formatCode="0.0%">
                  <c:v>0.11359579403485903</c:v>
                </c:pt>
                <c:pt idx="3878" formatCode="0.0%">
                  <c:v>0.11170306262472303</c:v>
                </c:pt>
                <c:pt idx="3879" formatCode="0.0%">
                  <c:v>9.1257691711977326E-2</c:v>
                </c:pt>
                <c:pt idx="3880" formatCode="0.0%">
                  <c:v>9.1654171284207886E-2</c:v>
                </c:pt>
                <c:pt idx="3881" formatCode="0.0%">
                  <c:v>9.6394464195613511E-2</c:v>
                </c:pt>
                <c:pt idx="3882" formatCode="0.0%">
                  <c:v>9.7939174389751638E-2</c:v>
                </c:pt>
                <c:pt idx="3883" formatCode="0.0%">
                  <c:v>9.7410093957669988E-2</c:v>
                </c:pt>
                <c:pt idx="3884" formatCode="0.0%">
                  <c:v>9.8902042532291234E-2</c:v>
                </c:pt>
                <c:pt idx="3885" formatCode="0.0%">
                  <c:v>9.887133548347235E-2</c:v>
                </c:pt>
                <c:pt idx="3886" formatCode="0.0%">
                  <c:v>9.7613078696387967E-2</c:v>
                </c:pt>
                <c:pt idx="3887" formatCode="0.0%">
                  <c:v>9.7312940573979628E-2</c:v>
                </c:pt>
                <c:pt idx="3888" formatCode="0.0%">
                  <c:v>9.0093970135166096E-2</c:v>
                </c:pt>
                <c:pt idx="3889" formatCode="0.0%">
                  <c:v>0.14184014371082254</c:v>
                </c:pt>
                <c:pt idx="3890" formatCode="0.0%">
                  <c:v>0.1418570455122975</c:v>
                </c:pt>
                <c:pt idx="3891" formatCode="0.0%">
                  <c:v>0.15425563787375526</c:v>
                </c:pt>
                <c:pt idx="3892" formatCode="0.0%">
                  <c:v>0.16683488454531795</c:v>
                </c:pt>
                <c:pt idx="3893" formatCode="0.0%">
                  <c:v>0.19866657277518843</c:v>
                </c:pt>
                <c:pt idx="3894" formatCode="0.0%">
                  <c:v>0.21746601322739334</c:v>
                </c:pt>
                <c:pt idx="3895" formatCode="0.0%">
                  <c:v>0.21961602254364962</c:v>
                </c:pt>
                <c:pt idx="3896" formatCode="0.0%">
                  <c:v>0.21932845346331695</c:v>
                </c:pt>
                <c:pt idx="3897" formatCode="0.0%">
                  <c:v>0.2195237388380829</c:v>
                </c:pt>
                <c:pt idx="3898" formatCode="0.0%">
                  <c:v>0.21786975385497231</c:v>
                </c:pt>
                <c:pt idx="3899" formatCode="0.0%">
                  <c:v>0.21836956479163636</c:v>
                </c:pt>
                <c:pt idx="3900" formatCode="0.0%">
                  <c:v>0.21965530929563939</c:v>
                </c:pt>
                <c:pt idx="3901" formatCode="0.0%">
                  <c:v>0.21971044831908795</c:v>
                </c:pt>
                <c:pt idx="3902" formatCode="0.0%">
                  <c:v>0.22435854253540352</c:v>
                </c:pt>
                <c:pt idx="3903" formatCode="0.0%">
                  <c:v>0.22394713003352654</c:v>
                </c:pt>
                <c:pt idx="3904" formatCode="0.0%">
                  <c:v>0.22575328176242473</c:v>
                </c:pt>
                <c:pt idx="3905" formatCode="0.0%">
                  <c:v>0.22605049639368102</c:v>
                </c:pt>
                <c:pt idx="3906" formatCode="0.0%">
                  <c:v>0.2259531266711392</c:v>
                </c:pt>
                <c:pt idx="3907" formatCode="0.0%">
                  <c:v>0.22658500892557459</c:v>
                </c:pt>
                <c:pt idx="3908" formatCode="0.0%">
                  <c:v>0.22808685951914817</c:v>
                </c:pt>
                <c:pt idx="3909" formatCode="0.0%">
                  <c:v>0.20287340879405372</c:v>
                </c:pt>
                <c:pt idx="3910" formatCode="0.0%">
                  <c:v>0.20288052043516627</c:v>
                </c:pt>
                <c:pt idx="3911" formatCode="0.0%">
                  <c:v>0.19299494067679804</c:v>
                </c:pt>
                <c:pt idx="3912" formatCode="0.0%">
                  <c:v>0.18253289276851001</c:v>
                </c:pt>
                <c:pt idx="3913" formatCode="0.0%">
                  <c:v>0.13851358271261052</c:v>
                </c:pt>
                <c:pt idx="3914" formatCode="0.0%">
                  <c:v>0.12171678933453815</c:v>
                </c:pt>
                <c:pt idx="3915" formatCode="0.0%">
                  <c:v>0.12047967989850632</c:v>
                </c:pt>
                <c:pt idx="3916" formatCode="0.0%">
                  <c:v>0.11973067441761298</c:v>
                </c:pt>
                <c:pt idx="3917" formatCode="0.0%">
                  <c:v>0.11331456120186829</c:v>
                </c:pt>
                <c:pt idx="3918" formatCode="0.0%">
                  <c:v>0.11273671402916828</c:v>
                </c:pt>
                <c:pt idx="3919" formatCode="0.0%">
                  <c:v>0.11077742411507568</c:v>
                </c:pt>
                <c:pt idx="3920" formatCode="0.0%">
                  <c:v>0.11427261475672801</c:v>
                </c:pt>
                <c:pt idx="3921" formatCode="0.0%">
                  <c:v>0.11177470473695636</c:v>
                </c:pt>
                <c:pt idx="3922" formatCode="0.0%">
                  <c:v>0.1074332633481216</c:v>
                </c:pt>
                <c:pt idx="3923" formatCode="0.0%">
                  <c:v>0.10717659330539531</c:v>
                </c:pt>
                <c:pt idx="3924" formatCode="0.0%">
                  <c:v>0.10529522931410329</c:v>
                </c:pt>
                <c:pt idx="3925" formatCode="0.0%">
                  <c:v>0.10667808441697221</c:v>
                </c:pt>
                <c:pt idx="3926" formatCode="0.0%">
                  <c:v>0.11197772261351831</c:v>
                </c:pt>
                <c:pt idx="3927" formatCode="0.0%">
                  <c:v>0.11165584854335375</c:v>
                </c:pt>
                <c:pt idx="3928" formatCode="0.0%">
                  <c:v>8.428338890896149E-2</c:v>
                </c:pt>
                <c:pt idx="3929" formatCode="0.0%">
                  <c:v>8.3951519798397212E-2</c:v>
                </c:pt>
                <c:pt idx="3930" formatCode="0.0%">
                  <c:v>9.2949656903292183E-2</c:v>
                </c:pt>
                <c:pt idx="3931" formatCode="0.0%">
                  <c:v>9.2875583599047698E-2</c:v>
                </c:pt>
                <c:pt idx="3932" formatCode="0.0%">
                  <c:v>9.4741524461593632E-2</c:v>
                </c:pt>
                <c:pt idx="3933" formatCode="0.0%">
                  <c:v>9.5250760000416643E-2</c:v>
                </c:pt>
                <c:pt idx="3934" formatCode="0.0%">
                  <c:v>8.8189687172433529E-2</c:v>
                </c:pt>
                <c:pt idx="3935" formatCode="0.0%">
                  <c:v>8.9514136801010807E-2</c:v>
                </c:pt>
                <c:pt idx="3936" formatCode="0.0%">
                  <c:v>8.9439276037533016E-2</c:v>
                </c:pt>
                <c:pt idx="3937" formatCode="0.0%">
                  <c:v>9.2257905896223166E-2</c:v>
                </c:pt>
                <c:pt idx="3938" formatCode="0.0%">
                  <c:v>9.3681011648082527E-2</c:v>
                </c:pt>
                <c:pt idx="3939" formatCode="0.0%">
                  <c:v>0.10100380754234342</c:v>
                </c:pt>
                <c:pt idx="3940" formatCode="0.0%">
                  <c:v>0.10392597687412743</c:v>
                </c:pt>
                <c:pt idx="3941" formatCode="0.0%">
                  <c:v>0.10522052216950213</c:v>
                </c:pt>
                <c:pt idx="3942" formatCode="0.0%">
                  <c:v>0.10522357221257497</c:v>
                </c:pt>
                <c:pt idx="3943" formatCode="0.0%">
                  <c:v>0.10522508136644369</c:v>
                </c:pt>
                <c:pt idx="3944" formatCode="0.0%">
                  <c:v>0.10642753920903435</c:v>
                </c:pt>
                <c:pt idx="3945" formatCode="0.0%">
                  <c:v>0.10722887244649629</c:v>
                </c:pt>
                <c:pt idx="3946" formatCode="0.0%">
                  <c:v>0.10017267436431565</c:v>
                </c:pt>
                <c:pt idx="3947" formatCode="0.0%">
                  <c:v>9.3172324597933606E-2</c:v>
                </c:pt>
                <c:pt idx="3948" formatCode="0.0%">
                  <c:v>9.4372802040041226E-2</c:v>
                </c:pt>
                <c:pt idx="3949" formatCode="0.0%">
                  <c:v>9.85593445660502E-2</c:v>
                </c:pt>
                <c:pt idx="3950" formatCode="0.0%">
                  <c:v>9.6373755100937958E-2</c:v>
                </c:pt>
                <c:pt idx="3951" formatCode="0.0%">
                  <c:v>9.6318653033370338E-2</c:v>
                </c:pt>
                <c:pt idx="3952" formatCode="0.0%">
                  <c:v>9.3312974802087625E-2</c:v>
                </c:pt>
                <c:pt idx="3953" formatCode="0.0%">
                  <c:v>9.5678313943800775E-2</c:v>
                </c:pt>
                <c:pt idx="3954" formatCode="0.0%">
                  <c:v>9.562184251614661E-2</c:v>
                </c:pt>
                <c:pt idx="3955" formatCode="0.0%">
                  <c:v>9.3844006917677511E-2</c:v>
                </c:pt>
                <c:pt idx="3956" formatCode="0.0%">
                  <c:v>9.384657937623285E-2</c:v>
                </c:pt>
                <c:pt idx="3957" formatCode="0.0%">
                  <c:v>0.10037179198151845</c:v>
                </c:pt>
                <c:pt idx="3958" formatCode="0.0%">
                  <c:v>0.10333857912048793</c:v>
                </c:pt>
                <c:pt idx="3959" formatCode="0.0%">
                  <c:v>9.8777521767766066E-2</c:v>
                </c:pt>
                <c:pt idx="3960" formatCode="0.0%">
                  <c:v>0.1333970280019158</c:v>
                </c:pt>
                <c:pt idx="3961" formatCode="0.0%">
                  <c:v>0.13298185666305271</c:v>
                </c:pt>
                <c:pt idx="3962" formatCode="0.0%">
                  <c:v>0.1391245394291388</c:v>
                </c:pt>
                <c:pt idx="3963" formatCode="0.0%">
                  <c:v>0.14287112465735019</c:v>
                </c:pt>
                <c:pt idx="3964" formatCode="0.0%">
                  <c:v>0.14116614496239552</c:v>
                </c:pt>
                <c:pt idx="3965" formatCode="0.0%">
                  <c:v>0.13728925752098242</c:v>
                </c:pt>
                <c:pt idx="3966" formatCode="0.0%">
                  <c:v>0.13679242889206772</c:v>
                </c:pt>
                <c:pt idx="3967" formatCode="0.0%">
                  <c:v>0.13516718241655845</c:v>
                </c:pt>
                <c:pt idx="3968" formatCode="0.0%">
                  <c:v>0.14461524590597233</c:v>
                </c:pt>
                <c:pt idx="3969" formatCode="0.0%">
                  <c:v>0.14416895229514515</c:v>
                </c:pt>
                <c:pt idx="3970" formatCode="0.0%">
                  <c:v>0.14223774873049355</c:v>
                </c:pt>
                <c:pt idx="3971" formatCode="0.0%">
                  <c:v>0.14241562305134614</c:v>
                </c:pt>
                <c:pt idx="3972" formatCode="0.0%">
                  <c:v>0.14165455645213518</c:v>
                </c:pt>
                <c:pt idx="3973" formatCode="0.0%">
                  <c:v>0.14251255168251206</c:v>
                </c:pt>
                <c:pt idx="3974" formatCode="0.0%">
                  <c:v>0.1446071818760071</c:v>
                </c:pt>
                <c:pt idx="3975" formatCode="0.0%">
                  <c:v>0.1529306864139755</c:v>
                </c:pt>
                <c:pt idx="3976" formatCode="0.0%">
                  <c:v>0.15764626382908392</c:v>
                </c:pt>
                <c:pt idx="3977" formatCode="0.0%">
                  <c:v>0.15467500998744457</c:v>
                </c:pt>
                <c:pt idx="3978" formatCode="0.0%">
                  <c:v>0.154702991885937</c:v>
                </c:pt>
                <c:pt idx="3979" formatCode="0.0%">
                  <c:v>0.15734095060864062</c:v>
                </c:pt>
                <c:pt idx="3980" formatCode="0.0%">
                  <c:v>0.12278223038568917</c:v>
                </c:pt>
                <c:pt idx="3981" formatCode="0.0%">
                  <c:v>0.12494527228325841</c:v>
                </c:pt>
                <c:pt idx="3982" formatCode="0.0%">
                  <c:v>0.12159187151307481</c:v>
                </c:pt>
                <c:pt idx="3983" formatCode="0.0%">
                  <c:v>0.11471573906923467</c:v>
                </c:pt>
                <c:pt idx="3984" formatCode="0.0%">
                  <c:v>0.11429004634057188</c:v>
                </c:pt>
                <c:pt idx="3985" formatCode="0.0%">
                  <c:v>0.11276965588536762</c:v>
                </c:pt>
                <c:pt idx="3986" formatCode="0.0%">
                  <c:v>0.11021550280694971</c:v>
                </c:pt>
                <c:pt idx="3987" formatCode="0.0%">
                  <c:v>0.11089353896995034</c:v>
                </c:pt>
                <c:pt idx="3988" formatCode="0.0%">
                  <c:v>0.10538705617712897</c:v>
                </c:pt>
                <c:pt idx="3989" formatCode="0.0%">
                  <c:v>0.10604133307961926</c:v>
                </c:pt>
                <c:pt idx="3990" formatCode="0.0%">
                  <c:v>0.1048851109888024</c:v>
                </c:pt>
                <c:pt idx="3991" formatCode="0.0%">
                  <c:v>0.10230629518570974</c:v>
                </c:pt>
                <c:pt idx="3992" formatCode="0.0%">
                  <c:v>9.5856645635041121E-2</c:v>
                </c:pt>
                <c:pt idx="3993" formatCode="0.0%">
                  <c:v>7.5280148151296675E-2</c:v>
                </c:pt>
                <c:pt idx="3994" formatCode="0.0%">
                  <c:v>8.6830334419138303E-2</c:v>
                </c:pt>
                <c:pt idx="3995" formatCode="0.0%">
                  <c:v>8.188023867220115E-2</c:v>
                </c:pt>
                <c:pt idx="3996" formatCode="0.0%">
                  <c:v>9.8597229057502483E-2</c:v>
                </c:pt>
                <c:pt idx="3997" formatCode="0.0%">
                  <c:v>9.9433218186959604E-2</c:v>
                </c:pt>
                <c:pt idx="3998" formatCode="0.0%">
                  <c:v>9.9430768211426185E-2</c:v>
                </c:pt>
                <c:pt idx="3999" formatCode="0.0%">
                  <c:v>0.10409659778348364</c:v>
                </c:pt>
                <c:pt idx="4000" formatCode="0.0%">
                  <c:v>0.10461177051363134</c:v>
                </c:pt>
                <c:pt idx="4001" formatCode="0.0%">
                  <c:v>0.10288473987206116</c:v>
                </c:pt>
                <c:pt idx="4002" formatCode="0.0%">
                  <c:v>0.10290594655229339</c:v>
                </c:pt>
                <c:pt idx="4003" formatCode="0.0%">
                  <c:v>0.1032087843949259</c:v>
                </c:pt>
                <c:pt idx="4004" formatCode="0.0%">
                  <c:v>0.10303135761162029</c:v>
                </c:pt>
                <c:pt idx="4005" formatCode="0.0%">
                  <c:v>0.10722258447013207</c:v>
                </c:pt>
                <c:pt idx="4006" formatCode="0.0%">
                  <c:v>0.10739267644642363</c:v>
                </c:pt>
                <c:pt idx="4007" formatCode="0.0%">
                  <c:v>0.10697970504514137</c:v>
                </c:pt>
                <c:pt idx="4008" formatCode="0.0%">
                  <c:v>0.10524192019800488</c:v>
                </c:pt>
                <c:pt idx="4009" formatCode="0.0%">
                  <c:v>0.10521588842984647</c:v>
                </c:pt>
                <c:pt idx="4010" formatCode="0.0%">
                  <c:v>0.10496650431754666</c:v>
                </c:pt>
                <c:pt idx="4011" formatCode="0.0%">
                  <c:v>0.10478705032951464</c:v>
                </c:pt>
                <c:pt idx="4012" formatCode="0.0%">
                  <c:v>0.10478455674149433</c:v>
                </c:pt>
                <c:pt idx="4013" formatCode="0.0%">
                  <c:v>0.1045003555894599</c:v>
                </c:pt>
                <c:pt idx="4014" formatCode="0.0%">
                  <c:v>9.6843779305477523E-2</c:v>
                </c:pt>
                <c:pt idx="4015" formatCode="0.0%">
                  <c:v>0.10553952591322024</c:v>
                </c:pt>
                <c:pt idx="4016" formatCode="0.0%">
                  <c:v>8.480405181743382E-2</c:v>
                </c:pt>
                <c:pt idx="4017" formatCode="0.0%">
                  <c:v>8.6829385876850018E-2</c:v>
                </c:pt>
                <c:pt idx="4018" formatCode="0.0%">
                  <c:v>8.7191040749754575E-2</c:v>
                </c:pt>
                <c:pt idx="4019" formatCode="0.0%">
                  <c:v>7.5129239074757756E-2</c:v>
                </c:pt>
                <c:pt idx="4020" formatCode="0.0%">
                  <c:v>6.3639655857160249E-2</c:v>
                </c:pt>
                <c:pt idx="4021" formatCode="0.0%">
                  <c:v>6.8536752664079312E-2</c:v>
                </c:pt>
                <c:pt idx="4022" formatCode="0.0%">
                  <c:v>7.3877821866633345E-2</c:v>
                </c:pt>
                <c:pt idx="4023" formatCode="0.0%">
                  <c:v>7.4313147878546426E-2</c:v>
                </c:pt>
                <c:pt idx="4024" formatCode="0.0%">
                  <c:v>7.9756611313087228E-2</c:v>
                </c:pt>
                <c:pt idx="4025" formatCode="0.0%">
                  <c:v>7.6934457648261317E-2</c:v>
                </c:pt>
                <c:pt idx="4026" formatCode="0.0%">
                  <c:v>8.1080698453550384E-2</c:v>
                </c:pt>
                <c:pt idx="4027" formatCode="0.0%">
                  <c:v>7.9344724941829023E-2</c:v>
                </c:pt>
                <c:pt idx="4028" formatCode="0.0%">
                  <c:v>7.8053135872116527E-2</c:v>
                </c:pt>
                <c:pt idx="4029" formatCode="0.0%">
                  <c:v>8.2031621529672583E-2</c:v>
                </c:pt>
                <c:pt idx="4030" formatCode="0.0%">
                  <c:v>8.2334097488710456E-2</c:v>
                </c:pt>
                <c:pt idx="4031" formatCode="0.0%">
                  <c:v>8.6158722779114835E-2</c:v>
                </c:pt>
                <c:pt idx="4032" formatCode="0.0%">
                  <c:v>8.9924706156442144E-2</c:v>
                </c:pt>
                <c:pt idx="4033" formatCode="0.0%">
                  <c:v>9.0018582345840592E-2</c:v>
                </c:pt>
                <c:pt idx="4034" formatCode="0.0%">
                  <c:v>9.551524673853197E-2</c:v>
                </c:pt>
                <c:pt idx="4035" formatCode="0.0%">
                  <c:v>8.7905086295085408E-2</c:v>
                </c:pt>
                <c:pt idx="4036" formatCode="0.0%">
                  <c:v>8.7544484331394529E-2</c:v>
                </c:pt>
                <c:pt idx="4037" formatCode="0.0%">
                  <c:v>8.5250592436692071E-2</c:v>
                </c:pt>
                <c:pt idx="4038" formatCode="0.0%">
                  <c:v>8.7203318810288741E-2</c:v>
                </c:pt>
                <c:pt idx="4039" formatCode="0.0%">
                  <c:v>8.8315393784840698E-2</c:v>
                </c:pt>
                <c:pt idx="4040" formatCode="0.0%">
                  <c:v>8.7754107677602763E-2</c:v>
                </c:pt>
                <c:pt idx="4041" formatCode="0.0%">
                  <c:v>8.1347368470361031E-2</c:v>
                </c:pt>
                <c:pt idx="4042" formatCode="0.0%">
                  <c:v>7.3436627878530628E-2</c:v>
                </c:pt>
                <c:pt idx="4043" formatCode="0.0%">
                  <c:v>7.3360760485375973E-2</c:v>
                </c:pt>
                <c:pt idx="4044" formatCode="0.0%">
                  <c:v>7.1853338884792159E-2</c:v>
                </c:pt>
                <c:pt idx="4045" formatCode="0.0%">
                  <c:v>7.3226867203022392E-2</c:v>
                </c:pt>
                <c:pt idx="4046" formatCode="0.0%">
                  <c:v>7.0702001591090316E-2</c:v>
                </c:pt>
                <c:pt idx="4047" formatCode="0.0%">
                  <c:v>7.8499372863881839E-2</c:v>
                </c:pt>
                <c:pt idx="4048" formatCode="0.0%">
                  <c:v>7.9286247958556627E-2</c:v>
                </c:pt>
                <c:pt idx="4049" formatCode="0.0%">
                  <c:v>7.8045095040645718E-2</c:v>
                </c:pt>
                <c:pt idx="4050" formatCode="0.0%">
                  <c:v>7.639895219532894E-2</c:v>
                </c:pt>
                <c:pt idx="4051" formatCode="0.0%">
                  <c:v>7.4369242191038409E-2</c:v>
                </c:pt>
                <c:pt idx="4052" formatCode="0.0%">
                  <c:v>7.6783640815906232E-2</c:v>
                </c:pt>
                <c:pt idx="4053" formatCode="0.0%">
                  <c:v>7.6079419616018912E-2</c:v>
                </c:pt>
                <c:pt idx="4054" formatCode="0.0%">
                  <c:v>7.3156025138529091E-2</c:v>
                </c:pt>
                <c:pt idx="4055" formatCode="0.0%">
                  <c:v>8.5037621345860043E-2</c:v>
                </c:pt>
                <c:pt idx="4056" formatCode="0.0%">
                  <c:v>8.5137505208440906E-2</c:v>
                </c:pt>
                <c:pt idx="4057" formatCode="0.0%">
                  <c:v>8.6050403277905724E-2</c:v>
                </c:pt>
                <c:pt idx="4058" formatCode="0.0%">
                  <c:v>9.1340948990662724E-2</c:v>
                </c:pt>
                <c:pt idx="4059" formatCode="0.0%">
                  <c:v>9.0995532471138382E-2</c:v>
                </c:pt>
                <c:pt idx="4060" formatCode="0.0%">
                  <c:v>9.3737727587354852E-2</c:v>
                </c:pt>
                <c:pt idx="4061" formatCode="0.0%">
                  <c:v>9.3787250391459021E-2</c:v>
                </c:pt>
                <c:pt idx="4062" formatCode="0.0%">
                  <c:v>9.5428918397062593E-2</c:v>
                </c:pt>
                <c:pt idx="4063" formatCode="0.0%">
                  <c:v>9.2305518100837314E-2</c:v>
                </c:pt>
                <c:pt idx="4064" formatCode="0.0%">
                  <c:v>8.6877887025332168E-2</c:v>
                </c:pt>
                <c:pt idx="4065" formatCode="0.0%">
                  <c:v>8.8696970586088067E-2</c:v>
                </c:pt>
                <c:pt idx="4066" formatCode="0.0%">
                  <c:v>8.8698467263052541E-2</c:v>
                </c:pt>
                <c:pt idx="4067" formatCode="0.0%">
                  <c:v>7.7291108035869999E-2</c:v>
                </c:pt>
                <c:pt idx="4068" formatCode="0.0%">
                  <c:v>8.0066250539941708E-2</c:v>
                </c:pt>
                <c:pt idx="4069" formatCode="0.0%">
                  <c:v>7.7101337540814913E-2</c:v>
                </c:pt>
                <c:pt idx="4070" formatCode="0.0%">
                  <c:v>7.6850368286820486E-2</c:v>
                </c:pt>
                <c:pt idx="4071" formatCode="0.0%">
                  <c:v>7.6056102333645015E-2</c:v>
                </c:pt>
                <c:pt idx="4072" formatCode="0.0%">
                  <c:v>9.2120282375356938E-2</c:v>
                </c:pt>
                <c:pt idx="4073" formatCode="0.0%">
                  <c:v>8.9390025465518899E-2</c:v>
                </c:pt>
                <c:pt idx="4074" formatCode="0.0%">
                  <c:v>9.6204374493769826E-2</c:v>
                </c:pt>
                <c:pt idx="4075" formatCode="0.0%">
                  <c:v>9.1064775108798859E-2</c:v>
                </c:pt>
                <c:pt idx="4076" formatCode="0.0%">
                  <c:v>9.6260055607474013E-2</c:v>
                </c:pt>
                <c:pt idx="4077" formatCode="0.0%">
                  <c:v>9.7091179367251507E-2</c:v>
                </c:pt>
                <c:pt idx="4078" formatCode="0.0%">
                  <c:v>9.5614362705488995E-2</c:v>
                </c:pt>
                <c:pt idx="4079" formatCode="0.0%">
                  <c:v>9.7124594143925463E-2</c:v>
                </c:pt>
                <c:pt idx="4080" formatCode="0.0%">
                  <c:v>9.5689804388623845E-2</c:v>
                </c:pt>
                <c:pt idx="4081" formatCode="0.0%">
                  <c:v>0.10003193942020593</c:v>
                </c:pt>
                <c:pt idx="4082" formatCode="0.0%">
                  <c:v>9.8486942928088059E-2</c:v>
                </c:pt>
                <c:pt idx="4083" formatCode="0.0%">
                  <c:v>0.10131515271742529</c:v>
                </c:pt>
                <c:pt idx="4084" formatCode="0.0%">
                  <c:v>0.10151187903889877</c:v>
                </c:pt>
                <c:pt idx="4085" formatCode="0.0%">
                  <c:v>0.10207075236814994</c:v>
                </c:pt>
                <c:pt idx="4086" formatCode="0.0%">
                  <c:v>0.10195187482432495</c:v>
                </c:pt>
                <c:pt idx="4087" formatCode="0.0%">
                  <c:v>0.10200754291012835</c:v>
                </c:pt>
                <c:pt idx="4088" formatCode="0.0%">
                  <c:v>9.8863632567412929E-2</c:v>
                </c:pt>
                <c:pt idx="4089" formatCode="0.0%">
                  <c:v>9.826279791214991E-2</c:v>
                </c:pt>
                <c:pt idx="4090" formatCode="0.0%">
                  <c:v>0.10234489068937362</c:v>
                </c:pt>
                <c:pt idx="4091" formatCode="0.0%">
                  <c:v>0.10234441842738787</c:v>
                </c:pt>
                <c:pt idx="4092" formatCode="0.0%">
                  <c:v>7.7302222566097811E-2</c:v>
                </c:pt>
                <c:pt idx="4093" formatCode="0.0%">
                  <c:v>7.768957372875375E-2</c:v>
                </c:pt>
                <c:pt idx="4094" formatCode="0.0%">
                  <c:v>7.4361632226712868E-2</c:v>
                </c:pt>
                <c:pt idx="4095" formatCode="0.0%">
                  <c:v>7.4358954261152729E-2</c:v>
                </c:pt>
                <c:pt idx="4096" formatCode="0.0%">
                  <c:v>5.8259732751546743E-2</c:v>
                </c:pt>
                <c:pt idx="4097" formatCode="0.0%">
                  <c:v>5.8449952345623946E-2</c:v>
                </c:pt>
                <c:pt idx="4098" formatCode="0.0%">
                  <c:v>5.7132385636119318E-2</c:v>
                </c:pt>
                <c:pt idx="4099" formatCode="0.0%">
                  <c:v>5.7769300936527782E-2</c:v>
                </c:pt>
                <c:pt idx="4100" formatCode="0.0%">
                  <c:v>5.6322814785537259E-2</c:v>
                </c:pt>
                <c:pt idx="4101" formatCode="0.0%">
                  <c:v>5.2558766510294778E-2</c:v>
                </c:pt>
                <c:pt idx="4102" formatCode="0.0%">
                  <c:v>5.5033323039009881E-2</c:v>
                </c:pt>
                <c:pt idx="4103" formatCode="0.0%">
                  <c:v>5.4273513821400873E-2</c:v>
                </c:pt>
                <c:pt idx="4104" formatCode="0.0%">
                  <c:v>5.3769858671193563E-2</c:v>
                </c:pt>
                <c:pt idx="4105" formatCode="0.0%">
                  <c:v>5.6140896310186948E-2</c:v>
                </c:pt>
                <c:pt idx="4106" formatCode="0.0%">
                  <c:v>5.9932263272086617E-2</c:v>
                </c:pt>
                <c:pt idx="4107" formatCode="0.0%">
                  <c:v>5.9926624796440488E-2</c:v>
                </c:pt>
                <c:pt idx="4108" formatCode="0.0%">
                  <c:v>6.2432077381067722E-2</c:v>
                </c:pt>
                <c:pt idx="4109" formatCode="0.0%">
                  <c:v>6.2519205984370885E-2</c:v>
                </c:pt>
                <c:pt idx="4110" formatCode="0.0%">
                  <c:v>9.3453450597323975E-2</c:v>
                </c:pt>
                <c:pt idx="4111" formatCode="0.0%">
                  <c:v>9.4260618116056211E-2</c:v>
                </c:pt>
                <c:pt idx="4112" formatCode="0.0%">
                  <c:v>9.4107911262698574E-2</c:v>
                </c:pt>
                <c:pt idx="4113" formatCode="0.0%">
                  <c:v>9.3559719030963606E-2</c:v>
                </c:pt>
                <c:pt idx="4114" formatCode="0.0%">
                  <c:v>9.4770310824517187E-2</c:v>
                </c:pt>
                <c:pt idx="4115" formatCode="0.0%">
                  <c:v>9.7986112565372888E-2</c:v>
                </c:pt>
                <c:pt idx="4116" formatCode="0.0%">
                  <c:v>9.7777198495589385E-2</c:v>
                </c:pt>
                <c:pt idx="4117" formatCode="0.0%">
                  <c:v>9.9824415690336649E-2</c:v>
                </c:pt>
                <c:pt idx="4118" formatCode="0.0%">
                  <c:v>0.10105452844903408</c:v>
                </c:pt>
                <c:pt idx="4119" formatCode="0.0%">
                  <c:v>0.10100344798251423</c:v>
                </c:pt>
                <c:pt idx="4120" formatCode="0.0%">
                  <c:v>0.10160260447949558</c:v>
                </c:pt>
                <c:pt idx="4121" formatCode="0.0%">
                  <c:v>0.10152526416050016</c:v>
                </c:pt>
                <c:pt idx="4122" formatCode="0.0%">
                  <c:v>0.10475927214590162</c:v>
                </c:pt>
                <c:pt idx="4123" formatCode="0.0%">
                  <c:v>0.10335989633209493</c:v>
                </c:pt>
                <c:pt idx="4124" formatCode="0.0%">
                  <c:v>0.10262873881116187</c:v>
                </c:pt>
                <c:pt idx="4125" formatCode="0.0%">
                  <c:v>0.10067952749761525</c:v>
                </c:pt>
                <c:pt idx="4126" formatCode="0.0%">
                  <c:v>0.10028869921816387</c:v>
                </c:pt>
                <c:pt idx="4127" formatCode="0.0%">
                  <c:v>0.10249581228827127</c:v>
                </c:pt>
                <c:pt idx="4128" formatCode="0.0%">
                  <c:v>9.8879604390800999E-2</c:v>
                </c:pt>
                <c:pt idx="4129" formatCode="0.0%">
                  <c:v>9.997547520517798E-2</c:v>
                </c:pt>
                <c:pt idx="4130" formatCode="0.0%">
                  <c:v>7.3416914942706468E-2</c:v>
                </c:pt>
                <c:pt idx="4131" formatCode="0.0%">
                  <c:v>7.1608203787124833E-2</c:v>
                </c:pt>
                <c:pt idx="4132" formatCode="0.0%">
                  <c:v>7.490054933674628E-2</c:v>
                </c:pt>
                <c:pt idx="4133" formatCode="0.0%">
                  <c:v>7.3976650328494556E-2</c:v>
                </c:pt>
                <c:pt idx="4134" formatCode="0.0%">
                  <c:v>8.2354492268631924E-2</c:v>
                </c:pt>
                <c:pt idx="4135" formatCode="0.0%">
                  <c:v>8.2833382994957877E-2</c:v>
                </c:pt>
                <c:pt idx="4136" formatCode="0.0%">
                  <c:v>8.6182775302405534E-2</c:v>
                </c:pt>
                <c:pt idx="4137" formatCode="0.0%">
                  <c:v>9.133082507003526E-2</c:v>
                </c:pt>
                <c:pt idx="4138" formatCode="0.0%">
                  <c:v>0.10405249810396432</c:v>
                </c:pt>
                <c:pt idx="4139" formatCode="0.0%">
                  <c:v>0.10599474482475554</c:v>
                </c:pt>
                <c:pt idx="4140" formatCode="0.0%">
                  <c:v>0.10759376615516056</c:v>
                </c:pt>
                <c:pt idx="4141" formatCode="0.0%">
                  <c:v>0.10678915000519386</c:v>
                </c:pt>
                <c:pt idx="4142" formatCode="0.0%">
                  <c:v>0.10553591693437335</c:v>
                </c:pt>
                <c:pt idx="4143" formatCode="0.0%">
                  <c:v>0.10690246953560906</c:v>
                </c:pt>
                <c:pt idx="4144" formatCode="0.0%">
                  <c:v>0.10606323861140401</c:v>
                </c:pt>
                <c:pt idx="4145" formatCode="0.0%">
                  <c:v>0.10096693483299302</c:v>
                </c:pt>
                <c:pt idx="4146" formatCode="0.0%">
                  <c:v>9.8916353565263959E-2</c:v>
                </c:pt>
                <c:pt idx="4147" formatCode="0.0%">
                  <c:v>0.10008145035957056</c:v>
                </c:pt>
                <c:pt idx="4148" formatCode="0.0%">
                  <c:v>0.10277684182897104</c:v>
                </c:pt>
                <c:pt idx="4149" formatCode="0.0%">
                  <c:v>9.8650538317896955E-2</c:v>
                </c:pt>
                <c:pt idx="4150" formatCode="0.0%">
                  <c:v>9.8767739795130718E-2</c:v>
                </c:pt>
                <c:pt idx="4151" formatCode="0.0%">
                  <c:v>0.10112041304905445</c:v>
                </c:pt>
                <c:pt idx="4152" formatCode="0.0%">
                  <c:v>0.10708239393762675</c:v>
                </c:pt>
                <c:pt idx="4153" formatCode="0.0%">
                  <c:v>0.10860966564698035</c:v>
                </c:pt>
                <c:pt idx="4154" formatCode="0.0%">
                  <c:v>0.10446903852027546</c:v>
                </c:pt>
                <c:pt idx="4155" formatCode="0.0%">
                  <c:v>9.9834031241451945E-2</c:v>
                </c:pt>
                <c:pt idx="4156" formatCode="0.0%">
                  <c:v>9.7908947983933028E-2</c:v>
                </c:pt>
                <c:pt idx="4157" formatCode="0.0%">
                  <c:v>9.6217282791125014E-2</c:v>
                </c:pt>
                <c:pt idx="4158" formatCode="0.0%">
                  <c:v>8.1718866586716871E-2</c:v>
                </c:pt>
                <c:pt idx="4159" formatCode="0.0%">
                  <c:v>7.9941804756932341E-2</c:v>
                </c:pt>
                <c:pt idx="4160" formatCode="0.0%">
                  <c:v>8.0620896928385505E-2</c:v>
                </c:pt>
                <c:pt idx="4161" formatCode="0.0%">
                  <c:v>8.0076822182678656E-2</c:v>
                </c:pt>
                <c:pt idx="4162" formatCode="0.0%">
                  <c:v>8.3600489697175331E-2</c:v>
                </c:pt>
                <c:pt idx="4163" formatCode="0.0%">
                  <c:v>8.1454154797515763E-2</c:v>
                </c:pt>
                <c:pt idx="4164" formatCode="0.0%">
                  <c:v>8.1451455112796306E-2</c:v>
                </c:pt>
                <c:pt idx="4165" formatCode="0.0%">
                  <c:v>7.9886360752271415E-2</c:v>
                </c:pt>
                <c:pt idx="4166" formatCode="0.0%">
                  <c:v>7.9882535548940842E-2</c:v>
                </c:pt>
                <c:pt idx="4167" formatCode="0.0%">
                  <c:v>7.7738137946459257E-2</c:v>
                </c:pt>
                <c:pt idx="4168" formatCode="0.0%">
                  <c:v>6.8989134200663951E-2</c:v>
                </c:pt>
                <c:pt idx="4169" formatCode="0.0%">
                  <c:v>7.1994116743119368E-2</c:v>
                </c:pt>
                <c:pt idx="4170" formatCode="0.0%">
                  <c:v>0.11370121776540421</c:v>
                </c:pt>
                <c:pt idx="4171" formatCode="0.0%">
                  <c:v>0.11224235540336569</c:v>
                </c:pt>
                <c:pt idx="4172" formatCode="0.0%">
                  <c:v>0.10726072468379706</c:v>
                </c:pt>
                <c:pt idx="4173" formatCode="0.0%">
                  <c:v>0.10856942679777742</c:v>
                </c:pt>
                <c:pt idx="4174" formatCode="0.0%">
                  <c:v>0.11032717445612111</c:v>
                </c:pt>
                <c:pt idx="4175" formatCode="0.0%">
                  <c:v>0.11424671712966634</c:v>
                </c:pt>
                <c:pt idx="4176" formatCode="0.0%">
                  <c:v>0.11252665233660857</c:v>
                </c:pt>
                <c:pt idx="4177" formatCode="0.0%">
                  <c:v>0.11456142084069021</c:v>
                </c:pt>
                <c:pt idx="4178" formatCode="0.0%">
                  <c:v>0.11611795962990776</c:v>
                </c:pt>
                <c:pt idx="4179" formatCode="0.0%">
                  <c:v>0.12166706186582052</c:v>
                </c:pt>
                <c:pt idx="4180" formatCode="0.0%">
                  <c:v>0.12019228605487839</c:v>
                </c:pt>
                <c:pt idx="4181" formatCode="0.0%">
                  <c:v>0.12008245015698889</c:v>
                </c:pt>
                <c:pt idx="4182" formatCode="0.0%">
                  <c:v>0.11913021759200283</c:v>
                </c:pt>
                <c:pt idx="4183" formatCode="0.0%">
                  <c:v>0.12344814345082897</c:v>
                </c:pt>
                <c:pt idx="4184" formatCode="0.0%">
                  <c:v>0.12369108814839165</c:v>
                </c:pt>
                <c:pt idx="4185" formatCode="0.0%">
                  <c:v>0.12304965094498517</c:v>
                </c:pt>
                <c:pt idx="4186" formatCode="0.0%">
                  <c:v>0.12295478956273347</c:v>
                </c:pt>
                <c:pt idx="4187" formatCode="0.0%">
                  <c:v>0.12340008896902492</c:v>
                </c:pt>
                <c:pt idx="4188" formatCode="0.0%">
                  <c:v>0.12410941067396863</c:v>
                </c:pt>
                <c:pt idx="4189" formatCode="0.0%">
                  <c:v>0.12206370209852405</c:v>
                </c:pt>
                <c:pt idx="4190" formatCode="0.0%">
                  <c:v>8.1468694426652874E-2</c:v>
                </c:pt>
                <c:pt idx="4191" formatCode="0.0%">
                  <c:v>8.0974003641284514E-2</c:v>
                </c:pt>
                <c:pt idx="4192" formatCode="0.0%">
                  <c:v>7.984970090285802E-2</c:v>
                </c:pt>
                <c:pt idx="4193" formatCode="0.0%">
                  <c:v>8.4041758319445395E-2</c:v>
                </c:pt>
                <c:pt idx="4194" formatCode="0.0%">
                  <c:v>8.3403379363297558E-2</c:v>
                </c:pt>
                <c:pt idx="4195" formatCode="0.0%">
                  <c:v>7.3675707436401755E-2</c:v>
                </c:pt>
                <c:pt idx="4196" formatCode="0.0%">
                  <c:v>6.7747370775543977E-2</c:v>
                </c:pt>
                <c:pt idx="4197" formatCode="0.0%">
                  <c:v>7.0251760775969535E-2</c:v>
                </c:pt>
                <c:pt idx="4198" formatCode="0.0%">
                  <c:v>6.8680933229883182E-2</c:v>
                </c:pt>
                <c:pt idx="4199" formatCode="0.0%">
                  <c:v>6.5141054880959851E-2</c:v>
                </c:pt>
                <c:pt idx="4200" formatCode="0.0%">
                  <c:v>6.6651127782290376E-2</c:v>
                </c:pt>
                <c:pt idx="4201" formatCode="0.0%">
                  <c:v>6.5384357968738566E-2</c:v>
                </c:pt>
                <c:pt idx="4202" formatCode="0.0%">
                  <c:v>9.2766738073569194E-2</c:v>
                </c:pt>
                <c:pt idx="4203" formatCode="0.0%">
                  <c:v>8.8070547734921414E-2</c:v>
                </c:pt>
                <c:pt idx="4204" formatCode="0.0%">
                  <c:v>8.7533879777420651E-2</c:v>
                </c:pt>
                <c:pt idx="4205" formatCode="0.0%">
                  <c:v>9.2275923959161302E-2</c:v>
                </c:pt>
                <c:pt idx="4206" formatCode="0.0%">
                  <c:v>9.1659223859229463E-2</c:v>
                </c:pt>
                <c:pt idx="4207" formatCode="0.0%">
                  <c:v>9.0650946497405238E-2</c:v>
                </c:pt>
                <c:pt idx="4208" formatCode="0.0%">
                  <c:v>8.9203915912184725E-2</c:v>
                </c:pt>
                <c:pt idx="4209" formatCode="0.0%">
                  <c:v>9.0319145786889321E-2</c:v>
                </c:pt>
                <c:pt idx="4210" formatCode="0.0%">
                  <c:v>9.0309189509671525E-2</c:v>
                </c:pt>
                <c:pt idx="4211" formatCode="0.0%">
                  <c:v>8.74283413982649E-2</c:v>
                </c:pt>
                <c:pt idx="4212" formatCode="0.0%">
                  <c:v>8.9526906563514669E-2</c:v>
                </c:pt>
                <c:pt idx="4213" formatCode="0.0%">
                  <c:v>8.6772271590324329E-2</c:v>
                </c:pt>
                <c:pt idx="4214" formatCode="0.0%">
                  <c:v>8.6468711706800053E-2</c:v>
                </c:pt>
                <c:pt idx="4215" formatCode="0.0%">
                  <c:v>8.3563785233635557E-2</c:v>
                </c:pt>
                <c:pt idx="4216" formatCode="0.0%">
                  <c:v>8.8601588125673925E-2</c:v>
                </c:pt>
                <c:pt idx="4217" formatCode="0.0%">
                  <c:v>9.6940394269457969E-2</c:v>
                </c:pt>
                <c:pt idx="4218" formatCode="0.0%">
                  <c:v>9.5366016699841821E-2</c:v>
                </c:pt>
                <c:pt idx="4219" formatCode="0.0%">
                  <c:v>9.2493495486905858E-2</c:v>
                </c:pt>
                <c:pt idx="4220" formatCode="0.0%">
                  <c:v>9.2443837894198022E-2</c:v>
                </c:pt>
                <c:pt idx="4221" formatCode="0.0%">
                  <c:v>9.4389899965061627E-2</c:v>
                </c:pt>
                <c:pt idx="4222" formatCode="0.0%">
                  <c:v>7.7954827437942534E-2</c:v>
                </c:pt>
                <c:pt idx="4223" formatCode="0.0%">
                  <c:v>7.7539321128010499E-2</c:v>
                </c:pt>
                <c:pt idx="4224" formatCode="0.0%">
                  <c:v>7.9902451648105638E-2</c:v>
                </c:pt>
                <c:pt idx="4225" formatCode="0.0%">
                  <c:v>7.558937632690324E-2</c:v>
                </c:pt>
                <c:pt idx="4226" formatCode="0.0%">
                  <c:v>7.5499546848158169E-2</c:v>
                </c:pt>
                <c:pt idx="4227" formatCode="0.0%">
                  <c:v>7.7837458876992047E-2</c:v>
                </c:pt>
                <c:pt idx="4228" formatCode="0.0%">
                  <c:v>7.7980544527608456E-2</c:v>
                </c:pt>
                <c:pt idx="4229" formatCode="0.0%">
                  <c:v>7.7187474405875978E-2</c:v>
                </c:pt>
                <c:pt idx="4230" formatCode="0.0%">
                  <c:v>8.0868041949168246E-2</c:v>
                </c:pt>
                <c:pt idx="4231" formatCode="0.0%">
                  <c:v>8.191940177942654E-2</c:v>
                </c:pt>
                <c:pt idx="4232" formatCode="0.0%">
                  <c:v>7.9631709027640357E-2</c:v>
                </c:pt>
                <c:pt idx="4233" formatCode="0.0%">
                  <c:v>7.9816137000092158E-2</c:v>
                </c:pt>
                <c:pt idx="4234" formatCode="0.0%">
                  <c:v>8.3863644571437343E-2</c:v>
                </c:pt>
                <c:pt idx="4235" formatCode="0.0%">
                  <c:v>8.6219589934050239E-2</c:v>
                </c:pt>
                <c:pt idx="4236" formatCode="0.0%">
                  <c:v>7.9976875517398405E-2</c:v>
                </c:pt>
                <c:pt idx="4237" formatCode="0.0%">
                  <c:v>6.4218574733449302E-2</c:v>
                </c:pt>
                <c:pt idx="4238" formatCode="0.0%">
                  <c:v>6.2744547143444032E-2</c:v>
                </c:pt>
                <c:pt idx="4239" formatCode="0.0%">
                  <c:v>6.8787194971855217E-2</c:v>
                </c:pt>
                <c:pt idx="4240" formatCode="0.0%">
                  <c:v>7.3724715975253707E-2</c:v>
                </c:pt>
                <c:pt idx="4241" formatCode="0.0%">
                  <c:v>7.3479420688155245E-2</c:v>
                </c:pt>
                <c:pt idx="4242" formatCode="0.0%">
                  <c:v>7.7160264561511385E-2</c:v>
                </c:pt>
                <c:pt idx="4243" formatCode="0.0%">
                  <c:v>7.8180059266260774E-2</c:v>
                </c:pt>
                <c:pt idx="4244" formatCode="0.0%">
                  <c:v>7.4238619348994075E-2</c:v>
                </c:pt>
                <c:pt idx="4245" formatCode="0.0%">
                  <c:v>7.9518224604262625E-2</c:v>
                </c:pt>
                <c:pt idx="4246" formatCode="0.0%">
                  <c:v>8.1745557924169557E-2</c:v>
                </c:pt>
                <c:pt idx="4247" formatCode="0.0%">
                  <c:v>8.6625843909152442E-2</c:v>
                </c:pt>
                <c:pt idx="4248" formatCode="0.0%">
                  <c:v>9.6954059862364592E-2</c:v>
                </c:pt>
                <c:pt idx="4249" formatCode="0.0%">
                  <c:v>9.5974921805469987E-2</c:v>
                </c:pt>
                <c:pt idx="4250" formatCode="0.0%">
                  <c:v>9.7896256617365743E-2</c:v>
                </c:pt>
                <c:pt idx="4251" formatCode="0.0%">
                  <c:v>9.769889689016073E-2</c:v>
                </c:pt>
                <c:pt idx="4252" formatCode="0.0%">
                  <c:v>9.8619878598450478E-2</c:v>
                </c:pt>
                <c:pt idx="4253" formatCode="0.0%">
                  <c:v>0.10169430527208169</c:v>
                </c:pt>
                <c:pt idx="4254" formatCode="0.0%">
                  <c:v>9.9726947557033416E-2</c:v>
                </c:pt>
                <c:pt idx="4255" formatCode="0.0%">
                  <c:v>0.10051558190527644</c:v>
                </c:pt>
                <c:pt idx="4256" formatCode="0.0%">
                  <c:v>9.980128620122096E-2</c:v>
                </c:pt>
                <c:pt idx="4257" formatCode="0.0%">
                  <c:v>9.9721085252370917E-2</c:v>
                </c:pt>
                <c:pt idx="4258" formatCode="0.0%">
                  <c:v>0.10420317787446</c:v>
                </c:pt>
                <c:pt idx="4259" formatCode="0.0%">
                  <c:v>9.9684809170348207E-2</c:v>
                </c:pt>
                <c:pt idx="4260" formatCode="0.0%">
                  <c:v>9.7924473888552604E-2</c:v>
                </c:pt>
                <c:pt idx="4261" formatCode="0.0%">
                  <c:v>0.10006414994130976</c:v>
                </c:pt>
                <c:pt idx="4262" formatCode="0.0%">
                  <c:v>0.10350309217726272</c:v>
                </c:pt>
                <c:pt idx="4263" formatCode="0.0%">
                  <c:v>0.11089871508909346</c:v>
                </c:pt>
                <c:pt idx="4264" formatCode="0.0%">
                  <c:v>0.1140552031669062</c:v>
                </c:pt>
                <c:pt idx="4265" formatCode="0.0%">
                  <c:v>0.11111478160874444</c:v>
                </c:pt>
                <c:pt idx="4266" formatCode="0.0%">
                  <c:v>0.11060464461930282</c:v>
                </c:pt>
                <c:pt idx="4267" formatCode="0.0%">
                  <c:v>0.11033183821555813</c:v>
                </c:pt>
                <c:pt idx="4268" formatCode="0.0%">
                  <c:v>0.10201398514371779</c:v>
                </c:pt>
                <c:pt idx="4269" formatCode="0.0%">
                  <c:v>0.10426958842906887</c:v>
                </c:pt>
                <c:pt idx="4270" formatCode="0.0%">
                  <c:v>9.7437928517533343E-2</c:v>
                </c:pt>
                <c:pt idx="4271" formatCode="0.0%">
                  <c:v>9.7622909339842856E-2</c:v>
                </c:pt>
                <c:pt idx="4272" formatCode="0.0%">
                  <c:v>0.10057953439652707</c:v>
                </c:pt>
                <c:pt idx="4273" formatCode="0.0%">
                  <c:v>9.9009571529280943E-2</c:v>
                </c:pt>
                <c:pt idx="4274" formatCode="0.0%">
                  <c:v>9.9200994049308377E-2</c:v>
                </c:pt>
                <c:pt idx="4275" formatCode="0.0%">
                  <c:v>9.6143331619363767E-2</c:v>
                </c:pt>
                <c:pt idx="4276" formatCode="0.0%">
                  <c:v>9.6078931669583589E-2</c:v>
                </c:pt>
                <c:pt idx="4277" formatCode="0.0%">
                  <c:v>9.7904221889873577E-2</c:v>
                </c:pt>
                <c:pt idx="4278" formatCode="0.0%">
                  <c:v>0.10933527019701025</c:v>
                </c:pt>
                <c:pt idx="4279" formatCode="0.0%">
                  <c:v>0.10983968936880376</c:v>
                </c:pt>
                <c:pt idx="4280" formatCode="0.0%">
                  <c:v>0.11016431874164152</c:v>
                </c:pt>
                <c:pt idx="4281" formatCode="0.0%">
                  <c:v>0.10850332364550794</c:v>
                </c:pt>
                <c:pt idx="4282" formatCode="0.0%">
                  <c:v>0.10171493696946546</c:v>
                </c:pt>
                <c:pt idx="4283" formatCode="0.0%">
                  <c:v>8.9206440726046318E-2</c:v>
                </c:pt>
                <c:pt idx="4284" formatCode="0.0%">
                  <c:v>8.2952086416869866E-2</c:v>
                </c:pt>
                <c:pt idx="4285" formatCode="0.0%">
                  <c:v>8.5378846997862995E-2</c:v>
                </c:pt>
                <c:pt idx="4286" formatCode="0.0%">
                  <c:v>8.9564051019035071E-2</c:v>
                </c:pt>
                <c:pt idx="4287" formatCode="0.0%">
                  <c:v>8.7828923414368862E-2</c:v>
                </c:pt>
                <c:pt idx="4288" formatCode="0.0%">
                  <c:v>8.8447970354918887E-2</c:v>
                </c:pt>
                <c:pt idx="4289" formatCode="0.0%">
                  <c:v>8.256611925489532E-2</c:v>
                </c:pt>
                <c:pt idx="4290" formatCode="0.0%">
                  <c:v>8.8786440646387271E-2</c:v>
                </c:pt>
                <c:pt idx="4291" formatCode="0.0%">
                  <c:v>8.9088253628935021E-2</c:v>
                </c:pt>
                <c:pt idx="4292" formatCode="0.0%">
                  <c:v>8.7847090363038643E-2</c:v>
                </c:pt>
                <c:pt idx="4293" formatCode="0.0%">
                  <c:v>8.6410886662840442E-2</c:v>
                </c:pt>
                <c:pt idx="4294" formatCode="0.0%">
                  <c:v>0.11337958998478607</c:v>
                </c:pt>
                <c:pt idx="4295" formatCode="0.0%">
                  <c:v>0.13934247545948605</c:v>
                </c:pt>
                <c:pt idx="4296" formatCode="0.0%">
                  <c:v>0.14570226108782633</c:v>
                </c:pt>
                <c:pt idx="4297" formatCode="0.0%">
                  <c:v>0.14362262718536889</c:v>
                </c:pt>
                <c:pt idx="4298" formatCode="0.0%">
                  <c:v>0.13255360995642257</c:v>
                </c:pt>
                <c:pt idx="4299" formatCode="0.0%">
                  <c:v>0.13223263066275479</c:v>
                </c:pt>
                <c:pt idx="4300" formatCode="0.0%">
                  <c:v>0.12988403195412532</c:v>
                </c:pt>
                <c:pt idx="4301" formatCode="0.0%">
                  <c:v>0.13141149231905738</c:v>
                </c:pt>
                <c:pt idx="4302" formatCode="0.0%">
                  <c:v>0.13619417967100186</c:v>
                </c:pt>
                <c:pt idx="4303" formatCode="0.0%">
                  <c:v>0.1379813354327683</c:v>
                </c:pt>
                <c:pt idx="4304" formatCode="0.0%">
                  <c:v>0.13803197506947412</c:v>
                </c:pt>
                <c:pt idx="4305" formatCode="0.0%">
                  <c:v>0.13976655159012841</c:v>
                </c:pt>
                <c:pt idx="4306" formatCode="0.0%">
                  <c:v>0.16406956306849052</c:v>
                </c:pt>
                <c:pt idx="4307" formatCode="0.0%">
                  <c:v>0.16267192925855042</c:v>
                </c:pt>
                <c:pt idx="4308" formatCode="0.0%">
                  <c:v>0.16359580240970509</c:v>
                </c:pt>
                <c:pt idx="4309" formatCode="0.0%">
                  <c:v>0.16388186829552248</c:v>
                </c:pt>
                <c:pt idx="4310" formatCode="0.0%">
                  <c:v>0.17070619445001625</c:v>
                </c:pt>
                <c:pt idx="4311" formatCode="0.0%">
                  <c:v>0.1693831089153279</c:v>
                </c:pt>
                <c:pt idx="4312" formatCode="0.0%">
                  <c:v>0.16754280430554855</c:v>
                </c:pt>
                <c:pt idx="4313" formatCode="0.0%">
                  <c:v>0.16815124473217832</c:v>
                </c:pt>
                <c:pt idx="4314" formatCode="0.0%">
                  <c:v>0.16076790001664032</c:v>
                </c:pt>
                <c:pt idx="4315" formatCode="0.0%">
                  <c:v>0.14233227441106491</c:v>
                </c:pt>
                <c:pt idx="4316" formatCode="0.0%">
                  <c:v>0.13561620689754109</c:v>
                </c:pt>
                <c:pt idx="4317" formatCode="0.0%">
                  <c:v>0.14544905752610243</c:v>
                </c:pt>
                <c:pt idx="4318" formatCode="0.0%">
                  <c:v>0.14541734513726731</c:v>
                </c:pt>
                <c:pt idx="4319" formatCode="0.0%">
                  <c:v>0.14949592853325261</c:v>
                </c:pt>
                <c:pt idx="4320" formatCode="0.0%">
                  <c:v>0.16516535437679844</c:v>
                </c:pt>
                <c:pt idx="4321" formatCode="0.0%">
                  <c:v>0.16303074317936253</c:v>
                </c:pt>
                <c:pt idx="4322" formatCode="0.0%">
                  <c:v>0.15455973741931503</c:v>
                </c:pt>
                <c:pt idx="4323" formatCode="0.0%">
                  <c:v>0.15472093119420943</c:v>
                </c:pt>
                <c:pt idx="4324" formatCode="0.0%">
                  <c:v>0.15494024703319742</c:v>
                </c:pt>
                <c:pt idx="4325" formatCode="0.0%">
                  <c:v>0.15671889077318077</c:v>
                </c:pt>
                <c:pt idx="4326" formatCode="0.0%">
                  <c:v>0.11343319244809352</c:v>
                </c:pt>
                <c:pt idx="4327" formatCode="0.0%">
                  <c:v>0.11575716663633992</c:v>
                </c:pt>
                <c:pt idx="4328" formatCode="0.0%">
                  <c:v>0.11688248620043871</c:v>
                </c:pt>
                <c:pt idx="4329" formatCode="0.0%">
                  <c:v>0.11674205921162818</c:v>
                </c:pt>
                <c:pt idx="4330" formatCode="0.0%">
                  <c:v>0.11502653719074232</c:v>
                </c:pt>
                <c:pt idx="4331" formatCode="0.0%">
                  <c:v>0.11754922799475849</c:v>
                </c:pt>
                <c:pt idx="4332" formatCode="0.0%">
                  <c:v>0.11749486752032702</c:v>
                </c:pt>
                <c:pt idx="4333" formatCode="0.0%">
                  <c:v>0.11076345389902607</c:v>
                </c:pt>
                <c:pt idx="4334" formatCode="0.0%">
                  <c:v>0.11019043836920153</c:v>
                </c:pt>
                <c:pt idx="4335" formatCode="0.0%">
                  <c:v>0.1107713778680738</c:v>
                </c:pt>
                <c:pt idx="4336" formatCode="0.0%">
                  <c:v>0.11097282536890757</c:v>
                </c:pt>
                <c:pt idx="4337" formatCode="0.0%">
                  <c:v>0.1140900986048838</c:v>
                </c:pt>
                <c:pt idx="4338" formatCode="0.0%">
                  <c:v>0.12634621870351498</c:v>
                </c:pt>
                <c:pt idx="4339" formatCode="0.0%">
                  <c:v>0.12228226586912042</c:v>
                </c:pt>
                <c:pt idx="4340" formatCode="0.0%">
                  <c:v>0.10020170359979821</c:v>
                </c:pt>
                <c:pt idx="4341" formatCode="0.0%">
                  <c:v>0.10070192129259245</c:v>
                </c:pt>
                <c:pt idx="4342" formatCode="0.0%">
                  <c:v>9.4916597190902674E-2</c:v>
                </c:pt>
                <c:pt idx="4343" formatCode="0.0%">
                  <c:v>8.9292946294804609E-2</c:v>
                </c:pt>
                <c:pt idx="4344" formatCode="0.0%">
                  <c:v>9.1195653924322398E-2</c:v>
                </c:pt>
                <c:pt idx="4345" formatCode="0.0%">
                  <c:v>8.7033495527524166E-2</c:v>
                </c:pt>
                <c:pt idx="4346" formatCode="0.0%">
                  <c:v>8.5745195809721189E-2</c:v>
                </c:pt>
                <c:pt idx="4347" formatCode="0.0%">
                  <c:v>8.9822764321769041E-2</c:v>
                </c:pt>
                <c:pt idx="4348" formatCode="0.0%">
                  <c:v>8.9466325558410997E-2</c:v>
                </c:pt>
                <c:pt idx="4349" formatCode="0.0%">
                  <c:v>9.0900377131025056E-2</c:v>
                </c:pt>
                <c:pt idx="4350" formatCode="0.0%">
                  <c:v>0.10210404331228501</c:v>
                </c:pt>
                <c:pt idx="4351" formatCode="0.0%">
                  <c:v>0.10223212279686196</c:v>
                </c:pt>
                <c:pt idx="4352" formatCode="0.0%">
                  <c:v>0.10556265235224462</c:v>
                </c:pt>
                <c:pt idx="4353" formatCode="0.0%">
                  <c:v>0.10324456015821368</c:v>
                </c:pt>
                <c:pt idx="4354" formatCode="0.0%">
                  <c:v>0.10275936881413332</c:v>
                </c:pt>
                <c:pt idx="4355" formatCode="0.0%">
                  <c:v>0.10294341025959962</c:v>
                </c:pt>
                <c:pt idx="4356" formatCode="0.0%">
                  <c:v>0.10422327147008364</c:v>
                </c:pt>
                <c:pt idx="4357" formatCode="0.0%">
                  <c:v>9.7185018936847625E-2</c:v>
                </c:pt>
                <c:pt idx="4358" formatCode="0.0%">
                  <c:v>8.4339806908835191E-2</c:v>
                </c:pt>
                <c:pt idx="4359" formatCode="0.0%">
                  <c:v>8.5314398937665126E-2</c:v>
                </c:pt>
                <c:pt idx="4360" formatCode="0.0%">
                  <c:v>8.5397014233435334E-2</c:v>
                </c:pt>
                <c:pt idx="4361" formatCode="0.0%">
                  <c:v>8.5992693492118549E-2</c:v>
                </c:pt>
                <c:pt idx="4362" formatCode="0.0%">
                  <c:v>8.6608967235562037E-2</c:v>
                </c:pt>
                <c:pt idx="4363" formatCode="0.0%">
                  <c:v>8.5561248340994281E-2</c:v>
                </c:pt>
                <c:pt idx="4364" formatCode="0.0%">
                  <c:v>8.30868178830481E-2</c:v>
                </c:pt>
                <c:pt idx="4365" formatCode="0.0%">
                  <c:v>8.1671376078036761E-2</c:v>
                </c:pt>
                <c:pt idx="4366" formatCode="0.0%">
                  <c:v>8.2418170335367968E-2</c:v>
                </c:pt>
                <c:pt idx="4367" formatCode="0.0%">
                  <c:v>7.6804056255987727E-2</c:v>
                </c:pt>
                <c:pt idx="4368" formatCode="0.0%">
                  <c:v>7.6521435417061731E-2</c:v>
                </c:pt>
                <c:pt idx="4369" formatCode="0.0%">
                  <c:v>7.5601627783934477E-2</c:v>
                </c:pt>
                <c:pt idx="4370" formatCode="0.0%">
                  <c:v>5.3717449880182011E-2</c:v>
                </c:pt>
                <c:pt idx="4371" formatCode="0.0%">
                  <c:v>5.1975308338495736E-2</c:v>
                </c:pt>
                <c:pt idx="4372" formatCode="0.0%">
                  <c:v>8.8314478719798334E-2</c:v>
                </c:pt>
                <c:pt idx="4373" formatCode="0.0%">
                  <c:v>9.7038645137330265E-2</c:v>
                </c:pt>
                <c:pt idx="4374" formatCode="0.0%">
                  <c:v>0.10481900781641001</c:v>
                </c:pt>
                <c:pt idx="4375" formatCode="0.0%">
                  <c:v>0.10471267059694038</c:v>
                </c:pt>
                <c:pt idx="4376" formatCode="0.0%">
                  <c:v>0.11118477723123588</c:v>
                </c:pt>
                <c:pt idx="4377" formatCode="0.0%">
                  <c:v>0.11191479705862156</c:v>
                </c:pt>
                <c:pt idx="4378" formatCode="0.0%">
                  <c:v>0.11577774876975394</c:v>
                </c:pt>
                <c:pt idx="4379" formatCode="0.0%">
                  <c:v>0.11586603641490868</c:v>
                </c:pt>
                <c:pt idx="4380" formatCode="0.0%">
                  <c:v>0.11660734215371238</c:v>
                </c:pt>
                <c:pt idx="4381" formatCode="0.0%">
                  <c:v>0.115847846448502</c:v>
                </c:pt>
                <c:pt idx="4382" formatCode="0.0%">
                  <c:v>0.11546357121893018</c:v>
                </c:pt>
                <c:pt idx="4383" formatCode="0.0%">
                  <c:v>0.11757730372589036</c:v>
                </c:pt>
                <c:pt idx="4384" formatCode="0.0%">
                  <c:v>0.14077568518298625</c:v>
                </c:pt>
                <c:pt idx="4385" formatCode="0.0%">
                  <c:v>0.14046939736243744</c:v>
                </c:pt>
                <c:pt idx="4386" formatCode="0.0%">
                  <c:v>0.14204123434702678</c:v>
                </c:pt>
                <c:pt idx="4387" formatCode="0.0%">
                  <c:v>0.13981400384947684</c:v>
                </c:pt>
                <c:pt idx="4388" formatCode="0.0%">
                  <c:v>0.14220445444497043</c:v>
                </c:pt>
                <c:pt idx="4389" formatCode="0.0%">
                  <c:v>0.14080351353115153</c:v>
                </c:pt>
                <c:pt idx="4390" formatCode="0.0%">
                  <c:v>0.14687052112278817</c:v>
                </c:pt>
                <c:pt idx="4391" formatCode="0.0%">
                  <c:v>0.16054962094368833</c:v>
                </c:pt>
                <c:pt idx="4392" formatCode="0.0%">
                  <c:v>0.14943864836033752</c:v>
                </c:pt>
                <c:pt idx="4393" formatCode="0.0%">
                  <c:v>0.15123463470434453</c:v>
                </c:pt>
                <c:pt idx="4394" formatCode="0.0%">
                  <c:v>0.14624113328385605</c:v>
                </c:pt>
                <c:pt idx="4395" formatCode="0.0%">
                  <c:v>0.14647511230077254</c:v>
                </c:pt>
                <c:pt idx="4396" formatCode="0.0%">
                  <c:v>0.14196338994080976</c:v>
                </c:pt>
                <c:pt idx="4397" formatCode="0.0%">
                  <c:v>0.14227426577261923</c:v>
                </c:pt>
                <c:pt idx="4398" formatCode="0.0%">
                  <c:v>0.13854302809344668</c:v>
                </c:pt>
                <c:pt idx="4399" formatCode="0.0%">
                  <c:v>0.14406743878799416</c:v>
                </c:pt>
                <c:pt idx="4400" formatCode="0.0%">
                  <c:v>0.1446594109315732</c:v>
                </c:pt>
                <c:pt idx="4401" formatCode="0.0%">
                  <c:v>0.15771025484905246</c:v>
                </c:pt>
                <c:pt idx="4402" formatCode="0.0%">
                  <c:v>0.15759198964873133</c:v>
                </c:pt>
                <c:pt idx="4403" formatCode="0.0%">
                  <c:v>0.16057099378948958</c:v>
                </c:pt>
                <c:pt idx="4404" formatCode="0.0%">
                  <c:v>0.14132296437663475</c:v>
                </c:pt>
                <c:pt idx="4405" formatCode="0.0%">
                  <c:v>0.14221486889602883</c:v>
                </c:pt>
                <c:pt idx="4406" formatCode="0.0%">
                  <c:v>0.14983884786039464</c:v>
                </c:pt>
                <c:pt idx="4407" formatCode="0.0%">
                  <c:v>0.15089137645434914</c:v>
                </c:pt>
                <c:pt idx="4408" formatCode="0.0%">
                  <c:v>0.14870293746170424</c:v>
                </c:pt>
                <c:pt idx="4409" formatCode="0.0%">
                  <c:v>0.16409569514048031</c:v>
                </c:pt>
                <c:pt idx="4410" formatCode="0.0%">
                  <c:v>0.16723490060494109</c:v>
                </c:pt>
                <c:pt idx="4411" formatCode="0.0%">
                  <c:v>0.15207147677865279</c:v>
                </c:pt>
                <c:pt idx="4412" formatCode="0.0%">
                  <c:v>0.15191919458087261</c:v>
                </c:pt>
                <c:pt idx="4413" formatCode="0.0%">
                  <c:v>0.14999969524549045</c:v>
                </c:pt>
                <c:pt idx="4414" formatCode="0.0%">
                  <c:v>0.14989872983133193</c:v>
                </c:pt>
                <c:pt idx="4415" formatCode="0.0%">
                  <c:v>0.15253833908214071</c:v>
                </c:pt>
                <c:pt idx="4416" formatCode="0.0%">
                  <c:v>0.15078326822321322</c:v>
                </c:pt>
                <c:pt idx="4417" formatCode="0.0%">
                  <c:v>0.15083077404027864</c:v>
                </c:pt>
                <c:pt idx="4418" formatCode="0.0%">
                  <c:v>0.15546327029712639</c:v>
                </c:pt>
                <c:pt idx="4419" formatCode="0.0%">
                  <c:v>0.14289875699604376</c:v>
                </c:pt>
                <c:pt idx="4420" formatCode="0.0%">
                  <c:v>0.14275335697241798</c:v>
                </c:pt>
                <c:pt idx="4421" formatCode="0.0%">
                  <c:v>0.13554295502334554</c:v>
                </c:pt>
                <c:pt idx="4422" formatCode="0.0%">
                  <c:v>0.13463549791490215</c:v>
                </c:pt>
                <c:pt idx="4423" formatCode="0.0%">
                  <c:v>0.12285743276476495</c:v>
                </c:pt>
                <c:pt idx="4424" formatCode="0.0%">
                  <c:v>0.12766924391212456</c:v>
                </c:pt>
                <c:pt idx="4425" formatCode="0.0%">
                  <c:v>0.15498032954355495</c:v>
                </c:pt>
                <c:pt idx="4426" formatCode="0.0%">
                  <c:v>0.15038143667026727</c:v>
                </c:pt>
                <c:pt idx="4427" formatCode="0.0%">
                  <c:v>0.15129271812466671</c:v>
                </c:pt>
                <c:pt idx="4428" formatCode="0.0%">
                  <c:v>0.15117336229202266</c:v>
                </c:pt>
                <c:pt idx="4429" formatCode="0.0%">
                  <c:v>0.1441368691318804</c:v>
                </c:pt>
                <c:pt idx="4430" formatCode="0.0%">
                  <c:v>0.14079701569835043</c:v>
                </c:pt>
                <c:pt idx="4431" formatCode="0.0%">
                  <c:v>0.13383555540786438</c:v>
                </c:pt>
                <c:pt idx="4432" formatCode="0.0%">
                  <c:v>0.1341047412119796</c:v>
                </c:pt>
                <c:pt idx="4433" formatCode="0.0%">
                  <c:v>0.13517523173583676</c:v>
                </c:pt>
                <c:pt idx="4434" formatCode="0.0%">
                  <c:v>0.13982234415160427</c:v>
                </c:pt>
                <c:pt idx="4435" formatCode="0.0%">
                  <c:v>0.14713935548690685</c:v>
                </c:pt>
                <c:pt idx="4436" formatCode="0.0%">
                  <c:v>0.14713935548690685</c:v>
                </c:pt>
                <c:pt idx="4437" formatCode="0.0%">
                  <c:v>0.14791897711607932</c:v>
                </c:pt>
                <c:pt idx="4438" formatCode="0.0%">
                  <c:v>0.14223106847415898</c:v>
                </c:pt>
                <c:pt idx="4439" formatCode="0.0%">
                  <c:v>0.14235684197948897</c:v>
                </c:pt>
                <c:pt idx="4440" formatCode="0.0%">
                  <c:v>0.14354682197374238</c:v>
                </c:pt>
                <c:pt idx="4441" formatCode="0.0%">
                  <c:v>0.14273976782831738</c:v>
                </c:pt>
                <c:pt idx="4442" formatCode="0.0%">
                  <c:v>0.14259573270241346</c:v>
                </c:pt>
                <c:pt idx="4443" formatCode="0.0%">
                  <c:v>0.14288359838764139</c:v>
                </c:pt>
                <c:pt idx="4444" formatCode="0.0%">
                  <c:v>0.14017183866682928</c:v>
                </c:pt>
                <c:pt idx="4445" formatCode="0.0%">
                  <c:v>0.10668361763144658</c:v>
                </c:pt>
                <c:pt idx="4446" formatCode="0.0%">
                  <c:v>8.7476232232314433E-2</c:v>
                </c:pt>
                <c:pt idx="4447" formatCode="0.0%">
                  <c:v>8.3788779121096141E-2</c:v>
                </c:pt>
                <c:pt idx="4448" formatCode="0.0%">
                  <c:v>9.0867716028956935E-2</c:v>
                </c:pt>
                <c:pt idx="4449" formatCode="0.0%">
                  <c:v>8.9212777887332881E-2</c:v>
                </c:pt>
                <c:pt idx="4450" formatCode="0.0%">
                  <c:v>9.4830773867905088E-2</c:v>
                </c:pt>
                <c:pt idx="4451" formatCode="0.0%">
                  <c:v>0.1129338056925637</c:v>
                </c:pt>
                <c:pt idx="4452" formatCode="0.0%">
                  <c:v>0.11341960279697666</c:v>
                </c:pt>
                <c:pt idx="4453" formatCode="0.0%">
                  <c:v>0.11221291434756088</c:v>
                </c:pt>
                <c:pt idx="4454" formatCode="0.0%">
                  <c:v>0.11092906255980677</c:v>
                </c:pt>
                <c:pt idx="4455" formatCode="0.0%">
                  <c:v>9.2705410186048165E-2</c:v>
                </c:pt>
                <c:pt idx="4456" formatCode="0.0%">
                  <c:v>0.10906837009176885</c:v>
                </c:pt>
                <c:pt idx="4457" formatCode="0.0%">
                  <c:v>0.11663068181264949</c:v>
                </c:pt>
                <c:pt idx="4458" formatCode="0.0%">
                  <c:v>0.116765478286846</c:v>
                </c:pt>
                <c:pt idx="4459" formatCode="0.0%">
                  <c:v>0.11670778552262084</c:v>
                </c:pt>
                <c:pt idx="4460" formatCode="0.0%">
                  <c:v>0.12054162001586675</c:v>
                </c:pt>
                <c:pt idx="4461" formatCode="0.0%">
                  <c:v>0.12203081423782876</c:v>
                </c:pt>
                <c:pt idx="4462" formatCode="0.0%">
                  <c:v>0.1218040399420508</c:v>
                </c:pt>
                <c:pt idx="4463" formatCode="0.0%">
                  <c:v>0.1227524822108944</c:v>
                </c:pt>
                <c:pt idx="4464" formatCode="0.0%">
                  <c:v>0.12500532770355616</c:v>
                </c:pt>
                <c:pt idx="4465" formatCode="0.0%">
                  <c:v>0.12706027484925878</c:v>
                </c:pt>
                <c:pt idx="4466" formatCode="0.0%">
                  <c:v>0.12858460261283972</c:v>
                </c:pt>
                <c:pt idx="4467" formatCode="0.0%">
                  <c:v>0.12872633398808206</c:v>
                </c:pt>
                <c:pt idx="4468" formatCode="0.0%">
                  <c:v>0.12445017601712725</c:v>
                </c:pt>
                <c:pt idx="4469" formatCode="0.0%">
                  <c:v>0.13588626870749776</c:v>
                </c:pt>
                <c:pt idx="4470" formatCode="0.0%">
                  <c:v>0.13799858321257105</c:v>
                </c:pt>
                <c:pt idx="4471" formatCode="0.0%">
                  <c:v>0.12505799364985676</c:v>
                </c:pt>
                <c:pt idx="4472" formatCode="0.0%">
                  <c:v>0.13014529214150536</c:v>
                </c:pt>
                <c:pt idx="4473" formatCode="0.0%">
                  <c:v>0.13234659514721758</c:v>
                </c:pt>
                <c:pt idx="4474" formatCode="0.0%">
                  <c:v>0.12815351558679791</c:v>
                </c:pt>
                <c:pt idx="4475" formatCode="0.0%">
                  <c:v>0.13071629790231959</c:v>
                </c:pt>
                <c:pt idx="4476" formatCode="0.0%">
                  <c:v>0.12816583904846451</c:v>
                </c:pt>
                <c:pt idx="4477" formatCode="0.0%">
                  <c:v>0.12206994143033043</c:v>
                </c:pt>
                <c:pt idx="4478" formatCode="0.0%">
                  <c:v>0.12206548920993392</c:v>
                </c:pt>
                <c:pt idx="4479" formatCode="0.0%">
                  <c:v>0.12221819437664364</c:v>
                </c:pt>
                <c:pt idx="4480" formatCode="0.0%">
                  <c:v>0.11630905885861238</c:v>
                </c:pt>
                <c:pt idx="4481" formatCode="0.0%">
                  <c:v>0.11732600338317371</c:v>
                </c:pt>
                <c:pt idx="4482" formatCode="0.0%">
                  <c:v>0.11817255633025321</c:v>
                </c:pt>
                <c:pt idx="4483" formatCode="0.0%">
                  <c:v>0.1317323961949517</c:v>
                </c:pt>
                <c:pt idx="4484" formatCode="0.0%">
                  <c:v>0.13132599256888131</c:v>
                </c:pt>
                <c:pt idx="4485" formatCode="0.0%">
                  <c:v>0.12896870349894329</c:v>
                </c:pt>
                <c:pt idx="4486" formatCode="0.0%">
                  <c:v>0.14837488043905903</c:v>
                </c:pt>
                <c:pt idx="4487" formatCode="0.0%">
                  <c:v>0.15269854543995176</c:v>
                </c:pt>
                <c:pt idx="4488" formatCode="0.0%">
                  <c:v>0.15160571903793896</c:v>
                </c:pt>
                <c:pt idx="4489" formatCode="0.0%">
                  <c:v>0.14415058966198493</c:v>
                </c:pt>
                <c:pt idx="4490" formatCode="0.0%">
                  <c:v>0.13932101015155035</c:v>
                </c:pt>
                <c:pt idx="4491" formatCode="0.0%">
                  <c:v>0.16392567261631075</c:v>
                </c:pt>
                <c:pt idx="4492" formatCode="0.0%">
                  <c:v>0.16143812707653568</c:v>
                </c:pt>
                <c:pt idx="4493" formatCode="0.0%">
                  <c:v>0.16010139199033582</c:v>
                </c:pt>
                <c:pt idx="4494" formatCode="0.0%">
                  <c:v>0.15999310373235731</c:v>
                </c:pt>
                <c:pt idx="4495" formatCode="0.0%">
                  <c:v>0.15877686756860071</c:v>
                </c:pt>
                <c:pt idx="4496" formatCode="0.0%">
                  <c:v>0.14969071249096308</c:v>
                </c:pt>
                <c:pt idx="4497" formatCode="0.0%">
                  <c:v>0.14981666912403907</c:v>
                </c:pt>
                <c:pt idx="4498" formatCode="0.0%">
                  <c:v>0.15094045935064365</c:v>
                </c:pt>
                <c:pt idx="4499" formatCode="0.0%">
                  <c:v>0.16920192747821708</c:v>
                </c:pt>
                <c:pt idx="4500" formatCode="0.0%">
                  <c:v>0.17637168353727109</c:v>
                </c:pt>
                <c:pt idx="4501" formatCode="0.0%">
                  <c:v>0.17577218250807336</c:v>
                </c:pt>
                <c:pt idx="4502" formatCode="0.0%">
                  <c:v>0.17547488866827587</c:v>
                </c:pt>
                <c:pt idx="4503" formatCode="0.0%">
                  <c:v>0.16676660979014904</c:v>
                </c:pt>
                <c:pt idx="4504" formatCode="0.0%">
                  <c:v>0.1645963935994548</c:v>
                </c:pt>
                <c:pt idx="4505" formatCode="0.0%">
                  <c:v>0.16460658463559227</c:v>
                </c:pt>
                <c:pt idx="4506" formatCode="0.0%">
                  <c:v>0.13845783530937839</c:v>
                </c:pt>
                <c:pt idx="4507" formatCode="0.0%">
                  <c:v>0.13853776490097094</c:v>
                </c:pt>
                <c:pt idx="4508" formatCode="0.0%">
                  <c:v>0.1848211680371448</c:v>
                </c:pt>
                <c:pt idx="4509" formatCode="0.0%">
                  <c:v>0.18289551962541006</c:v>
                </c:pt>
                <c:pt idx="4510" formatCode="0.0%">
                  <c:v>0.18532484733225688</c:v>
                </c:pt>
                <c:pt idx="4511" formatCode="0.0%">
                  <c:v>0.16630968471701596</c:v>
                </c:pt>
                <c:pt idx="4512" formatCode="0.0%">
                  <c:v>0.16315075463892534</c:v>
                </c:pt>
                <c:pt idx="4513" formatCode="0.0%">
                  <c:v>0.18841568537251557</c:v>
                </c:pt>
                <c:pt idx="4514" formatCode="0.0%">
                  <c:v>0.18842794636362831</c:v>
                </c:pt>
                <c:pt idx="4515" formatCode="0.0%">
                  <c:v>0.18811970009843362</c:v>
                </c:pt>
                <c:pt idx="4516" formatCode="0.0%">
                  <c:v>0.18824188380200313</c:v>
                </c:pt>
                <c:pt idx="4517" formatCode="0.0%">
                  <c:v>0.18692655812573564</c:v>
                </c:pt>
                <c:pt idx="4518" formatCode="0.0%">
                  <c:v>0.18773889089855589</c:v>
                </c:pt>
                <c:pt idx="4519" formatCode="0.0%">
                  <c:v>0.17527213717911957</c:v>
                </c:pt>
                <c:pt idx="4520" formatCode="0.0%">
                  <c:v>0.17269057107569707</c:v>
                </c:pt>
                <c:pt idx="4521" formatCode="0.0%">
                  <c:v>0.17176686702736604</c:v>
                </c:pt>
                <c:pt idx="4522" formatCode="0.0%">
                  <c:v>0.17181306755158651</c:v>
                </c:pt>
                <c:pt idx="4523" formatCode="0.0%">
                  <c:v>0.17894704399387576</c:v>
                </c:pt>
                <c:pt idx="4524" formatCode="0.0%">
                  <c:v>0.18559741431259694</c:v>
                </c:pt>
                <c:pt idx="4525" formatCode="0.0%">
                  <c:v>0.18720689508298055</c:v>
                </c:pt>
                <c:pt idx="4526" formatCode="0.0%">
                  <c:v>0.20000513818270632</c:v>
                </c:pt>
                <c:pt idx="4527" formatCode="0.0%">
                  <c:v>0.20021661984918368</c:v>
                </c:pt>
                <c:pt idx="4528" formatCode="0.0%">
                  <c:v>0.2147887243334291</c:v>
                </c:pt>
                <c:pt idx="4529" formatCode="0.0%">
                  <c:v>0.22297824955503315</c:v>
                </c:pt>
                <c:pt idx="4530" formatCode="0.0%">
                  <c:v>0.2311815426844975</c:v>
                </c:pt>
                <c:pt idx="4531" formatCode="0.0%">
                  <c:v>0.28189614589001499</c:v>
                </c:pt>
                <c:pt idx="4532" formatCode="0.0%">
                  <c:v>0.28194273634386963</c:v>
                </c:pt>
                <c:pt idx="4533" formatCode="0.0%">
                  <c:v>0.2698820574285713</c:v>
                </c:pt>
                <c:pt idx="4534" formatCode="0.0%">
                  <c:v>0.27205283730862539</c:v>
                </c:pt>
                <c:pt idx="4535" formatCode="0.0%">
                  <c:v>0.27194800721579188</c:v>
                </c:pt>
                <c:pt idx="4536" formatCode="0.0%">
                  <c:v>0.27167771646450278</c:v>
                </c:pt>
                <c:pt idx="4537" formatCode="0.0%">
                  <c:v>0.27529401049482416</c:v>
                </c:pt>
                <c:pt idx="4538" formatCode="0.0%">
                  <c:v>0.27511374388975302</c:v>
                </c:pt>
                <c:pt idx="4539" formatCode="0.0%">
                  <c:v>0.27730583208481835</c:v>
                </c:pt>
                <c:pt idx="4540" formatCode="0.0%">
                  <c:v>0.28042307776119518</c:v>
                </c:pt>
                <c:pt idx="4541" formatCode="0.0%">
                  <c:v>0.28042336155867609</c:v>
                </c:pt>
                <c:pt idx="4542" formatCode="0.0%">
                  <c:v>0.28103553668605263</c:v>
                </c:pt>
                <c:pt idx="4543" formatCode="0.0%">
                  <c:v>0.2802713650809962</c:v>
                </c:pt>
                <c:pt idx="4544" formatCode="0.0%">
                  <c:v>0.2771099551984807</c:v>
                </c:pt>
                <c:pt idx="4545" formatCode="0.0%">
                  <c:v>0.27970573272228694</c:v>
                </c:pt>
                <c:pt idx="4546" formatCode="0.0%">
                  <c:v>0.27727485061678675</c:v>
                </c:pt>
                <c:pt idx="4547" formatCode="0.0%">
                  <c:v>0.27771288276928197</c:v>
                </c:pt>
                <c:pt idx="4548" formatCode="0.0%">
                  <c:v>0.24650162880787527</c:v>
                </c:pt>
                <c:pt idx="4549" formatCode="0.0%">
                  <c:v>0.23764448232249175</c:v>
                </c:pt>
                <c:pt idx="4550" formatCode="0.0%">
                  <c:v>0.22678295190890677</c:v>
                </c:pt>
                <c:pt idx="4551" formatCode="0.0%">
                  <c:v>0.15859799229698043</c:v>
                </c:pt>
                <c:pt idx="4552" formatCode="0.0%">
                  <c:v>0.15555833477428591</c:v>
                </c:pt>
                <c:pt idx="4553" formatCode="0.0%">
                  <c:v>0.14631651205365992</c:v>
                </c:pt>
                <c:pt idx="4554" formatCode="0.0%">
                  <c:v>0.14540597897139163</c:v>
                </c:pt>
                <c:pt idx="4555" formatCode="0.0%">
                  <c:v>0.14440746537759167</c:v>
                </c:pt>
                <c:pt idx="4556" formatCode="0.0%">
                  <c:v>0.14025170905289214</c:v>
                </c:pt>
                <c:pt idx="4557" formatCode="0.0%">
                  <c:v>0.13740434008069569</c:v>
                </c:pt>
                <c:pt idx="4558" formatCode="0.0%">
                  <c:v>0.14429211736452027</c:v>
                </c:pt>
                <c:pt idx="4559" formatCode="0.0%">
                  <c:v>0.1455336611128519</c:v>
                </c:pt>
                <c:pt idx="4560" formatCode="0.0%">
                  <c:v>0.14548969207876589</c:v>
                </c:pt>
                <c:pt idx="4561" formatCode="0.0%">
                  <c:v>0.14138480502237274</c:v>
                </c:pt>
                <c:pt idx="4562" formatCode="0.0%">
                  <c:v>0.1460268354446507</c:v>
                </c:pt>
                <c:pt idx="4563" formatCode="0.0%">
                  <c:v>0.13002126257062455</c:v>
                </c:pt>
                <c:pt idx="4564" formatCode="0.0%">
                  <c:v>0.1289684894338789</c:v>
                </c:pt>
                <c:pt idx="4565" formatCode="0.0%">
                  <c:v>0.12769300452176111</c:v>
                </c:pt>
                <c:pt idx="4566" formatCode="0.0%">
                  <c:v>0.12565021066387227</c:v>
                </c:pt>
                <c:pt idx="4567" formatCode="0.0%">
                  <c:v>0.12529804523193339</c:v>
                </c:pt>
                <c:pt idx="4568" formatCode="0.0%">
                  <c:v>0.12603128686901913</c:v>
                </c:pt>
                <c:pt idx="4569" formatCode="0.0%">
                  <c:v>0.12541179553114154</c:v>
                </c:pt>
                <c:pt idx="4570" formatCode="0.0%">
                  <c:v>0.12583464490730339</c:v>
                </c:pt>
                <c:pt idx="4571" formatCode="0.0%">
                  <c:v>0.10874118923175158</c:v>
                </c:pt>
                <c:pt idx="4572" formatCode="0.0%">
                  <c:v>0.11684483042191232</c:v>
                </c:pt>
                <c:pt idx="4573" formatCode="0.0%">
                  <c:v>0.11667693810676823</c:v>
                </c:pt>
                <c:pt idx="4574" formatCode="0.0%">
                  <c:v>0.11623800980579294</c:v>
                </c:pt>
                <c:pt idx="4575" formatCode="0.0%">
                  <c:v>0.11702803203761318</c:v>
                </c:pt>
                <c:pt idx="4576" formatCode="0.0%">
                  <c:v>0.11699842754336737</c:v>
                </c:pt>
                <c:pt idx="4577" formatCode="0.0%">
                  <c:v>0.1180452156145087</c:v>
                </c:pt>
                <c:pt idx="4578" formatCode="0.0%">
                  <c:v>0.10534329474978914</c:v>
                </c:pt>
                <c:pt idx="4579" formatCode="0.0%">
                  <c:v>0.10303051459161701</c:v>
                </c:pt>
                <c:pt idx="4580" formatCode="0.0%">
                  <c:v>0.1095528484805821</c:v>
                </c:pt>
                <c:pt idx="4581" formatCode="0.0%">
                  <c:v>0.11974453150325833</c:v>
                </c:pt>
                <c:pt idx="4582" formatCode="0.0%">
                  <c:v>0.10748980484442502</c:v>
                </c:pt>
                <c:pt idx="4583" formatCode="0.0%">
                  <c:v>0.10707026374270535</c:v>
                </c:pt>
                <c:pt idx="4584" formatCode="0.0%">
                  <c:v>0.12295603744230692</c:v>
                </c:pt>
                <c:pt idx="4585" formatCode="0.0%">
                  <c:v>0.12334219465434809</c:v>
                </c:pt>
                <c:pt idx="4586" formatCode="0.0%">
                  <c:v>0.12206494330609474</c:v>
                </c:pt>
                <c:pt idx="4587" formatCode="0.0%">
                  <c:v>0.11435723085083631</c:v>
                </c:pt>
                <c:pt idx="4588" formatCode="0.0%">
                  <c:v>0.11684320911651386</c:v>
                </c:pt>
                <c:pt idx="4589" formatCode="0.0%">
                  <c:v>0.11612583408713169</c:v>
                </c:pt>
                <c:pt idx="4590" formatCode="0.0%">
                  <c:v>0.11658810549610847</c:v>
                </c:pt>
                <c:pt idx="4591" formatCode="0.0%">
                  <c:v>0.11685192437994485</c:v>
                </c:pt>
                <c:pt idx="4592" formatCode="0.0%">
                  <c:v>0.11331914087726801</c:v>
                </c:pt>
                <c:pt idx="4593" formatCode="0.0%">
                  <c:v>0.11101788838824232</c:v>
                </c:pt>
                <c:pt idx="4594" formatCode="0.0%">
                  <c:v>0.11089207364239421</c:v>
                </c:pt>
                <c:pt idx="4595" formatCode="0.0%">
                  <c:v>0.11082600330853562</c:v>
                </c:pt>
                <c:pt idx="4596" formatCode="0.0%">
                  <c:v>0.12166700965246426</c:v>
                </c:pt>
                <c:pt idx="4597" formatCode="0.0%">
                  <c:v>0.12090351842493488</c:v>
                </c:pt>
                <c:pt idx="4598" formatCode="0.0%">
                  <c:v>0.12016612563759391</c:v>
                </c:pt>
                <c:pt idx="4599" formatCode="0.0%">
                  <c:v>0.11828545470730516</c:v>
                </c:pt>
                <c:pt idx="4600" formatCode="0.0%">
                  <c:v>0.11288244972079299</c:v>
                </c:pt>
                <c:pt idx="4601" formatCode="0.0%">
                  <c:v>0.10685775627585994</c:v>
                </c:pt>
                <c:pt idx="4602" formatCode="0.0%">
                  <c:v>0.10640743204721677</c:v>
                </c:pt>
                <c:pt idx="4603" formatCode="0.0%">
                  <c:v>0.10599985149742994</c:v>
                </c:pt>
                <c:pt idx="4604" formatCode="0.0%">
                  <c:v>8.9825432030205085E-2</c:v>
                </c:pt>
                <c:pt idx="4605" formatCode="0.0%">
                  <c:v>9.7309552297587878E-2</c:v>
                </c:pt>
                <c:pt idx="4606" formatCode="0.0%">
                  <c:v>9.4983875378019639E-2</c:v>
                </c:pt>
                <c:pt idx="4607" formatCode="0.0%">
                  <c:v>9.2678160565428255E-2</c:v>
                </c:pt>
                <c:pt idx="4608" formatCode="0.0%">
                  <c:v>9.0689219355731682E-2</c:v>
                </c:pt>
                <c:pt idx="4609" formatCode="0.0%">
                  <c:v>9.0207257755216014E-2</c:v>
                </c:pt>
                <c:pt idx="4610" formatCode="0.0%">
                  <c:v>0.10350713369263544</c:v>
                </c:pt>
                <c:pt idx="4611" formatCode="0.0%">
                  <c:v>0.10500757459419223</c:v>
                </c:pt>
                <c:pt idx="4612" formatCode="0.0%">
                  <c:v>0.12704123384429913</c:v>
                </c:pt>
                <c:pt idx="4613" formatCode="0.0%">
                  <c:v>0.13532331665174988</c:v>
                </c:pt>
                <c:pt idx="4614" formatCode="0.0%">
                  <c:v>0.13586514061275776</c:v>
                </c:pt>
                <c:pt idx="4615" formatCode="0.0%">
                  <c:v>0.13315905844903247</c:v>
                </c:pt>
                <c:pt idx="4616" formatCode="0.0%">
                  <c:v>0.11753868975662969</c:v>
                </c:pt>
                <c:pt idx="4617" formatCode="0.0%">
                  <c:v>0.13314596097892772</c:v>
                </c:pt>
                <c:pt idx="4618" formatCode="0.0%">
                  <c:v>0.13395725576824624</c:v>
                </c:pt>
                <c:pt idx="4619" formatCode="0.0%">
                  <c:v>0.13552692526636989</c:v>
                </c:pt>
                <c:pt idx="4620" formatCode="0.0%">
                  <c:v>0.13426710777454737</c:v>
                </c:pt>
                <c:pt idx="4621" formatCode="0.0%">
                  <c:v>0.1331693633518253</c:v>
                </c:pt>
                <c:pt idx="4622" formatCode="0.0%">
                  <c:v>0.13342322390286498</c:v>
                </c:pt>
                <c:pt idx="4623" formatCode="0.0%">
                  <c:v>0.13364208605558014</c:v>
                </c:pt>
                <c:pt idx="4624" formatCode="0.0%">
                  <c:v>0.13540352485175519</c:v>
                </c:pt>
                <c:pt idx="4625" formatCode="0.0%">
                  <c:v>0.130769391180316</c:v>
                </c:pt>
                <c:pt idx="4626" formatCode="0.0%">
                  <c:v>0.13154997784193223</c:v>
                </c:pt>
                <c:pt idx="4627" formatCode="0.0%">
                  <c:v>0.13056969699537088</c:v>
                </c:pt>
                <c:pt idx="4628" formatCode="0.0%">
                  <c:v>0.14262241542266182</c:v>
                </c:pt>
                <c:pt idx="4629" formatCode="0.0%">
                  <c:v>0.14263802716202317</c:v>
                </c:pt>
                <c:pt idx="4630" formatCode="0.0%">
                  <c:v>0.13824910189319756</c:v>
                </c:pt>
                <c:pt idx="4631" formatCode="0.0%">
                  <c:v>0.13717548977969479</c:v>
                </c:pt>
                <c:pt idx="4632" formatCode="0.0%">
                  <c:v>0.11212726530048038</c:v>
                </c:pt>
                <c:pt idx="4633" formatCode="0.0%">
                  <c:v>0.10432562799304293</c:v>
                </c:pt>
                <c:pt idx="4634" formatCode="0.0%">
                  <c:v>0.1476126292589065</c:v>
                </c:pt>
                <c:pt idx="4635" formatCode="0.0%">
                  <c:v>0.14706429249837186</c:v>
                </c:pt>
                <c:pt idx="4636" formatCode="0.0%">
                  <c:v>0.14927987041668819</c:v>
                </c:pt>
                <c:pt idx="4637" formatCode="0.0%">
                  <c:v>0.13817728624798739</c:v>
                </c:pt>
                <c:pt idx="4638" formatCode="0.0%">
                  <c:v>0.13876104692420832</c:v>
                </c:pt>
                <c:pt idx="4639" formatCode="0.0%">
                  <c:v>0.13852994962522858</c:v>
                </c:pt>
                <c:pt idx="4640" formatCode="0.0%">
                  <c:v>0.14638202159624303</c:v>
                </c:pt>
                <c:pt idx="4641" formatCode="0.0%">
                  <c:v>0.14716261040214162</c:v>
                </c:pt>
                <c:pt idx="4642" formatCode="0.0%">
                  <c:v>0.14711884873133343</c:v>
                </c:pt>
                <c:pt idx="4643" formatCode="0.0%">
                  <c:v>0.14790683170782848</c:v>
                </c:pt>
                <c:pt idx="4644" formatCode="0.0%">
                  <c:v>0.14585294879210667</c:v>
                </c:pt>
                <c:pt idx="4645" formatCode="0.0%">
                  <c:v>0.15076996139065621</c:v>
                </c:pt>
                <c:pt idx="4646" formatCode="0.0%">
                  <c:v>0.1512160002922126</c:v>
                </c:pt>
                <c:pt idx="4647" formatCode="0.0%">
                  <c:v>0.1500089370808774</c:v>
                </c:pt>
                <c:pt idx="4648" formatCode="0.0%">
                  <c:v>0.13587050139025358</c:v>
                </c:pt>
                <c:pt idx="4649" formatCode="0.0%">
                  <c:v>0.13873514158645095</c:v>
                </c:pt>
                <c:pt idx="4650" formatCode="0.0%">
                  <c:v>0.13775968627512372</c:v>
                </c:pt>
                <c:pt idx="4651" formatCode="0.0%">
                  <c:v>0.14407109380610272</c:v>
                </c:pt>
                <c:pt idx="4652" formatCode="0.0%">
                  <c:v>0.14664135226600805</c:v>
                </c:pt>
                <c:pt idx="4653" formatCode="0.0%">
                  <c:v>0.14645483813759325</c:v>
                </c:pt>
                <c:pt idx="4654" formatCode="0.0%">
                  <c:v>9.4425610376791813E-2</c:v>
                </c:pt>
                <c:pt idx="4655" formatCode="0.0%">
                  <c:v>0.10221036008415241</c:v>
                </c:pt>
                <c:pt idx="4656" formatCode="0.0%">
                  <c:v>0.10816589651803271</c:v>
                </c:pt>
                <c:pt idx="4657" formatCode="0.0%">
                  <c:v>0.10627011526315275</c:v>
                </c:pt>
                <c:pt idx="4658" formatCode="0.0%">
                  <c:v>0.1076360510633622</c:v>
                </c:pt>
                <c:pt idx="4659" formatCode="0.0%">
                  <c:v>0.15249698688442195</c:v>
                </c:pt>
                <c:pt idx="4660" formatCode="0.0%">
                  <c:v>0.14663802872470563</c:v>
                </c:pt>
                <c:pt idx="4661" formatCode="0.0%">
                  <c:v>0.14611335292106314</c:v>
                </c:pt>
                <c:pt idx="4662" formatCode="0.0%">
                  <c:v>0.14561981445277394</c:v>
                </c:pt>
                <c:pt idx="4663" formatCode="0.0%">
                  <c:v>0.27511483901164246</c:v>
                </c:pt>
                <c:pt idx="4664" formatCode="0.0%">
                  <c:v>0.2748228288542594</c:v>
                </c:pt>
                <c:pt idx="4665" formatCode="0.0%">
                  <c:v>0.30603211475185021</c:v>
                </c:pt>
                <c:pt idx="4666" formatCode="0.0%">
                  <c:v>0.30371134981744108</c:v>
                </c:pt>
                <c:pt idx="4667" formatCode="0.0%">
                  <c:v>0.34619757289199571</c:v>
                </c:pt>
                <c:pt idx="4668" formatCode="0.0%">
                  <c:v>0.35007433691049489</c:v>
                </c:pt>
                <c:pt idx="4669" formatCode="0.0%">
                  <c:v>0.37491650569055723</c:v>
                </c:pt>
                <c:pt idx="4670" formatCode="0.0%">
                  <c:v>0.37482071558915708</c:v>
                </c:pt>
                <c:pt idx="4671" formatCode="0.0%">
                  <c:v>0.38827217282648263</c:v>
                </c:pt>
                <c:pt idx="4672" formatCode="0.0%">
                  <c:v>0.39139765583093561</c:v>
                </c:pt>
                <c:pt idx="4673" formatCode="0.0%">
                  <c:v>0.39082417334002117</c:v>
                </c:pt>
                <c:pt idx="4674" formatCode="0.0%">
                  <c:v>0.3965880896022192</c:v>
                </c:pt>
                <c:pt idx="4675" formatCode="0.0%">
                  <c:v>0.40471596958283568</c:v>
                </c:pt>
                <c:pt idx="4676" formatCode="0.0%">
                  <c:v>0.42388682179159132</c:v>
                </c:pt>
                <c:pt idx="4677" formatCode="0.0%">
                  <c:v>0.42364487036685378</c:v>
                </c:pt>
                <c:pt idx="4678" formatCode="0.0%">
                  <c:v>0.43786530043665117</c:v>
                </c:pt>
                <c:pt idx="4679" formatCode="0.0%">
                  <c:v>0.4445628824989874</c:v>
                </c:pt>
                <c:pt idx="4680" formatCode="0.0%">
                  <c:v>0.44795760424092962</c:v>
                </c:pt>
                <c:pt idx="4681" formatCode="0.0%">
                  <c:v>0.44777404564532158</c:v>
                </c:pt>
                <c:pt idx="4682" formatCode="0.0%">
                  <c:v>0.44807677118400258</c:v>
                </c:pt>
                <c:pt idx="4683" formatCode="0.0%">
                  <c:v>0.37826369086816597</c:v>
                </c:pt>
                <c:pt idx="4684" formatCode="0.0%">
                  <c:v>0.37977046778424367</c:v>
                </c:pt>
                <c:pt idx="4685" formatCode="0.0%">
                  <c:v>0.3564377348045083</c:v>
                </c:pt>
                <c:pt idx="4686" formatCode="0.0%">
                  <c:v>0.35696314881273999</c:v>
                </c:pt>
                <c:pt idx="4687" formatCode="0.0%">
                  <c:v>0.30405341445729606</c:v>
                </c:pt>
                <c:pt idx="4688" formatCode="0.0%">
                  <c:v>0.28954776527316378</c:v>
                </c:pt>
                <c:pt idx="4689" formatCode="0.0%">
                  <c:v>0.2814911292662457</c:v>
                </c:pt>
                <c:pt idx="4690" formatCode="0.0%">
                  <c:v>0.28862886739702825</c:v>
                </c:pt>
                <c:pt idx="4691" formatCode="0.0%">
                  <c:v>0.29025423493599228</c:v>
                </c:pt>
                <c:pt idx="4692" formatCode="0.0%">
                  <c:v>0.29010619122703546</c:v>
                </c:pt>
                <c:pt idx="4693" formatCode="0.0%">
                  <c:v>0.32442798208319501</c:v>
                </c:pt>
                <c:pt idx="4694" formatCode="0.0%">
                  <c:v>0.30228898111691282</c:v>
                </c:pt>
                <c:pt idx="4695" formatCode="0.0%">
                  <c:v>0.28244688021623776</c:v>
                </c:pt>
                <c:pt idx="4696" formatCode="0.0%">
                  <c:v>0.26998989080315322</c:v>
                </c:pt>
                <c:pt idx="4697" formatCode="0.0%">
                  <c:v>0.25923774986628551</c:v>
                </c:pt>
                <c:pt idx="4698" formatCode="0.0%">
                  <c:v>0.25108067924437605</c:v>
                </c:pt>
                <c:pt idx="4699" formatCode="0.0%">
                  <c:v>0.23432760193175695</c:v>
                </c:pt>
                <c:pt idx="4700" formatCode="0.0%">
                  <c:v>0.22993804223164513</c:v>
                </c:pt>
                <c:pt idx="4701" formatCode="0.0%">
                  <c:v>0.22802239694973139</c:v>
                </c:pt>
                <c:pt idx="4702" formatCode="0.0%">
                  <c:v>0.23706627491037996</c:v>
                </c:pt>
                <c:pt idx="4703" formatCode="0.0%">
                  <c:v>0.23841328239228846</c:v>
                </c:pt>
                <c:pt idx="4704" formatCode="0.0%">
                  <c:v>0.23661194078475586</c:v>
                </c:pt>
                <c:pt idx="4705" formatCode="0.0%">
                  <c:v>0.27236959704964359</c:v>
                </c:pt>
                <c:pt idx="4706" formatCode="0.0%">
                  <c:v>0.27468586592197991</c:v>
                </c:pt>
                <c:pt idx="4707" formatCode="0.0%">
                  <c:v>0.27861993321997691</c:v>
                </c:pt>
                <c:pt idx="4708" formatCode="0.0%">
                  <c:v>0.32035466674337243</c:v>
                </c:pt>
                <c:pt idx="4709" formatCode="0.0%">
                  <c:v>0.30212040304187493</c:v>
                </c:pt>
                <c:pt idx="4710" formatCode="0.0%">
                  <c:v>0.29864048955762917</c:v>
                </c:pt>
                <c:pt idx="4711" formatCode="0.0%">
                  <c:v>0.29073669836607263</c:v>
                </c:pt>
                <c:pt idx="4712" formatCode="0.0%">
                  <c:v>0.29224571241021297</c:v>
                </c:pt>
                <c:pt idx="4713" formatCode="0.0%">
                  <c:v>0.2546025016384959</c:v>
                </c:pt>
                <c:pt idx="4714" formatCode="0.0%">
                  <c:v>0.25668407361035872</c:v>
                </c:pt>
                <c:pt idx="4715" formatCode="0.0%">
                  <c:v>0.25380538059827745</c:v>
                </c:pt>
                <c:pt idx="4716" formatCode="0.0%">
                  <c:v>0.25377704264252515</c:v>
                </c:pt>
                <c:pt idx="4717" formatCode="0.0%">
                  <c:v>0.25437443263334264</c:v>
                </c:pt>
                <c:pt idx="4718" formatCode="0.0%">
                  <c:v>0.25955469194695996</c:v>
                </c:pt>
                <c:pt idx="4719" formatCode="0.0%">
                  <c:v>0.25916695707358828</c:v>
                </c:pt>
                <c:pt idx="4720" formatCode="0.0%">
                  <c:v>0.26437740105743557</c:v>
                </c:pt>
                <c:pt idx="4721" formatCode="0.0%">
                  <c:v>0.26694443010351465</c:v>
                </c:pt>
                <c:pt idx="4722" formatCode="0.0%">
                  <c:v>0.25686365861348598</c:v>
                </c:pt>
                <c:pt idx="4723" formatCode="0.0%">
                  <c:v>0.25584824444451426</c:v>
                </c:pt>
                <c:pt idx="4724" formatCode="0.0%">
                  <c:v>0.26332668969713963</c:v>
                </c:pt>
                <c:pt idx="4725" formatCode="0.0%">
                  <c:v>0.22867736154239776</c:v>
                </c:pt>
                <c:pt idx="4726" formatCode="0.0%">
                  <c:v>0.22903511775485125</c:v>
                </c:pt>
                <c:pt idx="4727" formatCode="0.0%">
                  <c:v>0.21892867505956554</c:v>
                </c:pt>
                <c:pt idx="4728" formatCode="0.0%">
                  <c:v>0.15449806077679434</c:v>
                </c:pt>
                <c:pt idx="4729" formatCode="0.0%">
                  <c:v>0.21167366061001519</c:v>
                </c:pt>
                <c:pt idx="4730" formatCode="0.0%">
                  <c:v>0.2115810185927795</c:v>
                </c:pt>
                <c:pt idx="4731" formatCode="0.0%">
                  <c:v>0.21096587696218791</c:v>
                </c:pt>
                <c:pt idx="4732" formatCode="0.0%">
                  <c:v>0.21488397349945981</c:v>
                </c:pt>
                <c:pt idx="4733" formatCode="0.0%">
                  <c:v>0.21430065562190923</c:v>
                </c:pt>
                <c:pt idx="4734" formatCode="0.0%">
                  <c:v>0.21004689528992679</c:v>
                </c:pt>
                <c:pt idx="4735" formatCode="0.0%">
                  <c:v>0.20646146053971851</c:v>
                </c:pt>
                <c:pt idx="4736" formatCode="0.0%">
                  <c:v>0.20621541210392838</c:v>
                </c:pt>
                <c:pt idx="4737" formatCode="0.0%">
                  <c:v>0.20816154746071552</c:v>
                </c:pt>
                <c:pt idx="4738" formatCode="0.0%">
                  <c:v>0.19322667846568964</c:v>
                </c:pt>
                <c:pt idx="4739" formatCode="0.0%">
                  <c:v>0.19334947712513553</c:v>
                </c:pt>
                <c:pt idx="4740" formatCode="0.0%">
                  <c:v>0.19222079194546882</c:v>
                </c:pt>
                <c:pt idx="4741" formatCode="0.0%">
                  <c:v>0.19694661480844591</c:v>
                </c:pt>
                <c:pt idx="4742" formatCode="0.0%">
                  <c:v>0.1967071247612171</c:v>
                </c:pt>
                <c:pt idx="4743" formatCode="0.0%">
                  <c:v>0.19540014068864142</c:v>
                </c:pt>
                <c:pt idx="4744" formatCode="0.0%">
                  <c:v>0.18449559177096855</c:v>
                </c:pt>
                <c:pt idx="4745" formatCode="0.0%">
                  <c:v>0.1874895147198955</c:v>
                </c:pt>
                <c:pt idx="4746" formatCode="0.0%">
                  <c:v>0.18090194015005526</c:v>
                </c:pt>
                <c:pt idx="4747" formatCode="0.0%">
                  <c:v>0.18204136495447226</c:v>
                </c:pt>
                <c:pt idx="4748" formatCode="0.0%">
                  <c:v>0.18566102299293105</c:v>
                </c:pt>
                <c:pt idx="4749" formatCode="0.0%">
                  <c:v>0.11575180850288327</c:v>
                </c:pt>
                <c:pt idx="4750" formatCode="0.0%">
                  <c:v>0.11589233152104386</c:v>
                </c:pt>
                <c:pt idx="4751" formatCode="0.0%">
                  <c:v>0.12488003343613005</c:v>
                </c:pt>
                <c:pt idx="4752" formatCode="0.0%">
                  <c:v>0.15538183767928956</c:v>
                </c:pt>
                <c:pt idx="4753" formatCode="0.0%">
                  <c:v>0.15656772685515477</c:v>
                </c:pt>
                <c:pt idx="4754" formatCode="0.0%">
                  <c:v>0.15636514642384075</c:v>
                </c:pt>
                <c:pt idx="4755" formatCode="0.0%">
                  <c:v>0.1562932949769078</c:v>
                </c:pt>
                <c:pt idx="4756" formatCode="0.0%">
                  <c:v>0.17262624819714106</c:v>
                </c:pt>
                <c:pt idx="4757" formatCode="0.0%">
                  <c:v>0.16193753583114456</c:v>
                </c:pt>
                <c:pt idx="4758" formatCode="0.0%">
                  <c:v>0.16111608955975815</c:v>
                </c:pt>
                <c:pt idx="4759" formatCode="0.0%">
                  <c:v>0.16188979862467295</c:v>
                </c:pt>
                <c:pt idx="4760" formatCode="0.0%">
                  <c:v>0.16650708336522396</c:v>
                </c:pt>
                <c:pt idx="4761" formatCode="0.0%">
                  <c:v>0.16244144116707465</c:v>
                </c:pt>
                <c:pt idx="4762" formatCode="0.0%">
                  <c:v>0.165108751610411</c:v>
                </c:pt>
                <c:pt idx="4763" formatCode="0.0%">
                  <c:v>0.16730847753219491</c:v>
                </c:pt>
                <c:pt idx="4764" formatCode="0.0%">
                  <c:v>0.16945911658218582</c:v>
                </c:pt>
                <c:pt idx="4765" formatCode="0.0%">
                  <c:v>0.16785024610853186</c:v>
                </c:pt>
                <c:pt idx="4766" formatCode="0.0%">
                  <c:v>0.16782958769127665</c:v>
                </c:pt>
                <c:pt idx="4767" formatCode="0.0%">
                  <c:v>0.16578680736743953</c:v>
                </c:pt>
                <c:pt idx="4768" formatCode="0.0%">
                  <c:v>0.16237819306853796</c:v>
                </c:pt>
                <c:pt idx="4769" formatCode="0.0%">
                  <c:v>0.1623146893192961</c:v>
                </c:pt>
                <c:pt idx="4770" formatCode="0.0%">
                  <c:v>0.16343298515939531</c:v>
                </c:pt>
                <c:pt idx="4771" formatCode="0.0%">
                  <c:v>0.16232806907798858</c:v>
                </c:pt>
                <c:pt idx="4772" formatCode="0.0%">
                  <c:v>0.11379030233338544</c:v>
                </c:pt>
                <c:pt idx="4773" formatCode="0.0%">
                  <c:v>0.11390010114639106</c:v>
                </c:pt>
                <c:pt idx="4774" formatCode="0.0%">
                  <c:v>0.12372395246325557</c:v>
                </c:pt>
                <c:pt idx="4775" formatCode="0.0%">
                  <c:v>0.12669307636322208</c:v>
                </c:pt>
                <c:pt idx="4776" formatCode="0.0%">
                  <c:v>0.11200527404286623</c:v>
                </c:pt>
                <c:pt idx="4777" formatCode="0.0%">
                  <c:v>0.11027510550938313</c:v>
                </c:pt>
                <c:pt idx="4778" formatCode="0.0%">
                  <c:v>0.12052886814915395</c:v>
                </c:pt>
                <c:pt idx="4779" formatCode="0.0%">
                  <c:v>0.12022297032004334</c:v>
                </c:pt>
                <c:pt idx="4780" formatCode="0.0%">
                  <c:v>0.11729377298503015</c:v>
                </c:pt>
                <c:pt idx="4781" formatCode="0.0%">
                  <c:v>0.12279866188119568</c:v>
                </c:pt>
                <c:pt idx="4782" formatCode="0.0%">
                  <c:v>0.12980291386177031</c:v>
                </c:pt>
                <c:pt idx="4783" formatCode="0.0%">
                  <c:v>0.13224953527775266</c:v>
                </c:pt>
                <c:pt idx="4784" formatCode="0.0%">
                  <c:v>0.13240555637626586</c:v>
                </c:pt>
                <c:pt idx="4785" formatCode="0.0%">
                  <c:v>0.13241497241795447</c:v>
                </c:pt>
                <c:pt idx="4786" formatCode="0.0%">
                  <c:v>0.13140950995987769</c:v>
                </c:pt>
                <c:pt idx="4787" formatCode="0.0%">
                  <c:v>0.12639352444272053</c:v>
                </c:pt>
                <c:pt idx="4788" formatCode="0.0%">
                  <c:v>0.13407377032213111</c:v>
                </c:pt>
                <c:pt idx="4789" formatCode="0.0%">
                  <c:v>0.13306361599501074</c:v>
                </c:pt>
                <c:pt idx="4790" formatCode="0.0%">
                  <c:v>0.1725709307853969</c:v>
                </c:pt>
                <c:pt idx="4791" formatCode="0.0%">
                  <c:v>0.15987843296906618</c:v>
                </c:pt>
                <c:pt idx="4792" formatCode="0.0%">
                  <c:v>0.16090262405454001</c:v>
                </c:pt>
                <c:pt idx="4793" formatCode="0.0%">
                  <c:v>0.16124857671972398</c:v>
                </c:pt>
                <c:pt idx="4794" formatCode="0.0%">
                  <c:v>0.1574460123860183</c:v>
                </c:pt>
                <c:pt idx="4795" formatCode="0.0%">
                  <c:v>0.15928993109444453</c:v>
                </c:pt>
                <c:pt idx="4796" formatCode="0.0%">
                  <c:v>0.15994576070957073</c:v>
                </c:pt>
                <c:pt idx="4797" formatCode="0.0%">
                  <c:v>0.16968980807252579</c:v>
                </c:pt>
                <c:pt idx="4798" formatCode="0.0%">
                  <c:v>0.1679957877605629</c:v>
                </c:pt>
                <c:pt idx="4799" formatCode="0.0%">
                  <c:v>0.16745231510804251</c:v>
                </c:pt>
                <c:pt idx="4800" formatCode="0.0%">
                  <c:v>0.17296941701210783</c:v>
                </c:pt>
                <c:pt idx="4801" formatCode="0.0%">
                  <c:v>0.1734804764570213</c:v>
                </c:pt>
                <c:pt idx="4802" formatCode="0.0%">
                  <c:v>0.16935378838774592</c:v>
                </c:pt>
                <c:pt idx="4803" formatCode="0.0%">
                  <c:v>0.17372999427838506</c:v>
                </c:pt>
                <c:pt idx="4804" formatCode="0.0%">
                  <c:v>0.17319971786832294</c:v>
                </c:pt>
                <c:pt idx="4805" formatCode="0.0%">
                  <c:v>0.17356374632657226</c:v>
                </c:pt>
                <c:pt idx="4806" formatCode="0.0%">
                  <c:v>0.17727579922541076</c:v>
                </c:pt>
                <c:pt idx="4807" formatCode="0.0%">
                  <c:v>0.1780595952565924</c:v>
                </c:pt>
                <c:pt idx="4808" formatCode="0.0%">
                  <c:v>0.17213713306833606</c:v>
                </c:pt>
                <c:pt idx="4809" formatCode="0.0%">
                  <c:v>0.17115301190355811</c:v>
                </c:pt>
                <c:pt idx="4810" formatCode="0.0%">
                  <c:v>0.1320407697887532</c:v>
                </c:pt>
                <c:pt idx="4811" formatCode="0.0%">
                  <c:v>0.13761575641862589</c:v>
                </c:pt>
                <c:pt idx="4812" formatCode="0.0%">
                  <c:v>0.13426190800304794</c:v>
                </c:pt>
                <c:pt idx="4813" formatCode="0.0%">
                  <c:v>0.1322962054062507</c:v>
                </c:pt>
                <c:pt idx="4814" formatCode="0.0%">
                  <c:v>0.1344171655306817</c:v>
                </c:pt>
                <c:pt idx="4815" formatCode="0.0%">
                  <c:v>0.1923080334331865</c:v>
                </c:pt>
                <c:pt idx="4816" formatCode="0.0%">
                  <c:v>0.19176107639087206</c:v>
                </c:pt>
                <c:pt idx="4817" formatCode="0.0%">
                  <c:v>0.18900380232020134</c:v>
                </c:pt>
                <c:pt idx="4818" formatCode="0.0%">
                  <c:v>0.18719609901185366</c:v>
                </c:pt>
                <c:pt idx="4819" formatCode="0.0%">
                  <c:v>0.19025463491202846</c:v>
                </c:pt>
                <c:pt idx="4820" formatCode="0.0%">
                  <c:v>0.20938451731239388</c:v>
                </c:pt>
                <c:pt idx="4821" formatCode="0.0%">
                  <c:v>0.21092730584603869</c:v>
                </c:pt>
                <c:pt idx="4822" formatCode="0.0%">
                  <c:v>0.21063585279504096</c:v>
                </c:pt>
                <c:pt idx="4823" formatCode="0.0%">
                  <c:v>0.20312586600801516</c:v>
                </c:pt>
                <c:pt idx="4824" formatCode="0.0%">
                  <c:v>0.19711842877265381</c:v>
                </c:pt>
                <c:pt idx="4825" formatCode="0.0%">
                  <c:v>0.19719066260087373</c:v>
                </c:pt>
                <c:pt idx="4826" formatCode="0.0%">
                  <c:v>0.19610128221399661</c:v>
                </c:pt>
                <c:pt idx="4827" formatCode="0.0%">
                  <c:v>0.20207355212596037</c:v>
                </c:pt>
                <c:pt idx="4828" formatCode="0.0%">
                  <c:v>0.20495316002781713</c:v>
                </c:pt>
                <c:pt idx="4829" formatCode="0.0%">
                  <c:v>0.20714304628376837</c:v>
                </c:pt>
                <c:pt idx="4830" formatCode="0.0%">
                  <c:v>0.20609481526831894</c:v>
                </c:pt>
                <c:pt idx="4831" formatCode="0.0%">
                  <c:v>0.20301336510845411</c:v>
                </c:pt>
                <c:pt idx="4832" formatCode="0.0%">
                  <c:v>0.20301345053416678</c:v>
                </c:pt>
                <c:pt idx="4833" formatCode="0.0%">
                  <c:v>0.2037208808352832</c:v>
                </c:pt>
                <c:pt idx="4834" formatCode="0.0%">
                  <c:v>0.20238577077549277</c:v>
                </c:pt>
                <c:pt idx="4835" formatCode="0.0%">
                  <c:v>0.14502239286677412</c:v>
                </c:pt>
                <c:pt idx="4836" formatCode="0.0%">
                  <c:v>0.16609070448803293</c:v>
                </c:pt>
                <c:pt idx="4837" formatCode="0.0%">
                  <c:v>0.16217347035103843</c:v>
                </c:pt>
                <c:pt idx="4838" formatCode="0.0%">
                  <c:v>0.16581134791559679</c:v>
                </c:pt>
                <c:pt idx="4839" formatCode="0.0%">
                  <c:v>0.17473624414335917</c:v>
                </c:pt>
                <c:pt idx="4840" formatCode="0.0%">
                  <c:v>0.15197884475440798</c:v>
                </c:pt>
                <c:pt idx="4841" formatCode="0.0%">
                  <c:v>0.14957171039214825</c:v>
                </c:pt>
                <c:pt idx="4842" formatCode="0.0%">
                  <c:v>0.16711459149427002</c:v>
                </c:pt>
                <c:pt idx="4843" formatCode="0.0%">
                  <c:v>0.16901734984393035</c:v>
                </c:pt>
                <c:pt idx="4844" formatCode="0.0%">
                  <c:v>0.16766176433711449</c:v>
                </c:pt>
                <c:pt idx="4845" formatCode="0.0%">
                  <c:v>0.16812828928566564</c:v>
                </c:pt>
                <c:pt idx="4846" formatCode="0.0%">
                  <c:v>0.16778843534435292</c:v>
                </c:pt>
                <c:pt idx="4847" formatCode="0.0%">
                  <c:v>0.17131695499948563</c:v>
                </c:pt>
                <c:pt idx="4848" formatCode="0.0%">
                  <c:v>0.17139848586405657</c:v>
                </c:pt>
                <c:pt idx="4849" formatCode="0.0%">
                  <c:v>0.17215788427366455</c:v>
                </c:pt>
                <c:pt idx="4850" formatCode="0.0%">
                  <c:v>0.17987500269309031</c:v>
                </c:pt>
                <c:pt idx="4851" formatCode="0.0%">
                  <c:v>0.17761585319742795</c:v>
                </c:pt>
                <c:pt idx="4852" formatCode="0.0%">
                  <c:v>0.17761553618472442</c:v>
                </c:pt>
                <c:pt idx="4853" formatCode="0.0%">
                  <c:v>0.17931269877215097</c:v>
                </c:pt>
                <c:pt idx="4854" formatCode="0.0%">
                  <c:v>0.17920912158645849</c:v>
                </c:pt>
                <c:pt idx="4855" formatCode="0.0%">
                  <c:v>0.17438661648395923</c:v>
                </c:pt>
                <c:pt idx="4856" formatCode="0.0%">
                  <c:v>0.17178824236723891</c:v>
                </c:pt>
                <c:pt idx="4857" formatCode="0.0%">
                  <c:v>0.17308916680597888</c:v>
                </c:pt>
                <c:pt idx="4858" formatCode="0.0%">
                  <c:v>0.17398283564791564</c:v>
                </c:pt>
                <c:pt idx="4859" formatCode="0.0%">
                  <c:v>0.1525899468038146</c:v>
                </c:pt>
                <c:pt idx="4860" formatCode="0.0%">
                  <c:v>0.14142618455921385</c:v>
                </c:pt>
                <c:pt idx="4861" formatCode="0.0%">
                  <c:v>0.14218328803905608</c:v>
                </c:pt>
                <c:pt idx="4862" formatCode="0.0%">
                  <c:v>0.13482291984190442</c:v>
                </c:pt>
                <c:pt idx="4863" formatCode="0.0%">
                  <c:v>0.13440001416873915</c:v>
                </c:pt>
                <c:pt idx="4864" formatCode="0.0%">
                  <c:v>0.13420359622264799</c:v>
                </c:pt>
                <c:pt idx="4865" formatCode="0.0%">
                  <c:v>0.15594809889267255</c:v>
                </c:pt>
                <c:pt idx="4866" formatCode="0.0%">
                  <c:v>0.15619229883686495</c:v>
                </c:pt>
                <c:pt idx="4867" formatCode="0.0%">
                  <c:v>0.14943113137722372</c:v>
                </c:pt>
                <c:pt idx="4868" formatCode="0.0%">
                  <c:v>0.14850342397966457</c:v>
                </c:pt>
                <c:pt idx="4869" formatCode="0.0%">
                  <c:v>0.14111869197822782</c:v>
                </c:pt>
                <c:pt idx="4870" formatCode="0.0%">
                  <c:v>0.14380440297369937</c:v>
                </c:pt>
                <c:pt idx="4871" formatCode="0.0%">
                  <c:v>0.13988345363574861</c:v>
                </c:pt>
                <c:pt idx="4872" formatCode="0.0%">
                  <c:v>0.14097014037583544</c:v>
                </c:pt>
                <c:pt idx="4873" formatCode="0.0%">
                  <c:v>0.14079584229987982</c:v>
                </c:pt>
                <c:pt idx="4874" formatCode="0.0%">
                  <c:v>0.14053111019343456</c:v>
                </c:pt>
                <c:pt idx="4875" formatCode="0.0%">
                  <c:v>0.14840716297063686</c:v>
                </c:pt>
                <c:pt idx="4876" formatCode="0.0%">
                  <c:v>0.13164353218071037</c:v>
                </c:pt>
                <c:pt idx="4877" formatCode="0.0%">
                  <c:v>0.13224534119149453</c:v>
                </c:pt>
                <c:pt idx="4878" formatCode="0.0%">
                  <c:v>0.12972260344097589</c:v>
                </c:pt>
                <c:pt idx="4879" formatCode="0.0%">
                  <c:v>0.13095469833039181</c:v>
                </c:pt>
                <c:pt idx="4880" formatCode="0.0%">
                  <c:v>0.12911635637807001</c:v>
                </c:pt>
                <c:pt idx="4881" formatCode="0.0%">
                  <c:v>0.13787275906673488</c:v>
                </c:pt>
                <c:pt idx="4882" formatCode="0.0%">
                  <c:v>0.13418730954860064</c:v>
                </c:pt>
                <c:pt idx="4883" formatCode="0.0%">
                  <c:v>0.13555260715689782</c:v>
                </c:pt>
                <c:pt idx="4884" formatCode="0.0%">
                  <c:v>0.13532194720233512</c:v>
                </c:pt>
                <c:pt idx="4885" formatCode="0.0%">
                  <c:v>0.10795879351171815</c:v>
                </c:pt>
                <c:pt idx="4886" formatCode="0.0%">
                  <c:v>0.10984898493294459</c:v>
                </c:pt>
                <c:pt idx="4887" formatCode="0.0%">
                  <c:v>0.11177718562377373</c:v>
                </c:pt>
                <c:pt idx="4888" formatCode="0.0%">
                  <c:v>0.11904447973047055</c:v>
                </c:pt>
                <c:pt idx="4889" formatCode="0.0%">
                  <c:v>0.14726887978248637</c:v>
                </c:pt>
                <c:pt idx="4890" formatCode="0.0%">
                  <c:v>0.13720580436226018</c:v>
                </c:pt>
                <c:pt idx="4891" formatCode="0.0%">
                  <c:v>0.14716450516402521</c:v>
                </c:pt>
                <c:pt idx="4892" formatCode="0.0%">
                  <c:v>0.14319359481651511</c:v>
                </c:pt>
                <c:pt idx="4893" formatCode="0.0%">
                  <c:v>0.14949082881391706</c:v>
                </c:pt>
                <c:pt idx="4894" formatCode="0.0%">
                  <c:v>0.1492918252478285</c:v>
                </c:pt>
                <c:pt idx="4895" formatCode="0.0%">
                  <c:v>0.14549605766171061</c:v>
                </c:pt>
                <c:pt idx="4896" formatCode="0.0%">
                  <c:v>0.14077861881734821</c:v>
                </c:pt>
                <c:pt idx="4897" formatCode="0.0%">
                  <c:v>0.14070634055618284</c:v>
                </c:pt>
                <c:pt idx="4898" formatCode="0.0%">
                  <c:v>0.13922450590813867</c:v>
                </c:pt>
                <c:pt idx="4899" formatCode="0.0%">
                  <c:v>0.14247253161598478</c:v>
                </c:pt>
                <c:pt idx="4900" formatCode="0.0%">
                  <c:v>0.14486829415806196</c:v>
                </c:pt>
                <c:pt idx="4901" formatCode="0.0%">
                  <c:v>0.14075611085628992</c:v>
                </c:pt>
                <c:pt idx="4902" formatCode="0.0%">
                  <c:v>0.14129559331114333</c:v>
                </c:pt>
                <c:pt idx="4903" formatCode="0.0%">
                  <c:v>0.14189998952132885</c:v>
                </c:pt>
                <c:pt idx="4904" formatCode="0.0%">
                  <c:v>0.14055016683118601</c:v>
                </c:pt>
                <c:pt idx="4905" formatCode="0.0%">
                  <c:v>0.13892213586537003</c:v>
                </c:pt>
                <c:pt idx="4906" formatCode="0.0%">
                  <c:v>0.13219647521578953</c:v>
                </c:pt>
                <c:pt idx="4907" formatCode="0.0%">
                  <c:v>0.13276344858226211</c:v>
                </c:pt>
                <c:pt idx="4908" formatCode="0.0%">
                  <c:v>0.13792216005008243</c:v>
                </c:pt>
                <c:pt idx="4909" formatCode="0.0%">
                  <c:v>0.11618768114331712</c:v>
                </c:pt>
                <c:pt idx="4910" formatCode="0.0%">
                  <c:v>0.11580812637305984</c:v>
                </c:pt>
                <c:pt idx="4911" formatCode="0.0%">
                  <c:v>9.8680338927382871E-2</c:v>
                </c:pt>
                <c:pt idx="4912" formatCode="0.0%">
                  <c:v>0.10196239710330891</c:v>
                </c:pt>
                <c:pt idx="4913" formatCode="0.0%">
                  <c:v>9.620022282014995E-2</c:v>
                </c:pt>
                <c:pt idx="4914" formatCode="0.0%">
                  <c:v>9.5197694567293753E-2</c:v>
                </c:pt>
                <c:pt idx="4915" formatCode="0.0%">
                  <c:v>0.10326239160291656</c:v>
                </c:pt>
                <c:pt idx="4916" formatCode="0.0%">
                  <c:v>0.10276928759648422</c:v>
                </c:pt>
                <c:pt idx="4917" formatCode="0.0%">
                  <c:v>0.1068718603252531</c:v>
                </c:pt>
                <c:pt idx="4918" formatCode="0.0%">
                  <c:v>0.10626379848111911</c:v>
                </c:pt>
                <c:pt idx="4919" formatCode="0.0%">
                  <c:v>0.10953435390642535</c:v>
                </c:pt>
                <c:pt idx="4920" formatCode="0.0%">
                  <c:v>0.10657392563562476</c:v>
                </c:pt>
                <c:pt idx="4921" formatCode="0.0%">
                  <c:v>0.10659581238870446</c:v>
                </c:pt>
                <c:pt idx="4922" formatCode="0.0%">
                  <c:v>0.10180694061015375</c:v>
                </c:pt>
                <c:pt idx="4923" formatCode="0.0%">
                  <c:v>0.10884841308680747</c:v>
                </c:pt>
                <c:pt idx="4924" formatCode="0.0%">
                  <c:v>0.12036746820400336</c:v>
                </c:pt>
                <c:pt idx="4925" formatCode="0.0%">
                  <c:v>0.12012651890386325</c:v>
                </c:pt>
                <c:pt idx="4926" formatCode="0.0%">
                  <c:v>0.119536473839866</c:v>
                </c:pt>
                <c:pt idx="4927" formatCode="0.0%">
                  <c:v>0.11930278555544191</c:v>
                </c:pt>
                <c:pt idx="4928" formatCode="0.0%">
                  <c:v>0.12290744557099645</c:v>
                </c:pt>
                <c:pt idx="4929" formatCode="0.0%">
                  <c:v>0.12415614538917052</c:v>
                </c:pt>
                <c:pt idx="4930" formatCode="0.0%">
                  <c:v>0.12523064807934128</c:v>
                </c:pt>
                <c:pt idx="4931" formatCode="0.0%">
                  <c:v>0.12544713924494591</c:v>
                </c:pt>
                <c:pt idx="4932" formatCode="0.0%">
                  <c:v>0.12504278383739806</c:v>
                </c:pt>
                <c:pt idx="4933" formatCode="0.0%">
                  <c:v>0.13197790759281527</c:v>
                </c:pt>
                <c:pt idx="4934" formatCode="0.0%">
                  <c:v>0.13260247482183968</c:v>
                </c:pt>
                <c:pt idx="4935" formatCode="0.0%">
                  <c:v>0.12492453219404256</c:v>
                </c:pt>
                <c:pt idx="4936" formatCode="0.0%">
                  <c:v>0.12546130051536608</c:v>
                </c:pt>
                <c:pt idx="4937" formatCode="0.0%">
                  <c:v>0.10940017736000721</c:v>
                </c:pt>
                <c:pt idx="4938" formatCode="0.0%">
                  <c:v>0.1094819991260569</c:v>
                </c:pt>
                <c:pt idx="4939" formatCode="0.0%">
                  <c:v>0.10974217406130278</c:v>
                </c:pt>
                <c:pt idx="4940" formatCode="0.0%">
                  <c:v>0.11189338525965746</c:v>
                </c:pt>
                <c:pt idx="4941" formatCode="0.0%">
                  <c:v>0.11092188477699547</c:v>
                </c:pt>
                <c:pt idx="4942" formatCode="0.0%">
                  <c:v>0.12257140734260018</c:v>
                </c:pt>
                <c:pt idx="4943" formatCode="0.0%">
                  <c:v>0.11954328621930174</c:v>
                </c:pt>
                <c:pt idx="4944" formatCode="0.0%">
                  <c:v>0.11188918215135729</c:v>
                </c:pt>
                <c:pt idx="4945" formatCode="0.0%">
                  <c:v>0.11039479428326804</c:v>
                </c:pt>
                <c:pt idx="4946" formatCode="0.0%">
                  <c:v>0.11823792724773421</c:v>
                </c:pt>
                <c:pt idx="4947" formatCode="0.0%">
                  <c:v>0.11846732533193312</c:v>
                </c:pt>
                <c:pt idx="4948" formatCode="0.0%">
                  <c:v>9.9686383867935976E-2</c:v>
                </c:pt>
                <c:pt idx="4949" formatCode="0.0%">
                  <c:v>9.9719721294755745E-2</c:v>
                </c:pt>
                <c:pt idx="4950" formatCode="0.0%">
                  <c:v>0.10968010985035294</c:v>
                </c:pt>
                <c:pt idx="4951" formatCode="0.0%">
                  <c:v>0.10785923969861615</c:v>
                </c:pt>
                <c:pt idx="4952" formatCode="0.0%">
                  <c:v>0.10703337430226775</c:v>
                </c:pt>
                <c:pt idx="4953" formatCode="0.0%">
                  <c:v>0.10254261075013013</c:v>
                </c:pt>
                <c:pt idx="4954" formatCode="0.0%">
                  <c:v>0.11012144551418851</c:v>
                </c:pt>
                <c:pt idx="4955" formatCode="0.0%">
                  <c:v>0.11212771600349122</c:v>
                </c:pt>
                <c:pt idx="4956" formatCode="0.0%">
                  <c:v>0.11134112293064477</c:v>
                </c:pt>
                <c:pt idx="4957" formatCode="0.0%">
                  <c:v>0.11505252902694424</c:v>
                </c:pt>
                <c:pt idx="4958" formatCode="0.0%">
                  <c:v>0.11505252902694424</c:v>
                </c:pt>
                <c:pt idx="4959" formatCode="0.0%">
                  <c:v>0.11139713044572017</c:v>
                </c:pt>
                <c:pt idx="4960" formatCode="0.0%">
                  <c:v>0.10985896160555074</c:v>
                </c:pt>
                <c:pt idx="4961" formatCode="0.0%">
                  <c:v>0.11069696681378971</c:v>
                </c:pt>
                <c:pt idx="4962" formatCode="0.0%">
                  <c:v>9.6653666893319529E-2</c:v>
                </c:pt>
                <c:pt idx="4963" formatCode="0.0%">
                  <c:v>9.6364157436879302E-2</c:v>
                </c:pt>
                <c:pt idx="4964" formatCode="0.0%">
                  <c:v>9.6474640449318486E-2</c:v>
                </c:pt>
                <c:pt idx="4965" formatCode="0.0%">
                  <c:v>0.10089193908149537</c:v>
                </c:pt>
                <c:pt idx="4966" formatCode="0.0%">
                  <c:v>8.6923983826266066E-2</c:v>
                </c:pt>
                <c:pt idx="4967" formatCode="0.0%">
                  <c:v>8.945740531930646E-2</c:v>
                </c:pt>
                <c:pt idx="4968" formatCode="0.0%">
                  <c:v>8.9868265673275938E-2</c:v>
                </c:pt>
                <c:pt idx="4969" formatCode="0.0%">
                  <c:v>9.1113288890997013E-2</c:v>
                </c:pt>
                <c:pt idx="4970" formatCode="0.0%">
                  <c:v>8.0909107585937598E-2</c:v>
                </c:pt>
                <c:pt idx="4971" formatCode="0.0%">
                  <c:v>8.1123739556496224E-2</c:v>
                </c:pt>
                <c:pt idx="4972" formatCode="0.0%">
                  <c:v>8.6316328237950435E-2</c:v>
                </c:pt>
                <c:pt idx="4973" formatCode="0.0%">
                  <c:v>9.044787511615221E-2</c:v>
                </c:pt>
                <c:pt idx="4974" formatCode="0.0%">
                  <c:v>8.4322477592309153E-2</c:v>
                </c:pt>
                <c:pt idx="4975" formatCode="0.0%">
                  <c:v>8.4880500537032416E-2</c:v>
                </c:pt>
                <c:pt idx="4976" formatCode="0.0%">
                  <c:v>8.5214431082434275E-2</c:v>
                </c:pt>
                <c:pt idx="4977" formatCode="0.0%">
                  <c:v>9.6089287341357951E-2</c:v>
                </c:pt>
                <c:pt idx="4978" formatCode="0.0%">
                  <c:v>0.10475989365619079</c:v>
                </c:pt>
                <c:pt idx="4979" formatCode="0.0%">
                  <c:v>0.10641635045959429</c:v>
                </c:pt>
                <c:pt idx="4980" formatCode="0.0%">
                  <c:v>0.10502730263840242</c:v>
                </c:pt>
                <c:pt idx="4981" formatCode="0.0%">
                  <c:v>0.10477390974947648</c:v>
                </c:pt>
                <c:pt idx="4982" formatCode="0.0%">
                  <c:v>0.10462959693919431</c:v>
                </c:pt>
                <c:pt idx="4983" formatCode="0.0%">
                  <c:v>0.11276828910563534</c:v>
                </c:pt>
                <c:pt idx="4984" formatCode="0.0%">
                  <c:v>0.11282515211787476</c:v>
                </c:pt>
                <c:pt idx="4985" formatCode="0.0%">
                  <c:v>0.10966931145350216</c:v>
                </c:pt>
                <c:pt idx="4986" formatCode="0.0%">
                  <c:v>0.10939021545140697</c:v>
                </c:pt>
                <c:pt idx="4987" formatCode="0.0%">
                  <c:v>0.10865807220549691</c:v>
                </c:pt>
                <c:pt idx="4988" formatCode="0.0%">
                  <c:v>0.10958038301577284</c:v>
                </c:pt>
                <c:pt idx="4989" formatCode="0.0%">
                  <c:v>0.10863162397741105</c:v>
                </c:pt>
                <c:pt idx="4990" formatCode="0.0%">
                  <c:v>0.10820770952162975</c:v>
                </c:pt>
                <c:pt idx="4991" formatCode="0.0%">
                  <c:v>0.11137897156328574</c:v>
                </c:pt>
                <c:pt idx="4992" formatCode="0.0%">
                  <c:v>0.10701204143516468</c:v>
                </c:pt>
                <c:pt idx="4993" formatCode="0.0%">
                  <c:v>0.11313041603411719</c:v>
                </c:pt>
                <c:pt idx="4994" formatCode="0.0%">
                  <c:v>0.11435936825338816</c:v>
                </c:pt>
                <c:pt idx="4995" formatCode="0.0%">
                  <c:v>0.10818058840334846</c:v>
                </c:pt>
                <c:pt idx="4996" formatCode="0.0%">
                  <c:v>0.11151125059818569</c:v>
                </c:pt>
                <c:pt idx="4997" formatCode="0.0%">
                  <c:v>9.424408275007698E-2</c:v>
                </c:pt>
                <c:pt idx="4998" formatCode="0.0%">
                  <c:v>9.0730359694863622E-2</c:v>
                </c:pt>
                <c:pt idx="4999" formatCode="0.0%">
                  <c:v>9.1469263780390164E-2</c:v>
                </c:pt>
                <c:pt idx="5000" formatCode="0.0%">
                  <c:v>9.466772640405921E-2</c:v>
                </c:pt>
                <c:pt idx="5001" formatCode="0.0%">
                  <c:v>9.627112867851384E-2</c:v>
                </c:pt>
                <c:pt idx="5002" formatCode="0.0%">
                  <c:v>0.10823451322525258</c:v>
                </c:pt>
                <c:pt idx="5003" formatCode="0.0%">
                  <c:v>9.9709091240133746E-2</c:v>
                </c:pt>
                <c:pt idx="5004" formatCode="0.0%">
                  <c:v>0.10077544112875517</c:v>
                </c:pt>
                <c:pt idx="5005" formatCode="0.0%">
                  <c:v>0.10027595787511208</c:v>
                </c:pt>
                <c:pt idx="5006" formatCode="0.0%">
                  <c:v>0.10694773600038109</c:v>
                </c:pt>
                <c:pt idx="5007" formatCode="0.0%">
                  <c:v>0.10586335068808399</c:v>
                </c:pt>
                <c:pt idx="5008" formatCode="0.0%">
                  <c:v>0.1087388501194352</c:v>
                </c:pt>
                <c:pt idx="5009" formatCode="0.0%">
                  <c:v>0.10821352016828978</c:v>
                </c:pt>
                <c:pt idx="5010" formatCode="0.0%">
                  <c:v>0.10812298516591866</c:v>
                </c:pt>
                <c:pt idx="5011" formatCode="0.0%">
                  <c:v>0.10616349547565862</c:v>
                </c:pt>
                <c:pt idx="5012" formatCode="0.0%">
                  <c:v>0.10666113634464086</c:v>
                </c:pt>
                <c:pt idx="5013" formatCode="0.0%">
                  <c:v>0.10411428112720229</c:v>
                </c:pt>
                <c:pt idx="5014" formatCode="0.0%">
                  <c:v>0.11147658495940678</c:v>
                </c:pt>
                <c:pt idx="5015" formatCode="0.0%">
                  <c:v>0.11117264159403695</c:v>
                </c:pt>
                <c:pt idx="5016" formatCode="0.0%">
                  <c:v>0.10895075827459769</c:v>
                </c:pt>
                <c:pt idx="5017" formatCode="0.0%">
                  <c:v>0.10998608434858863</c:v>
                </c:pt>
                <c:pt idx="5018" formatCode="0.0%">
                  <c:v>0.12177609057561463</c:v>
                </c:pt>
                <c:pt idx="5019" formatCode="0.0%">
                  <c:v>0.1205087968076146</c:v>
                </c:pt>
                <c:pt idx="5020" formatCode="0.0%">
                  <c:v>0.12084673945777552</c:v>
                </c:pt>
                <c:pt idx="5021" formatCode="0.0%">
                  <c:v>0.12804945708529231</c:v>
                </c:pt>
                <c:pt idx="5022" formatCode="0.0%">
                  <c:v>0.15494562201569559</c:v>
                </c:pt>
                <c:pt idx="5023" formatCode="0.0%">
                  <c:v>0.15473988733723665</c:v>
                </c:pt>
                <c:pt idx="5024" formatCode="0.0%">
                  <c:v>0.15478787866294713</c:v>
                </c:pt>
                <c:pt idx="5025" formatCode="0.0%">
                  <c:v>0.16625353042926244</c:v>
                </c:pt>
                <c:pt idx="5026" formatCode="0.0%">
                  <c:v>0.16332466023026068</c:v>
                </c:pt>
                <c:pt idx="5027" formatCode="0.0%">
                  <c:v>0.16333242474866311</c:v>
                </c:pt>
                <c:pt idx="5028" formatCode="0.0%">
                  <c:v>0.15957406636530447</c:v>
                </c:pt>
                <c:pt idx="5029" formatCode="0.0%">
                  <c:v>0.15804893105296206</c:v>
                </c:pt>
                <c:pt idx="5030" formatCode="0.0%">
                  <c:v>0.15832450947621887</c:v>
                </c:pt>
                <c:pt idx="5031" formatCode="0.0%">
                  <c:v>0.15980340138076021</c:v>
                </c:pt>
                <c:pt idx="5032" formatCode="0.0%">
                  <c:v>0.16073108388680279</c:v>
                </c:pt>
                <c:pt idx="5033" formatCode="0.0%">
                  <c:v>0.15481301409662424</c:v>
                </c:pt>
                <c:pt idx="5034" formatCode="0.0%">
                  <c:v>0.15375951593829662</c:v>
                </c:pt>
                <c:pt idx="5035" formatCode="0.0%">
                  <c:v>0.15602978661183967</c:v>
                </c:pt>
                <c:pt idx="5036" formatCode="0.0%">
                  <c:v>0.15566489658355914</c:v>
                </c:pt>
                <c:pt idx="5037" formatCode="0.0%">
                  <c:v>0.15575240095535964</c:v>
                </c:pt>
                <c:pt idx="5038" formatCode="0.0%">
                  <c:v>0.14304199652522182</c:v>
                </c:pt>
                <c:pt idx="5039" formatCode="0.0%">
                  <c:v>0.139384638906797</c:v>
                </c:pt>
                <c:pt idx="5040" formatCode="0.0%">
                  <c:v>0.1409333220084435</c:v>
                </c:pt>
                <c:pt idx="5041" formatCode="0.0%">
                  <c:v>0.13806239011869975</c:v>
                </c:pt>
                <c:pt idx="5042" formatCode="0.0%">
                  <c:v>8.7074618117974636E-2</c:v>
                </c:pt>
                <c:pt idx="5043" formatCode="0.0%">
                  <c:v>8.699375444953017E-2</c:v>
                </c:pt>
                <c:pt idx="5044" formatCode="0.0%">
                  <c:v>8.7905412674763581E-2</c:v>
                </c:pt>
                <c:pt idx="5045" formatCode="0.0%">
                  <c:v>9.261552240453419E-2</c:v>
                </c:pt>
                <c:pt idx="5046" formatCode="0.0%">
                  <c:v>9.7559966015095895E-2</c:v>
                </c:pt>
                <c:pt idx="5047" formatCode="0.0%">
                  <c:v>9.985493415093083E-2</c:v>
                </c:pt>
                <c:pt idx="5048" formatCode="0.0%">
                  <c:v>0.12315111865830951</c:v>
                </c:pt>
                <c:pt idx="5049" formatCode="0.0%">
                  <c:v>0.15015970862711062</c:v>
                </c:pt>
                <c:pt idx="5050" formatCode="0.0%">
                  <c:v>0.15043250970930383</c:v>
                </c:pt>
                <c:pt idx="5051" formatCode="0.0%">
                  <c:v>0.15050459805835664</c:v>
                </c:pt>
                <c:pt idx="5052" formatCode="0.0%">
                  <c:v>0.14714842758250321</c:v>
                </c:pt>
                <c:pt idx="5053" formatCode="0.0%">
                  <c:v>0.14704411433298287</c:v>
                </c:pt>
                <c:pt idx="5054" formatCode="0.0%">
                  <c:v>0.14812413597548044</c:v>
                </c:pt>
                <c:pt idx="5055" formatCode="0.0%">
                  <c:v>0.15300389076134621</c:v>
                </c:pt>
                <c:pt idx="5056" formatCode="0.0%">
                  <c:v>0.15274791083388697</c:v>
                </c:pt>
                <c:pt idx="5057" formatCode="0.0%">
                  <c:v>0.14859442260440364</c:v>
                </c:pt>
                <c:pt idx="5058" formatCode="0.0%">
                  <c:v>0.14861593723756289</c:v>
                </c:pt>
                <c:pt idx="5059" formatCode="0.0%">
                  <c:v>0.14533903690417138</c:v>
                </c:pt>
                <c:pt idx="5060" formatCode="0.0%">
                  <c:v>0.14267742655532784</c:v>
                </c:pt>
                <c:pt idx="5061" formatCode="0.0%">
                  <c:v>0.1428154738418056</c:v>
                </c:pt>
                <c:pt idx="5062" formatCode="0.0%">
                  <c:v>0.14168369398182967</c:v>
                </c:pt>
                <c:pt idx="5063" formatCode="0.0%">
                  <c:v>0.14197452208965616</c:v>
                </c:pt>
                <c:pt idx="5064" formatCode="0.0%">
                  <c:v>0.14237598171443541</c:v>
                </c:pt>
                <c:pt idx="5065" formatCode="0.0%">
                  <c:v>0.1234292479156657</c:v>
                </c:pt>
                <c:pt idx="5066" formatCode="0.0%">
                  <c:v>0.12308355335560471</c:v>
                </c:pt>
                <c:pt idx="5067" formatCode="0.0%">
                  <c:v>0.12317293124486822</c:v>
                </c:pt>
                <c:pt idx="5068" formatCode="0.0%">
                  <c:v>0.10840377922407167</c:v>
                </c:pt>
                <c:pt idx="5069" formatCode="0.0%">
                  <c:v>7.0222199618583253E-2</c:v>
                </c:pt>
                <c:pt idx="5070" formatCode="0.0%">
                  <c:v>7.0155089909030521E-2</c:v>
                </c:pt>
                <c:pt idx="5071" formatCode="0.0%">
                  <c:v>7.2177037988185935E-2</c:v>
                </c:pt>
                <c:pt idx="5072" formatCode="0.0%">
                  <c:v>7.2968622979850184E-2</c:v>
                </c:pt>
                <c:pt idx="5073" formatCode="0.0%">
                  <c:v>9.6231564620866419E-2</c:v>
                </c:pt>
                <c:pt idx="5074" formatCode="0.0%">
                  <c:v>9.0743509436735315E-2</c:v>
                </c:pt>
                <c:pt idx="5075" formatCode="0.0%">
                  <c:v>7.9346045102515236E-2</c:v>
                </c:pt>
                <c:pt idx="5076" formatCode="0.0%">
                  <c:v>8.1030159642951211E-2</c:v>
                </c:pt>
                <c:pt idx="5077" formatCode="0.0%">
                  <c:v>8.2135963296238956E-2</c:v>
                </c:pt>
                <c:pt idx="5078" formatCode="0.0%">
                  <c:v>8.5435696219412965E-2</c:v>
                </c:pt>
                <c:pt idx="5079" formatCode="0.0%">
                  <c:v>8.3422683565976818E-2</c:v>
                </c:pt>
                <c:pt idx="5080" formatCode="0.0%">
                  <c:v>8.5581408390347696E-2</c:v>
                </c:pt>
                <c:pt idx="5081" formatCode="0.0%">
                  <c:v>8.9458599962120175E-2</c:v>
                </c:pt>
                <c:pt idx="5082" formatCode="0.0%">
                  <c:v>9.0924856838316664E-2</c:v>
                </c:pt>
                <c:pt idx="5083" formatCode="0.0%">
                  <c:v>9.1831346943309869E-2</c:v>
                </c:pt>
                <c:pt idx="5084" formatCode="0.0%">
                  <c:v>9.1959924113249464E-2</c:v>
                </c:pt>
                <c:pt idx="5085" formatCode="0.0%">
                  <c:v>9.1258837314850086E-2</c:v>
                </c:pt>
                <c:pt idx="5086" formatCode="0.0%">
                  <c:v>9.1997152883553618E-2</c:v>
                </c:pt>
                <c:pt idx="5087" formatCode="0.0%">
                  <c:v>0.17144930255964902</c:v>
                </c:pt>
                <c:pt idx="5088" formatCode="0.0%">
                  <c:v>0.32116265312499459</c:v>
                </c:pt>
                <c:pt idx="5089" formatCode="0.0%">
                  <c:v>0.32647749594803921</c:v>
                </c:pt>
                <c:pt idx="5090" formatCode="0.0%">
                  <c:v>0.32668253851009876</c:v>
                </c:pt>
                <c:pt idx="5091" formatCode="0.0%">
                  <c:v>0.32601510191002114</c:v>
                </c:pt>
                <c:pt idx="5092" formatCode="0.0%">
                  <c:v>0.32568506508762995</c:v>
                </c:pt>
                <c:pt idx="5093" formatCode="0.0%">
                  <c:v>0.31902054396051588</c:v>
                </c:pt>
                <c:pt idx="5094" formatCode="0.0%">
                  <c:v>0.31917968436325256</c:v>
                </c:pt>
                <c:pt idx="5095" formatCode="0.0%">
                  <c:v>0.31979401433879401</c:v>
                </c:pt>
                <c:pt idx="5096" formatCode="0.0%">
                  <c:v>0.31910868814796362</c:v>
                </c:pt>
                <c:pt idx="5097" formatCode="0.0%">
                  <c:v>0.31849029923657091</c:v>
                </c:pt>
                <c:pt idx="5098" formatCode="0.0%">
                  <c:v>0.31815286493990802</c:v>
                </c:pt>
                <c:pt idx="5099" formatCode="0.0%">
                  <c:v>0.31790059410988047</c:v>
                </c:pt>
                <c:pt idx="5100" formatCode="0.0%">
                  <c:v>0.31679318073188034</c:v>
                </c:pt>
                <c:pt idx="5101" formatCode="0.0%">
                  <c:v>0.31889075527096028</c:v>
                </c:pt>
                <c:pt idx="5102" formatCode="0.0%">
                  <c:v>0.3194003508682523</c:v>
                </c:pt>
                <c:pt idx="5103" formatCode="0.0%">
                  <c:v>0.32325440896395269</c:v>
                </c:pt>
                <c:pt idx="5104" formatCode="0.0%">
                  <c:v>0.32327622536803591</c:v>
                </c:pt>
                <c:pt idx="5105" formatCode="0.0%">
                  <c:v>0.32333663546571367</c:v>
                </c:pt>
                <c:pt idx="5106" formatCode="0.0%">
                  <c:v>0.32291552851357141</c:v>
                </c:pt>
                <c:pt idx="5107" formatCode="0.0%">
                  <c:v>0.28306451921043058</c:v>
                </c:pt>
                <c:pt idx="5108" formatCode="0.0%">
                  <c:v>9.5754371289098167E-2</c:v>
                </c:pt>
                <c:pt idx="5109" formatCode="0.0%">
                  <c:v>8.0528391119815926E-2</c:v>
                </c:pt>
                <c:pt idx="5110" formatCode="0.0%">
                  <c:v>8.0505971900575776E-2</c:v>
                </c:pt>
                <c:pt idx="5111" formatCode="0.0%">
                  <c:v>8.0290356216948439E-2</c:v>
                </c:pt>
                <c:pt idx="5112" formatCode="0.0%">
                  <c:v>9.0038845694620034E-2</c:v>
                </c:pt>
                <c:pt idx="5113" formatCode="0.0%">
                  <c:v>9.0317120300158732E-2</c:v>
                </c:pt>
                <c:pt idx="5114" formatCode="0.0%">
                  <c:v>9.612411462164118E-2</c:v>
                </c:pt>
                <c:pt idx="5115" formatCode="0.0%">
                  <c:v>9.2233701696435758E-2</c:v>
                </c:pt>
                <c:pt idx="5116" formatCode="0.0%">
                  <c:v>9.3411358428253113E-2</c:v>
                </c:pt>
                <c:pt idx="5117" formatCode="0.0%">
                  <c:v>0.10514313471699638</c:v>
                </c:pt>
                <c:pt idx="5118" formatCode="0.0%">
                  <c:v>0.10607531190215874</c:v>
                </c:pt>
                <c:pt idx="5119" formatCode="0.0%">
                  <c:v>0.10656796031116611</c:v>
                </c:pt>
                <c:pt idx="5120" formatCode="0.0%">
                  <c:v>0.10656878956310875</c:v>
                </c:pt>
                <c:pt idx="5121" formatCode="0.0%">
                  <c:v>0.10700430584841883</c:v>
                </c:pt>
                <c:pt idx="5122" formatCode="0.0%">
                  <c:v>0.1061168534648658</c:v>
                </c:pt>
                <c:pt idx="5123" formatCode="0.0%">
                  <c:v>8.8986058521386163E-2</c:v>
                </c:pt>
                <c:pt idx="5124" formatCode="0.0%">
                  <c:v>8.7725235607427829E-2</c:v>
                </c:pt>
                <c:pt idx="5125" formatCode="0.0%">
                  <c:v>9.0935855228269608E-2</c:v>
                </c:pt>
                <c:pt idx="5126" formatCode="0.0%">
                  <c:v>9.0650144341785088E-2</c:v>
                </c:pt>
                <c:pt idx="5127" formatCode="0.0%">
                  <c:v>9.2706767122365544E-2</c:v>
                </c:pt>
                <c:pt idx="5128" formatCode="0.0%">
                  <c:v>9.0387731439345406E-2</c:v>
                </c:pt>
                <c:pt idx="5129" formatCode="0.0%">
                  <c:v>0.11159275803084187</c:v>
                </c:pt>
                <c:pt idx="5130" formatCode="0.0%">
                  <c:v>0.12001600382031077</c:v>
                </c:pt>
                <c:pt idx="5131" formatCode="0.0%">
                  <c:v>0.16259767064278147</c:v>
                </c:pt>
                <c:pt idx="5132" formatCode="0.0%">
                  <c:v>0.17393990276183793</c:v>
                </c:pt>
                <c:pt idx="5133" formatCode="0.0%">
                  <c:v>0.17800634781759891</c:v>
                </c:pt>
                <c:pt idx="5134" formatCode="0.0%">
                  <c:v>0.17583782776452439</c:v>
                </c:pt>
                <c:pt idx="5135" formatCode="0.0%">
                  <c:v>0.17706134155519646</c:v>
                </c:pt>
                <c:pt idx="5136" formatCode="0.0%">
                  <c:v>0.17893040257441539</c:v>
                </c:pt>
                <c:pt idx="5137" formatCode="0.0%">
                  <c:v>0.17933347023471277</c:v>
                </c:pt>
                <c:pt idx="5138" formatCode="0.0%">
                  <c:v>0.17909621584709046</c:v>
                </c:pt>
                <c:pt idx="5139" formatCode="0.0%">
                  <c:v>0.17967649129439967</c:v>
                </c:pt>
                <c:pt idx="5140" formatCode="0.0%">
                  <c:v>0.18346227457435388</c:v>
                </c:pt>
                <c:pt idx="5141" formatCode="0.0%">
                  <c:v>0.17867661860244263</c:v>
                </c:pt>
                <c:pt idx="5142" formatCode="0.0%">
                  <c:v>0.17973842991327646</c:v>
                </c:pt>
                <c:pt idx="5143" formatCode="0.0%">
                  <c:v>0.19130322289197316</c:v>
                </c:pt>
                <c:pt idx="5144" formatCode="0.0%">
                  <c:v>0.19103049484002194</c:v>
                </c:pt>
                <c:pt idx="5145" formatCode="0.0%">
                  <c:v>0.1889166307757579</c:v>
                </c:pt>
                <c:pt idx="5146" formatCode="0.0%">
                  <c:v>0.19080820984974128</c:v>
                </c:pt>
                <c:pt idx="5147" formatCode="0.0%">
                  <c:v>0.1945841010094326</c:v>
                </c:pt>
                <c:pt idx="5148" formatCode="0.0%">
                  <c:v>0.19392566107483555</c:v>
                </c:pt>
                <c:pt idx="5149" formatCode="0.0%">
                  <c:v>0.1857012445054804</c:v>
                </c:pt>
                <c:pt idx="5150" formatCode="0.0%">
                  <c:v>0.18056187353139008</c:v>
                </c:pt>
                <c:pt idx="5151" formatCode="0.0%">
                  <c:v>0.13744239329159136</c:v>
                </c:pt>
                <c:pt idx="5152" formatCode="0.0%">
                  <c:v>0.13324322103921524</c:v>
                </c:pt>
                <c:pt idx="5153" formatCode="0.0%">
                  <c:v>0.1296804300889669</c:v>
                </c:pt>
                <c:pt idx="5154" formatCode="0.0%">
                  <c:v>0.12706616659783374</c:v>
                </c:pt>
                <c:pt idx="5155" formatCode="0.0%">
                  <c:v>0.13247292410390046</c:v>
                </c:pt>
                <c:pt idx="5156" formatCode="0.0%">
                  <c:v>0.13651385328656734</c:v>
                </c:pt>
                <c:pt idx="5157" formatCode="0.0%">
                  <c:v>0.13193613982624022</c:v>
                </c:pt>
                <c:pt idx="5158" formatCode="0.0%">
                  <c:v>0.13014445779493275</c:v>
                </c:pt>
                <c:pt idx="5159" formatCode="0.0%">
                  <c:v>0.127655795125203</c:v>
                </c:pt>
                <c:pt idx="5160" formatCode="0.0%">
                  <c:v>0.1195272536562582</c:v>
                </c:pt>
                <c:pt idx="5161" formatCode="0.0%">
                  <c:v>0.12364771921741687</c:v>
                </c:pt>
                <c:pt idx="5162" formatCode="0.0%">
                  <c:v>0.12326327800994942</c:v>
                </c:pt>
                <c:pt idx="5163" formatCode="0.0%">
                  <c:v>0.11761598085538535</c:v>
                </c:pt>
                <c:pt idx="5164" formatCode="0.0%">
                  <c:v>0.11796765353718065</c:v>
                </c:pt>
                <c:pt idx="5165" formatCode="0.0%">
                  <c:v>0.11796496590657746</c:v>
                </c:pt>
                <c:pt idx="5166" formatCode="0.0%">
                  <c:v>0.11218496639273418</c:v>
                </c:pt>
                <c:pt idx="5167" formatCode="0.0%">
                  <c:v>0.11869554128588632</c:v>
                </c:pt>
                <c:pt idx="5168" formatCode="0.0%">
                  <c:v>0.13261617703828563</c:v>
                </c:pt>
                <c:pt idx="5169" formatCode="0.0%">
                  <c:v>0.13242398374420872</c:v>
                </c:pt>
                <c:pt idx="5170" formatCode="0.0%">
                  <c:v>0.13590811961668814</c:v>
                </c:pt>
                <c:pt idx="5171" formatCode="0.0%">
                  <c:v>0.13833674069530386</c:v>
                </c:pt>
                <c:pt idx="5172" formatCode="0.0%">
                  <c:v>0.13122978736033999</c:v>
                </c:pt>
                <c:pt idx="5173" formatCode="0.0%">
                  <c:v>0.13122978736033999</c:v>
                </c:pt>
                <c:pt idx="5174" formatCode="0.0%">
                  <c:v>0.13127122705826214</c:v>
                </c:pt>
                <c:pt idx="5175" formatCode="0.0%">
                  <c:v>0.13843386248869902</c:v>
                </c:pt>
                <c:pt idx="5176" formatCode="0.0%">
                  <c:v>0.13599194517517135</c:v>
                </c:pt>
                <c:pt idx="5177" formatCode="0.0%">
                  <c:v>0.13477730796043438</c:v>
                </c:pt>
                <c:pt idx="5178" formatCode="0.0%">
                  <c:v>0.13478005070058718</c:v>
                </c:pt>
                <c:pt idx="5179" formatCode="0.0%">
                  <c:v>0.13454942217909932</c:v>
                </c:pt>
                <c:pt idx="5180" formatCode="0.0%">
                  <c:v>0.1596253403764355</c:v>
                </c:pt>
                <c:pt idx="5181" formatCode="0.0%">
                  <c:v>0.16585240598804291</c:v>
                </c:pt>
                <c:pt idx="5182" formatCode="0.0%">
                  <c:v>0.17341802148870894</c:v>
                </c:pt>
                <c:pt idx="5183" formatCode="0.0%">
                  <c:v>0.16642941448764595</c:v>
                </c:pt>
                <c:pt idx="5184" formatCode="0.0%">
                  <c:v>0.17172124566135527</c:v>
                </c:pt>
                <c:pt idx="5185" formatCode="0.0%">
                  <c:v>0.17766866402652429</c:v>
                </c:pt>
                <c:pt idx="5186" formatCode="0.0%">
                  <c:v>0.17614807474700789</c:v>
                </c:pt>
                <c:pt idx="5187" formatCode="0.0%">
                  <c:v>0.16635547211820648</c:v>
                </c:pt>
                <c:pt idx="5188" formatCode="0.0%">
                  <c:v>0.15706979628866047</c:v>
                </c:pt>
                <c:pt idx="5189" formatCode="0.0%">
                  <c:v>0.1572318576321034</c:v>
                </c:pt>
                <c:pt idx="5190" formatCode="0.0%">
                  <c:v>0.15403448418429802</c:v>
                </c:pt>
                <c:pt idx="5191" formatCode="0.0%">
                  <c:v>0.15730713131078297</c:v>
                </c:pt>
                <c:pt idx="5192" formatCode="0.0%">
                  <c:v>0.15729368806698737</c:v>
                </c:pt>
                <c:pt idx="5193" formatCode="0.0%">
                  <c:v>0.15746646958890861</c:v>
                </c:pt>
                <c:pt idx="5194" formatCode="0.0%">
                  <c:v>0.15652111553139056</c:v>
                </c:pt>
                <c:pt idx="5195" formatCode="0.0%">
                  <c:v>0.13785411837547759</c:v>
                </c:pt>
                <c:pt idx="5196" formatCode="0.0%">
                  <c:v>0.13692110666059321</c:v>
                </c:pt>
                <c:pt idx="5197" formatCode="0.0%">
                  <c:v>0.13699252551229624</c:v>
                </c:pt>
                <c:pt idx="5198" formatCode="0.0%">
                  <c:v>0.14311398267658004</c:v>
                </c:pt>
                <c:pt idx="5199" formatCode="0.0%">
                  <c:v>0.14423512996733967</c:v>
                </c:pt>
                <c:pt idx="5200" formatCode="0.0%">
                  <c:v>9.3314131417169058E-2</c:v>
                </c:pt>
                <c:pt idx="5201" formatCode="0.0%">
                  <c:v>9.1790639778476665E-2</c:v>
                </c:pt>
                <c:pt idx="5202" formatCode="0.0%">
                  <c:v>9.315228480227733E-2</c:v>
                </c:pt>
                <c:pt idx="5203" formatCode="0.0%">
                  <c:v>8.9756848902026662E-2</c:v>
                </c:pt>
                <c:pt idx="5204" formatCode="0.0%">
                  <c:v>9.0385820854195414E-2</c:v>
                </c:pt>
                <c:pt idx="5205" formatCode="0.0%">
                  <c:v>0.1966319683677086</c:v>
                </c:pt>
                <c:pt idx="5206" formatCode="0.0%">
                  <c:v>0.2015993002668231</c:v>
                </c:pt>
                <c:pt idx="5207" formatCode="0.0%">
                  <c:v>0.25937106501210622</c:v>
                </c:pt>
                <c:pt idx="5208" formatCode="0.0%">
                  <c:v>0.25899582542394761</c:v>
                </c:pt>
                <c:pt idx="5209" formatCode="0.0%">
                  <c:v>0.28109481640401596</c:v>
                </c:pt>
                <c:pt idx="5210" formatCode="0.0%">
                  <c:v>0.28101419242369363</c:v>
                </c:pt>
                <c:pt idx="5211" formatCode="0.0%">
                  <c:v>0.2764470546804203</c:v>
                </c:pt>
                <c:pt idx="5212" formatCode="0.0%">
                  <c:v>0.28343304665673463</c:v>
                </c:pt>
                <c:pt idx="5213" formatCode="0.0%">
                  <c:v>0.28348253280938257</c:v>
                </c:pt>
                <c:pt idx="5214" formatCode="0.0%">
                  <c:v>0.28225282319132811</c:v>
                </c:pt>
                <c:pt idx="5215" formatCode="0.0%">
                  <c:v>0.28125716021343367</c:v>
                </c:pt>
                <c:pt idx="5216" formatCode="0.0%">
                  <c:v>0.28112797735125916</c:v>
                </c:pt>
                <c:pt idx="5217" formatCode="0.0%">
                  <c:v>0.28083984298213888</c:v>
                </c:pt>
                <c:pt idx="5218" formatCode="0.0%">
                  <c:v>0.27215826671329324</c:v>
                </c:pt>
                <c:pt idx="5219" formatCode="0.0%">
                  <c:v>0.27647740530240766</c:v>
                </c:pt>
                <c:pt idx="5220" formatCode="0.0%">
                  <c:v>0.27631466057652215</c:v>
                </c:pt>
                <c:pt idx="5221" formatCode="0.0%">
                  <c:v>0.2760285174710046</c:v>
                </c:pt>
                <c:pt idx="5222" formatCode="0.0%">
                  <c:v>0.27619917931954702</c:v>
                </c:pt>
                <c:pt idx="5223" formatCode="0.0%">
                  <c:v>0.28687331306956232</c:v>
                </c:pt>
                <c:pt idx="5224" formatCode="0.0%">
                  <c:v>0.28048816614543592</c:v>
                </c:pt>
                <c:pt idx="5225" formatCode="0.0%">
                  <c:v>0.23662254075622016</c:v>
                </c:pt>
                <c:pt idx="5226" formatCode="0.0%">
                  <c:v>0.23198711232400043</c:v>
                </c:pt>
                <c:pt idx="5227" formatCode="0.0%">
                  <c:v>0.17062530778253343</c:v>
                </c:pt>
                <c:pt idx="5228" formatCode="0.0%">
                  <c:v>0.16965068345134368</c:v>
                </c:pt>
                <c:pt idx="5229" formatCode="0.0%">
                  <c:v>0.12379613003570177</c:v>
                </c:pt>
                <c:pt idx="5230" formatCode="0.0%">
                  <c:v>0.1240853338409359</c:v>
                </c:pt>
                <c:pt idx="5231" formatCode="0.0%">
                  <c:v>0.1260540599171647</c:v>
                </c:pt>
                <c:pt idx="5232" formatCode="0.0%">
                  <c:v>0.11592449641514636</c:v>
                </c:pt>
                <c:pt idx="5233" formatCode="0.0%">
                  <c:v>0.11737824117082932</c:v>
                </c:pt>
                <c:pt idx="5234" formatCode="0.0%">
                  <c:v>0.11706795913702675</c:v>
                </c:pt>
                <c:pt idx="5235" formatCode="0.0%">
                  <c:v>0.11707128189815387</c:v>
                </c:pt>
                <c:pt idx="5236" formatCode="0.0%">
                  <c:v>0.11635607091507849</c:v>
                </c:pt>
                <c:pt idx="5237" formatCode="0.0%">
                  <c:v>0.11463116496414398</c:v>
                </c:pt>
                <c:pt idx="5238" formatCode="0.0%">
                  <c:v>0.11459766198832821</c:v>
                </c:pt>
                <c:pt idx="5239" formatCode="0.0%">
                  <c:v>9.1526248574350433E-2</c:v>
                </c:pt>
                <c:pt idx="5240" formatCode="0.0%">
                  <c:v>9.3718094509129254E-2</c:v>
                </c:pt>
                <c:pt idx="5241" formatCode="0.0%">
                  <c:v>8.9375555010009253E-2</c:v>
                </c:pt>
                <c:pt idx="5242" formatCode="0.0%">
                  <c:v>9.3482170532296391E-2</c:v>
                </c:pt>
                <c:pt idx="5243" formatCode="0.0%">
                  <c:v>8.4294694956709118E-2</c:v>
                </c:pt>
                <c:pt idx="5244" formatCode="0.0%">
                  <c:v>8.4164432350397111E-2</c:v>
                </c:pt>
                <c:pt idx="5245" formatCode="0.0%">
                  <c:v>8.1695693265686667E-2</c:v>
                </c:pt>
                <c:pt idx="5246" formatCode="0.0%">
                  <c:v>9.7633018119323886E-2</c:v>
                </c:pt>
                <c:pt idx="5247" formatCode="0.0%">
                  <c:v>0.10002461916912689</c:v>
                </c:pt>
                <c:pt idx="5248" formatCode="0.0%">
                  <c:v>0.10497670384500098</c:v>
                </c:pt>
                <c:pt idx="5249" formatCode="0.0%">
                  <c:v>0.1311123791129804</c:v>
                </c:pt>
                <c:pt idx="5250" formatCode="0.0%">
                  <c:v>0.13263754621287746</c:v>
                </c:pt>
                <c:pt idx="5251" formatCode="0.0%">
                  <c:v>0.13336743623521372</c:v>
                </c:pt>
                <c:pt idx="5252" formatCode="0.0%">
                  <c:v>0.1316978511070899</c:v>
                </c:pt>
                <c:pt idx="5253" formatCode="0.0%">
                  <c:v>0.13018530818918628</c:v>
                </c:pt>
                <c:pt idx="5254" formatCode="0.0%">
                  <c:v>0.13192017930101779</c:v>
                </c:pt>
                <c:pt idx="5255" formatCode="0.0%">
                  <c:v>0.13685377804516174</c:v>
                </c:pt>
                <c:pt idx="5256" formatCode="0.0%">
                  <c:v>0.14047914464739636</c:v>
                </c:pt>
                <c:pt idx="5257" formatCode="0.0%">
                  <c:v>0.13974492179267439</c:v>
                </c:pt>
                <c:pt idx="5258" formatCode="0.0%">
                  <c:v>0.14017685521297291</c:v>
                </c:pt>
                <c:pt idx="5259" formatCode="0.0%">
                  <c:v>0.14050462767006897</c:v>
                </c:pt>
                <c:pt idx="5260" formatCode="0.0%">
                  <c:v>0.13938130029620263</c:v>
                </c:pt>
                <c:pt idx="5261" formatCode="0.0%">
                  <c:v>0.13867347049655934</c:v>
                </c:pt>
                <c:pt idx="5262" formatCode="0.0%">
                  <c:v>0.13858275844001244</c:v>
                </c:pt>
                <c:pt idx="5263" formatCode="0.0%">
                  <c:v>0.13104328543707952</c:v>
                </c:pt>
                <c:pt idx="5264" formatCode="0.0%">
                  <c:v>0.1313814112469138</c:v>
                </c:pt>
                <c:pt idx="5265" formatCode="0.0%">
                  <c:v>0.13054196875872379</c:v>
                </c:pt>
                <c:pt idx="5266" formatCode="0.0%">
                  <c:v>0.11490808466081638</c:v>
                </c:pt>
                <c:pt idx="5267" formatCode="0.0%">
                  <c:v>0.11653404525316546</c:v>
                </c:pt>
                <c:pt idx="5268" formatCode="0.0%">
                  <c:v>0.1130292883732199</c:v>
                </c:pt>
                <c:pt idx="5269" formatCode="0.0%">
                  <c:v>7.9461561220362534E-2</c:v>
                </c:pt>
                <c:pt idx="5270" formatCode="0.0%">
                  <c:v>8.952694112333788E-2</c:v>
                </c:pt>
                <c:pt idx="5271" formatCode="0.0%">
                  <c:v>0.11438489569508517</c:v>
                </c:pt>
                <c:pt idx="5272" formatCode="0.0%">
                  <c:v>0.11430346205009827</c:v>
                </c:pt>
                <c:pt idx="5273" formatCode="0.0%">
                  <c:v>0.11784674079594186</c:v>
                </c:pt>
                <c:pt idx="5274" formatCode="0.0%">
                  <c:v>0.12423867452580595</c:v>
                </c:pt>
                <c:pt idx="5275" formatCode="0.0%">
                  <c:v>0.12142812687401729</c:v>
                </c:pt>
                <c:pt idx="5276" formatCode="0.0%">
                  <c:v>0.11586139828596143</c:v>
                </c:pt>
                <c:pt idx="5277" formatCode="0.0%">
                  <c:v>0.11706539113577386</c:v>
                </c:pt>
                <c:pt idx="5278" formatCode="0.0%">
                  <c:v>0.11830093785785814</c:v>
                </c:pt>
                <c:pt idx="5279" formatCode="0.0%">
                  <c:v>0.1207373627393091</c:v>
                </c:pt>
                <c:pt idx="5280" formatCode="0.0%">
                  <c:v>0.1207449646423981</c:v>
                </c:pt>
                <c:pt idx="5281" formatCode="0.0%">
                  <c:v>0.12080528494911426</c:v>
                </c:pt>
                <c:pt idx="5282" formatCode="0.0%">
                  <c:v>0.12236324174960511</c:v>
                </c:pt>
                <c:pt idx="5283" formatCode="0.0%">
                  <c:v>0.12738152461856572</c:v>
                </c:pt>
                <c:pt idx="5284" formatCode="0.0%">
                  <c:v>0.12737766111860915</c:v>
                </c:pt>
                <c:pt idx="5285" formatCode="0.0%">
                  <c:v>0.14491461636465652</c:v>
                </c:pt>
                <c:pt idx="5286" formatCode="0.0%">
                  <c:v>0.14734401263711844</c:v>
                </c:pt>
                <c:pt idx="5287" formatCode="0.0%">
                  <c:v>0.14296254261973199</c:v>
                </c:pt>
                <c:pt idx="5288" formatCode="0.0%">
                  <c:v>0.14260167580247418</c:v>
                </c:pt>
                <c:pt idx="5289" formatCode="0.0%">
                  <c:v>0.14320409919916913</c:v>
                </c:pt>
                <c:pt idx="5290" formatCode="0.0%">
                  <c:v>0.14407942216765038</c:v>
                </c:pt>
                <c:pt idx="5291" formatCode="0.0%">
                  <c:v>0.12014034155856716</c:v>
                </c:pt>
                <c:pt idx="5292" formatCode="0.0%">
                  <c:v>0.11933509406510447</c:v>
                </c:pt>
                <c:pt idx="5293" formatCode="0.0%">
                  <c:v>0.11793833839273918</c:v>
                </c:pt>
                <c:pt idx="5294" formatCode="0.0%">
                  <c:v>0.11055270218175726</c:v>
                </c:pt>
                <c:pt idx="5295" formatCode="0.0%">
                  <c:v>0.11019795355924364</c:v>
                </c:pt>
                <c:pt idx="5296" formatCode="0.0%">
                  <c:v>0.11329094184630358</c:v>
                </c:pt>
                <c:pt idx="5297" formatCode="0.0%">
                  <c:v>0.11464270962147717</c:v>
                </c:pt>
                <c:pt idx="5298" formatCode="0.0%">
                  <c:v>0.1137804791704126</c:v>
                </c:pt>
                <c:pt idx="5299" formatCode="0.0%">
                  <c:v>0.11193399217630945</c:v>
                </c:pt>
                <c:pt idx="5300" formatCode="0.0%">
                  <c:v>0.11288012476925663</c:v>
                </c:pt>
                <c:pt idx="5301" formatCode="0.0%">
                  <c:v>0.11493592411637837</c:v>
                </c:pt>
                <c:pt idx="5302" formatCode="0.0%">
                  <c:v>0.11652891637286028</c:v>
                </c:pt>
                <c:pt idx="5303" formatCode="0.0%">
                  <c:v>0.1049025857265523</c:v>
                </c:pt>
                <c:pt idx="5304" formatCode="0.0%">
                  <c:v>0.10680227001363349</c:v>
                </c:pt>
                <c:pt idx="5305" formatCode="0.0%">
                  <c:v>9.155316079019396E-2</c:v>
                </c:pt>
                <c:pt idx="5306" formatCode="0.0%">
                  <c:v>0.11096223739554824</c:v>
                </c:pt>
                <c:pt idx="5307" formatCode="0.0%">
                  <c:v>0.110108129528144</c:v>
                </c:pt>
                <c:pt idx="5308" formatCode="0.0%">
                  <c:v>0.11731674617954928</c:v>
                </c:pt>
                <c:pt idx="5309" formatCode="0.0%">
                  <c:v>0.12195100780367872</c:v>
                </c:pt>
                <c:pt idx="5310" formatCode="0.0%">
                  <c:v>0.11379017858650807</c:v>
                </c:pt>
                <c:pt idx="5311" formatCode="0.0%">
                  <c:v>0.11378155167793941</c:v>
                </c:pt>
                <c:pt idx="5312" formatCode="0.0%">
                  <c:v>0.11397889362781875</c:v>
                </c:pt>
                <c:pt idx="5313" formatCode="0.0%">
                  <c:v>0.11397874573243098</c:v>
                </c:pt>
                <c:pt idx="5314" formatCode="0.0%">
                  <c:v>0.10841293337378496</c:v>
                </c:pt>
                <c:pt idx="5315" formatCode="0.0%">
                  <c:v>0.10779194295828114</c:v>
                </c:pt>
                <c:pt idx="5316" formatCode="0.0%">
                  <c:v>0.10606049600386566</c:v>
                </c:pt>
                <c:pt idx="5317" formatCode="0.0%">
                  <c:v>0.10497067390005532</c:v>
                </c:pt>
                <c:pt idx="5318" formatCode="0.0%">
                  <c:v>0.10465091675739457</c:v>
                </c:pt>
                <c:pt idx="5319" formatCode="0.0%">
                  <c:v>0.1059509626701724</c:v>
                </c:pt>
                <c:pt idx="5320" formatCode="0.0%">
                  <c:v>0.1055258127108266</c:v>
                </c:pt>
                <c:pt idx="5321" formatCode="0.0%">
                  <c:v>0.10278385075311509</c:v>
                </c:pt>
                <c:pt idx="5322" formatCode="0.0%">
                  <c:v>0.11108872665034579</c:v>
                </c:pt>
                <c:pt idx="5323" formatCode="0.0%">
                  <c:v>0.11082078378650266</c:v>
                </c:pt>
                <c:pt idx="5324" formatCode="0.0%">
                  <c:v>0.10959429768427303</c:v>
                </c:pt>
                <c:pt idx="5325" formatCode="0.0%">
                  <c:v>0.11114867707244934</c:v>
                </c:pt>
                <c:pt idx="5326" formatCode="0.0%">
                  <c:v>8.311337240925025E-2</c:v>
                </c:pt>
                <c:pt idx="5327" formatCode="0.0%">
                  <c:v>8.3809065929300444E-2</c:v>
                </c:pt>
                <c:pt idx="5328" formatCode="0.0%">
                  <c:v>7.8622591965440317E-2</c:v>
                </c:pt>
                <c:pt idx="5329" formatCode="0.0%">
                  <c:v>7.695053765099269E-2</c:v>
                </c:pt>
                <c:pt idx="5330" formatCode="0.0%">
                  <c:v>7.841663285640614E-2</c:v>
                </c:pt>
                <c:pt idx="5331" formatCode="0.0%">
                  <c:v>8.8790356965486136E-2</c:v>
                </c:pt>
                <c:pt idx="5332" formatCode="0.0%">
                  <c:v>8.8210966214280193E-2</c:v>
                </c:pt>
                <c:pt idx="5333" formatCode="0.0%">
                  <c:v>9.0986927436233128E-2</c:v>
                </c:pt>
                <c:pt idx="5334" formatCode="0.0%">
                  <c:v>9.0859466236404354E-2</c:v>
                </c:pt>
                <c:pt idx="5335" formatCode="0.0%">
                  <c:v>9.1576005467434357E-2</c:v>
                </c:pt>
                <c:pt idx="5336" formatCode="0.0%">
                  <c:v>9.1302893340330787E-2</c:v>
                </c:pt>
                <c:pt idx="5337" formatCode="0.0%">
                  <c:v>9.1563247249775673E-2</c:v>
                </c:pt>
                <c:pt idx="5338" formatCode="0.0%">
                  <c:v>9.1474786065736835E-2</c:v>
                </c:pt>
                <c:pt idx="5339" formatCode="0.0%">
                  <c:v>9.1507267295421871E-2</c:v>
                </c:pt>
                <c:pt idx="5340" formatCode="0.0%">
                  <c:v>9.0733639624932569E-2</c:v>
                </c:pt>
                <c:pt idx="5341" formatCode="0.0%">
                  <c:v>9.0738679303929343E-2</c:v>
                </c:pt>
                <c:pt idx="5342" formatCode="0.0%">
                  <c:v>7.0419038616963539E-2</c:v>
                </c:pt>
                <c:pt idx="5343" formatCode="0.0%">
                  <c:v>7.2451082162004771E-2</c:v>
                </c:pt>
                <c:pt idx="5344" formatCode="0.0%">
                  <c:v>8.1153369503421238E-2</c:v>
                </c:pt>
                <c:pt idx="5345" formatCode="0.0%">
                  <c:v>8.0107141822488862E-2</c:v>
                </c:pt>
                <c:pt idx="5346" formatCode="0.0%">
                  <c:v>8.2600925604299782E-2</c:v>
                </c:pt>
                <c:pt idx="5347" formatCode="0.0%">
                  <c:v>8.1168674676210209E-2</c:v>
                </c:pt>
                <c:pt idx="5348" formatCode="0.0%">
                  <c:v>8.1540620674713599E-2</c:v>
                </c:pt>
                <c:pt idx="5349" formatCode="0.0%">
                  <c:v>0.10940598857853064</c:v>
                </c:pt>
                <c:pt idx="5350" formatCode="0.0%">
                  <c:v>0.10652522423091214</c:v>
                </c:pt>
                <c:pt idx="5351" formatCode="0.0%">
                  <c:v>9.3827391263737611E-2</c:v>
                </c:pt>
                <c:pt idx="5352" formatCode="0.0%">
                  <c:v>9.4121130772176195E-2</c:v>
                </c:pt>
                <c:pt idx="5353" formatCode="0.0%">
                  <c:v>0.104879498255649</c:v>
                </c:pt>
                <c:pt idx="5354" formatCode="0.0%">
                  <c:v>0.10649003947414974</c:v>
                </c:pt>
                <c:pt idx="5355" formatCode="0.0%">
                  <c:v>0.11233252776680651</c:v>
                </c:pt>
                <c:pt idx="5356" formatCode="0.0%">
                  <c:v>0.1113352288263863</c:v>
                </c:pt>
                <c:pt idx="5357" formatCode="0.0%">
                  <c:v>0.11157943446961463</c:v>
                </c:pt>
                <c:pt idx="5358" formatCode="0.0%">
                  <c:v>0.12267120439089729</c:v>
                </c:pt>
                <c:pt idx="5359" formatCode="0.0%">
                  <c:v>0.12411029852914207</c:v>
                </c:pt>
                <c:pt idx="5360" formatCode="0.0%">
                  <c:v>0.14949465760001451</c:v>
                </c:pt>
                <c:pt idx="5361" formatCode="0.0%">
                  <c:v>0.14945756059299603</c:v>
                </c:pt>
                <c:pt idx="5362" formatCode="0.0%">
                  <c:v>0.15020353106630946</c:v>
                </c:pt>
                <c:pt idx="5363" formatCode="0.0%">
                  <c:v>0.16242242603142612</c:v>
                </c:pt>
                <c:pt idx="5364" formatCode="0.0%">
                  <c:v>0.15995086339664719</c:v>
                </c:pt>
                <c:pt idx="5365" formatCode="0.0%">
                  <c:v>0.1594001553135537</c:v>
                </c:pt>
                <c:pt idx="5366" formatCode="0.0%">
                  <c:v>0.15948529409332388</c:v>
                </c:pt>
                <c:pt idx="5367" formatCode="0.0%">
                  <c:v>0.15982010261759377</c:v>
                </c:pt>
                <c:pt idx="5368" formatCode="0.0%">
                  <c:v>0.15967416652764482</c:v>
                </c:pt>
                <c:pt idx="5369" formatCode="0.0%">
                  <c:v>0.14225959398977728</c:v>
                </c:pt>
                <c:pt idx="5370" formatCode="0.0%">
                  <c:v>0.14397686808833288</c:v>
                </c:pt>
                <c:pt idx="5371" formatCode="0.0%">
                  <c:v>0.1451277805612696</c:v>
                </c:pt>
                <c:pt idx="5372" formatCode="0.0%">
                  <c:v>0.1450293607910661</c:v>
                </c:pt>
                <c:pt idx="5373" formatCode="0.0%">
                  <c:v>0.13067717238662138</c:v>
                </c:pt>
                <c:pt idx="5374" formatCode="0.0%">
                  <c:v>0.13598418143853264</c:v>
                </c:pt>
                <c:pt idx="5375" formatCode="0.0%">
                  <c:v>0.13534747723270274</c:v>
                </c:pt>
                <c:pt idx="5376" formatCode="0.0%">
                  <c:v>0.1355095003314527</c:v>
                </c:pt>
                <c:pt idx="5377" formatCode="0.0%">
                  <c:v>0.1298163300387849</c:v>
                </c:pt>
                <c:pt idx="5378" formatCode="0.0%">
                  <c:v>0.10269302545460875</c:v>
                </c:pt>
                <c:pt idx="5379" formatCode="0.0%">
                  <c:v>0.10596728943834663</c:v>
                </c:pt>
                <c:pt idx="5380" formatCode="0.0%">
                  <c:v>9.0690317785751984E-2</c:v>
                </c:pt>
                <c:pt idx="5381" formatCode="0.0%">
                  <c:v>8.9308707696004228E-2</c:v>
                </c:pt>
                <c:pt idx="5382" formatCode="0.0%">
                  <c:v>8.909481155920683E-2</c:v>
                </c:pt>
                <c:pt idx="5383" formatCode="0.0%">
                  <c:v>8.2468455507926683E-2</c:v>
                </c:pt>
                <c:pt idx="5384" formatCode="0.0%">
                  <c:v>8.2118922959040927E-2</c:v>
                </c:pt>
                <c:pt idx="5385" formatCode="0.0%">
                  <c:v>8.4113180458966708E-2</c:v>
                </c:pt>
                <c:pt idx="5386" formatCode="0.0%">
                  <c:v>8.4716641841324422E-2</c:v>
                </c:pt>
                <c:pt idx="5387" formatCode="0.0%">
                  <c:v>8.4609185411451598E-2</c:v>
                </c:pt>
                <c:pt idx="5388" formatCode="0.0%">
                  <c:v>8.5480027359955454E-2</c:v>
                </c:pt>
                <c:pt idx="5389" formatCode="0.0%">
                  <c:v>7.4584223519146411E-2</c:v>
                </c:pt>
                <c:pt idx="5390" formatCode="0.0%">
                  <c:v>7.583439218340636E-2</c:v>
                </c:pt>
                <c:pt idx="5391" formatCode="0.0%">
                  <c:v>7.640483935502361E-2</c:v>
                </c:pt>
                <c:pt idx="5392" formatCode="0.0%">
                  <c:v>7.5436476698624771E-2</c:v>
                </c:pt>
                <c:pt idx="5393" formatCode="0.0%">
                  <c:v>7.4777454639022772E-2</c:v>
                </c:pt>
                <c:pt idx="5394" formatCode="0.0%">
                  <c:v>6.6241284826103017E-2</c:v>
                </c:pt>
                <c:pt idx="5395" formatCode="0.0%">
                  <c:v>6.696500577515066E-2</c:v>
                </c:pt>
                <c:pt idx="5396" formatCode="0.0%">
                  <c:v>7.9150315281866987E-2</c:v>
                </c:pt>
                <c:pt idx="5397" formatCode="0.0%">
                  <c:v>8.2738208019861786E-2</c:v>
                </c:pt>
                <c:pt idx="5398" formatCode="0.0%">
                  <c:v>9.2469763780885464E-2</c:v>
                </c:pt>
                <c:pt idx="5399" formatCode="0.0%">
                  <c:v>8.6540134993945986E-2</c:v>
                </c:pt>
                <c:pt idx="5400" formatCode="0.0%">
                  <c:v>8.8541568076285812E-2</c:v>
                </c:pt>
                <c:pt idx="5401" formatCode="0.0%">
                  <c:v>9.0496866714418159E-2</c:v>
                </c:pt>
                <c:pt idx="5402" formatCode="0.0%">
                  <c:v>9.324892074149127E-2</c:v>
                </c:pt>
                <c:pt idx="5403" formatCode="0.0%">
                  <c:v>8.8600400434248605E-2</c:v>
                </c:pt>
                <c:pt idx="5404" formatCode="0.0%">
                  <c:v>9.5319830753440055E-2</c:v>
                </c:pt>
                <c:pt idx="5405" formatCode="0.0%">
                  <c:v>9.2398085517211292E-2</c:v>
                </c:pt>
                <c:pt idx="5406" formatCode="0.0%">
                  <c:v>9.6090416173841411E-2</c:v>
                </c:pt>
                <c:pt idx="5407" formatCode="0.0%">
                  <c:v>9.7063793809789578E-2</c:v>
                </c:pt>
                <c:pt idx="5408" formatCode="0.0%">
                  <c:v>0.10652074583660136</c:v>
                </c:pt>
                <c:pt idx="5409" formatCode="0.0%">
                  <c:v>0.10651657233476552</c:v>
                </c:pt>
                <c:pt idx="5410" formatCode="0.0%">
                  <c:v>0.10659322877167834</c:v>
                </c:pt>
                <c:pt idx="5411" formatCode="0.0%">
                  <c:v>0.10721510618154109</c:v>
                </c:pt>
                <c:pt idx="5412" formatCode="0.0%">
                  <c:v>0.11294975057122315</c:v>
                </c:pt>
                <c:pt idx="5413" formatCode="0.0%">
                  <c:v>0.11456447663533675</c:v>
                </c:pt>
                <c:pt idx="5414" formatCode="0.0%">
                  <c:v>0.11453414966088624</c:v>
                </c:pt>
                <c:pt idx="5415" formatCode="0.0%">
                  <c:v>0.11609179628980491</c:v>
                </c:pt>
                <c:pt idx="5416" formatCode="0.0%">
                  <c:v>0.10401229012926104</c:v>
                </c:pt>
                <c:pt idx="5417" formatCode="0.0%">
                  <c:v>9.6230141349106096E-2</c:v>
                </c:pt>
                <c:pt idx="5418" formatCode="0.0%">
                  <c:v>9.4243744252994616E-2</c:v>
                </c:pt>
                <c:pt idx="5419" formatCode="0.0%">
                  <c:v>9.3038515104276298E-2</c:v>
                </c:pt>
                <c:pt idx="5420" formatCode="0.0%">
                  <c:v>9.2327905869787702E-2</c:v>
                </c:pt>
                <c:pt idx="5421" formatCode="0.0%">
                  <c:v>9.453362186395857E-2</c:v>
                </c:pt>
                <c:pt idx="5422" formatCode="0.0%">
                  <c:v>0.10360739573643692</c:v>
                </c:pt>
                <c:pt idx="5423" formatCode="0.0%">
                  <c:v>0.10381882320304336</c:v>
                </c:pt>
                <c:pt idx="5424" formatCode="0.0%">
                  <c:v>0.10201266376288563</c:v>
                </c:pt>
                <c:pt idx="5425" formatCode="0.0%">
                  <c:v>0.10220349539415259</c:v>
                </c:pt>
                <c:pt idx="5426" formatCode="0.0%">
                  <c:v>0.10329816866246994</c:v>
                </c:pt>
                <c:pt idx="5427" formatCode="0.0%">
                  <c:v>0.13349152282441898</c:v>
                </c:pt>
                <c:pt idx="5428" formatCode="0.0%">
                  <c:v>0.13496542307080017</c:v>
                </c:pt>
                <c:pt idx="5429" formatCode="0.0%">
                  <c:v>0.13614138757012809</c:v>
                </c:pt>
                <c:pt idx="5430" formatCode="0.0%">
                  <c:v>0.13659328995778752</c:v>
                </c:pt>
                <c:pt idx="5431" formatCode="0.0%">
                  <c:v>0.13677832853238953</c:v>
                </c:pt>
                <c:pt idx="5432" formatCode="0.0%">
                  <c:v>0.13405983997431889</c:v>
                </c:pt>
                <c:pt idx="5433" formatCode="0.0%">
                  <c:v>0.13511045411149619</c:v>
                </c:pt>
                <c:pt idx="5434" formatCode="0.0%">
                  <c:v>0.13613656052328632</c:v>
                </c:pt>
                <c:pt idx="5435" formatCode="0.0%">
                  <c:v>0.13565743689680215</c:v>
                </c:pt>
                <c:pt idx="5436" formatCode="0.0%">
                  <c:v>0.1354164015353084</c:v>
                </c:pt>
                <c:pt idx="5437" formatCode="0.0%">
                  <c:v>0.13858211670557463</c:v>
                </c:pt>
                <c:pt idx="5438" formatCode="0.0%">
                  <c:v>0.13733226586049357</c:v>
                </c:pt>
                <c:pt idx="5439" formatCode="0.0%">
                  <c:v>0.13760694977169521</c:v>
                </c:pt>
                <c:pt idx="5440" formatCode="0.0%">
                  <c:v>0.13743197265251023</c:v>
                </c:pt>
                <c:pt idx="5441" formatCode="0.0%">
                  <c:v>0.13564784827593834</c:v>
                </c:pt>
                <c:pt idx="5442" formatCode="0.0%">
                  <c:v>0.13007951305464854</c:v>
                </c:pt>
                <c:pt idx="5443" formatCode="0.0%">
                  <c:v>0.13001087316754301</c:v>
                </c:pt>
                <c:pt idx="5444" formatCode="0.0%">
                  <c:v>0.12737612304432622</c:v>
                </c:pt>
                <c:pt idx="5445" formatCode="0.0%">
                  <c:v>0.13428784834905705</c:v>
                </c:pt>
                <c:pt idx="5446" formatCode="0.0%">
                  <c:v>0.13343557564508901</c:v>
                </c:pt>
                <c:pt idx="5447" formatCode="0.0%">
                  <c:v>9.8386523137510423E-2</c:v>
                </c:pt>
                <c:pt idx="5448" formatCode="0.0%">
                  <c:v>8.8517493025575489E-2</c:v>
                </c:pt>
                <c:pt idx="5449" formatCode="0.0%">
                  <c:v>8.8522757268390415E-2</c:v>
                </c:pt>
                <c:pt idx="5450" formatCode="0.0%">
                  <c:v>8.7619617995879834E-2</c:v>
                </c:pt>
                <c:pt idx="5451" formatCode="0.0%">
                  <c:v>8.7715897936422246E-2</c:v>
                </c:pt>
                <c:pt idx="5452" formatCode="0.0%">
                  <c:v>8.2841990816371239E-2</c:v>
                </c:pt>
                <c:pt idx="5453" formatCode="0.0%">
                  <c:v>8.120750240830811E-2</c:v>
                </c:pt>
                <c:pt idx="5454" formatCode="0.0%">
                  <c:v>8.2822997138349036E-2</c:v>
                </c:pt>
                <c:pt idx="5455" formatCode="0.0%">
                  <c:v>8.2776170112618411E-2</c:v>
                </c:pt>
                <c:pt idx="5456" formatCode="0.0%">
                  <c:v>8.8054799969518802E-2</c:v>
                </c:pt>
                <c:pt idx="5457" formatCode="0.0%">
                  <c:v>8.6392398739788878E-2</c:v>
                </c:pt>
                <c:pt idx="5458" formatCode="0.0%">
                  <c:v>8.7702432621819662E-2</c:v>
                </c:pt>
                <c:pt idx="5459" formatCode="0.0%">
                  <c:v>9.0219418403567356E-2</c:v>
                </c:pt>
                <c:pt idx="5460" formatCode="0.0%">
                  <c:v>9.1463634129562529E-2</c:v>
                </c:pt>
                <c:pt idx="5461" formatCode="0.0%">
                  <c:v>9.1084504598268209E-2</c:v>
                </c:pt>
                <c:pt idx="5462" formatCode="0.0%">
                  <c:v>8.7133037253666543E-2</c:v>
                </c:pt>
                <c:pt idx="5463" formatCode="0.0%">
                  <c:v>9.0980670553268486E-2</c:v>
                </c:pt>
                <c:pt idx="5464" formatCode="0.0%">
                  <c:v>0.11022534034014186</c:v>
                </c:pt>
                <c:pt idx="5465" formatCode="0.0%">
                  <c:v>0.10439693240092005</c:v>
                </c:pt>
                <c:pt idx="5466" formatCode="0.0%">
                  <c:v>0.10490249664154824</c:v>
                </c:pt>
                <c:pt idx="5467" formatCode="0.0%">
                  <c:v>0.11032234134025956</c:v>
                </c:pt>
                <c:pt idx="5468" formatCode="0.0%">
                  <c:v>0.11141452258354659</c:v>
                </c:pt>
                <c:pt idx="5469" formatCode="0.0%">
                  <c:v>0.11158200432225222</c:v>
                </c:pt>
                <c:pt idx="5470" formatCode="0.0%">
                  <c:v>0.11171159228057767</c:v>
                </c:pt>
                <c:pt idx="5471" formatCode="0.0%">
                  <c:v>0.11297112218265411</c:v>
                </c:pt>
                <c:pt idx="5472" formatCode="0.0%">
                  <c:v>0.11100510957221232</c:v>
                </c:pt>
                <c:pt idx="5473" formatCode="0.0%">
                  <c:v>0.10913888528928258</c:v>
                </c:pt>
                <c:pt idx="5474" formatCode="0.0%">
                  <c:v>0.10856248528230564</c:v>
                </c:pt>
                <c:pt idx="5475" formatCode="0.0%">
                  <c:v>0.10994448805562934</c:v>
                </c:pt>
                <c:pt idx="5476" formatCode="0.0%">
                  <c:v>0.10792835241400996</c:v>
                </c:pt>
                <c:pt idx="5477" formatCode="0.0%">
                  <c:v>0.10789119530026256</c:v>
                </c:pt>
                <c:pt idx="5478" formatCode="0.0%">
                  <c:v>0.10757072826838986</c:v>
                </c:pt>
                <c:pt idx="5479" formatCode="0.0%">
                  <c:v>0.10598648132722364</c:v>
                </c:pt>
                <c:pt idx="5480" formatCode="0.0%">
                  <c:v>0.10509515300125263</c:v>
                </c:pt>
                <c:pt idx="5481" formatCode="0.0%">
                  <c:v>0.10520418526051348</c:v>
                </c:pt>
                <c:pt idx="5482" formatCode="0.0%">
                  <c:v>0.10848400828086344</c:v>
                </c:pt>
                <c:pt idx="5483" formatCode="0.0%">
                  <c:v>0.1044876174100513</c:v>
                </c:pt>
                <c:pt idx="5484" formatCode="0.0%">
                  <c:v>7.5032865966187828E-2</c:v>
                </c:pt>
                <c:pt idx="5485" formatCode="0.0%">
                  <c:v>7.4637274630344086E-2</c:v>
                </c:pt>
                <c:pt idx="5486" formatCode="0.0%">
                  <c:v>7.3369353092260919E-2</c:v>
                </c:pt>
                <c:pt idx="5487" formatCode="0.0%">
                  <c:v>6.8340347216454322E-2</c:v>
                </c:pt>
                <c:pt idx="5488" formatCode="0.0%">
                  <c:v>6.7581221799092914E-2</c:v>
                </c:pt>
                <c:pt idx="5489" formatCode="0.0%">
                  <c:v>6.7515753481360227E-2</c:v>
                </c:pt>
                <c:pt idx="5490" formatCode="0.0%">
                  <c:v>7.3172276165003852E-2</c:v>
                </c:pt>
                <c:pt idx="5491" formatCode="0.0%">
                  <c:v>6.8692960502294703E-2</c:v>
                </c:pt>
                <c:pt idx="5492" formatCode="0.0%">
                  <c:v>6.9175597702398089E-2</c:v>
                </c:pt>
                <c:pt idx="5493" formatCode="0.0%">
                  <c:v>6.8763955900524379E-2</c:v>
                </c:pt>
                <c:pt idx="5494" formatCode="0.0%">
                  <c:v>6.8783800487541166E-2</c:v>
                </c:pt>
                <c:pt idx="5495" formatCode="0.0%">
                  <c:v>6.9569621731389378E-2</c:v>
                </c:pt>
                <c:pt idx="5496" formatCode="0.0%">
                  <c:v>7.3738006860571206E-2</c:v>
                </c:pt>
                <c:pt idx="5497" formatCode="0.0%">
                  <c:v>7.8693273923121143E-2</c:v>
                </c:pt>
                <c:pt idx="5498" formatCode="0.0%">
                  <c:v>7.8980477265971641E-2</c:v>
                </c:pt>
                <c:pt idx="5499" formatCode="0.0%">
                  <c:v>7.9071437918149412E-2</c:v>
                </c:pt>
                <c:pt idx="5500" formatCode="0.0%">
                  <c:v>8.0189178444391163E-2</c:v>
                </c:pt>
                <c:pt idx="5501" formatCode="0.0%">
                  <c:v>8.1580262562347766E-2</c:v>
                </c:pt>
                <c:pt idx="5502" formatCode="0.0%">
                  <c:v>7.7277165166364792E-2</c:v>
                </c:pt>
                <c:pt idx="5503" formatCode="0.0%">
                  <c:v>0.1066652733605432</c:v>
                </c:pt>
                <c:pt idx="5504" formatCode="0.0%">
                  <c:v>0.10841222740675979</c:v>
                </c:pt>
                <c:pt idx="5505" formatCode="0.0%">
                  <c:v>0.10892015563935328</c:v>
                </c:pt>
                <c:pt idx="5506" formatCode="0.0%">
                  <c:v>0.11258791224359056</c:v>
                </c:pt>
                <c:pt idx="5507" formatCode="0.0%">
                  <c:v>0.11126383654190611</c:v>
                </c:pt>
                <c:pt idx="5508" formatCode="0.0%">
                  <c:v>0.11004389501675756</c:v>
                </c:pt>
                <c:pt idx="5509" formatCode="0.0%">
                  <c:v>0.10930954697844529</c:v>
                </c:pt>
                <c:pt idx="5510" formatCode="0.0%">
                  <c:v>0.10533237606022317</c:v>
                </c:pt>
                <c:pt idx="5511" formatCode="0.0%">
                  <c:v>0.10645439426819521</c:v>
                </c:pt>
                <c:pt idx="5512" formatCode="0.0%">
                  <c:v>0.10903856356740654</c:v>
                </c:pt>
                <c:pt idx="5513" formatCode="0.0%">
                  <c:v>0.1078719118749342</c:v>
                </c:pt>
                <c:pt idx="5514" formatCode="0.0%">
                  <c:v>0.10938173667929925</c:v>
                </c:pt>
                <c:pt idx="5515" formatCode="0.0%">
                  <c:v>0.1147522068057369</c:v>
                </c:pt>
                <c:pt idx="5516" formatCode="0.0%">
                  <c:v>0.11034293124246908</c:v>
                </c:pt>
                <c:pt idx="5517" formatCode="0.0%">
                  <c:v>0.10359885448579756</c:v>
                </c:pt>
                <c:pt idx="5518" formatCode="0.0%">
                  <c:v>0.10856184732115297</c:v>
                </c:pt>
                <c:pt idx="5519" formatCode="0.0%">
                  <c:v>0.10871126795977927</c:v>
                </c:pt>
                <c:pt idx="5520" formatCode="0.0%">
                  <c:v>0.10718501647611624</c:v>
                </c:pt>
                <c:pt idx="5521" formatCode="0.0%">
                  <c:v>0.10850506659227052</c:v>
                </c:pt>
                <c:pt idx="5522" formatCode="0.0%">
                  <c:v>0.10809772192593312</c:v>
                </c:pt>
                <c:pt idx="5523" formatCode="0.0%">
                  <c:v>7.9211826488464379E-2</c:v>
                </c:pt>
                <c:pt idx="5524" formatCode="0.0%">
                  <c:v>7.6359026744016664E-2</c:v>
                </c:pt>
                <c:pt idx="5525" formatCode="0.0%">
                  <c:v>8.7485438049581518E-2</c:v>
                </c:pt>
                <c:pt idx="5526" formatCode="0.0%">
                  <c:v>8.3114779993233606E-2</c:v>
                </c:pt>
                <c:pt idx="5527" formatCode="0.0%">
                  <c:v>8.4702040741168674E-2</c:v>
                </c:pt>
                <c:pt idx="5528" formatCode="0.0%">
                  <c:v>9.0480634739758967E-2</c:v>
                </c:pt>
                <c:pt idx="5529" formatCode="0.0%">
                  <c:v>9.0728503641719152E-2</c:v>
                </c:pt>
                <c:pt idx="5530" formatCode="0.0%">
                  <c:v>9.1193108919868301E-2</c:v>
                </c:pt>
                <c:pt idx="5531" formatCode="0.0%">
                  <c:v>8.9907320114207198E-2</c:v>
                </c:pt>
                <c:pt idx="5532" formatCode="0.0%">
                  <c:v>8.5068645674325719E-2</c:v>
                </c:pt>
                <c:pt idx="5533" formatCode="0.0%">
                  <c:v>8.4891340818222194E-2</c:v>
                </c:pt>
                <c:pt idx="5534" formatCode="0.0%">
                  <c:v>8.5514656560289115E-2</c:v>
                </c:pt>
                <c:pt idx="5535" formatCode="0.0%">
                  <c:v>7.5725719523789051E-2</c:v>
                </c:pt>
                <c:pt idx="5536" formatCode="0.0%">
                  <c:v>7.5722927613743246E-2</c:v>
                </c:pt>
                <c:pt idx="5537" formatCode="0.0%">
                  <c:v>7.6405524611642656E-2</c:v>
                </c:pt>
                <c:pt idx="5538" formatCode="0.0%">
                  <c:v>6.7278972796474587E-2</c:v>
                </c:pt>
                <c:pt idx="5539" formatCode="0.0%">
                  <c:v>7.0761780899176507E-2</c:v>
                </c:pt>
                <c:pt idx="5540" formatCode="0.0%">
                  <c:v>7.0372399872166869E-2</c:v>
                </c:pt>
                <c:pt idx="5541" formatCode="0.0%">
                  <c:v>7.2270850615082677E-2</c:v>
                </c:pt>
                <c:pt idx="5542" formatCode="0.0%">
                  <c:v>7.2447384758273684E-2</c:v>
                </c:pt>
                <c:pt idx="5543" formatCode="0.0%">
                  <c:v>7.1034994861063974E-2</c:v>
                </c:pt>
                <c:pt idx="5544" formatCode="0.0%">
                  <c:v>7.6097926755120726E-2</c:v>
                </c:pt>
                <c:pt idx="5545" formatCode="0.0%">
                  <c:v>7.5853086927209823E-2</c:v>
                </c:pt>
                <c:pt idx="5546" formatCode="0.0%">
                  <c:v>7.5836039606741221E-2</c:v>
                </c:pt>
                <c:pt idx="5547" formatCode="0.0%">
                  <c:v>7.4391288857263968E-2</c:v>
                </c:pt>
                <c:pt idx="5548" formatCode="0.0%">
                  <c:v>6.8263972752633281E-2</c:v>
                </c:pt>
                <c:pt idx="5549" formatCode="0.0%">
                  <c:v>6.7825457586199914E-2</c:v>
                </c:pt>
                <c:pt idx="5550" formatCode="0.0%">
                  <c:v>6.9377767344467614E-2</c:v>
                </c:pt>
                <c:pt idx="5551" formatCode="0.0%">
                  <c:v>6.9244030165855272E-2</c:v>
                </c:pt>
                <c:pt idx="5552" formatCode="0.0%">
                  <c:v>6.8364215362035408E-2</c:v>
                </c:pt>
                <c:pt idx="5553" formatCode="0.0%">
                  <c:v>7.2155251896434347E-2</c:v>
                </c:pt>
                <c:pt idx="5554" formatCode="0.0%">
                  <c:v>7.1542666886975401E-2</c:v>
                </c:pt>
                <c:pt idx="5555" formatCode="0.0%">
                  <c:v>7.4664392111913017E-2</c:v>
                </c:pt>
                <c:pt idx="5556" formatCode="0.0%">
                  <c:v>8.0679824714537635E-2</c:v>
                </c:pt>
                <c:pt idx="5557" formatCode="0.0%">
                  <c:v>7.9776522242808914E-2</c:v>
                </c:pt>
                <c:pt idx="5558" formatCode="0.0%">
                  <c:v>9.3533980931215455E-2</c:v>
                </c:pt>
                <c:pt idx="5559" formatCode="0.0%">
                  <c:v>8.9173711479345497E-2</c:v>
                </c:pt>
                <c:pt idx="5560" formatCode="0.0%">
                  <c:v>8.9818188277940497E-2</c:v>
                </c:pt>
                <c:pt idx="5561" formatCode="0.0%">
                  <c:v>8.7696931365604885E-2</c:v>
                </c:pt>
                <c:pt idx="5562" formatCode="0.0%">
                  <c:v>8.78817807589959E-2</c:v>
                </c:pt>
                <c:pt idx="5563" formatCode="0.0%">
                  <c:v>9.2143341652815861E-2</c:v>
                </c:pt>
                <c:pt idx="5564" formatCode="0.0%">
                  <c:v>9.5293962743031577E-2</c:v>
                </c:pt>
                <c:pt idx="5565" formatCode="0.0%">
                  <c:v>8.8378216778664115E-2</c:v>
                </c:pt>
                <c:pt idx="5566" formatCode="0.0%">
                  <c:v>8.8797282898795113E-2</c:v>
                </c:pt>
                <c:pt idx="5567" formatCode="0.0%">
                  <c:v>9.0294562340923576E-2</c:v>
                </c:pt>
                <c:pt idx="5568" formatCode="0.0%">
                  <c:v>9.3452355991093222E-2</c:v>
                </c:pt>
                <c:pt idx="5569" formatCode="0.0%">
                  <c:v>9.3388809520121616E-2</c:v>
                </c:pt>
                <c:pt idx="5570" formatCode="0.0%">
                  <c:v>9.6602801514320019E-2</c:v>
                </c:pt>
                <c:pt idx="5571" formatCode="0.0%">
                  <c:v>9.6606143553364721E-2</c:v>
                </c:pt>
                <c:pt idx="5572" formatCode="0.0%">
                  <c:v>0.10106793912495292</c:v>
                </c:pt>
                <c:pt idx="5573" formatCode="0.0%">
                  <c:v>9.8208594432103211E-2</c:v>
                </c:pt>
                <c:pt idx="5574" formatCode="0.0%">
                  <c:v>9.9079588116372699E-2</c:v>
                </c:pt>
                <c:pt idx="5575" formatCode="0.0%">
                  <c:v>9.8084825513629181E-2</c:v>
                </c:pt>
                <c:pt idx="5576" formatCode="0.0%">
                  <c:v>9.2835603015678017E-2</c:v>
                </c:pt>
                <c:pt idx="5577" formatCode="0.0%">
                  <c:v>0.10228987360810908</c:v>
                </c:pt>
                <c:pt idx="5578" formatCode="0.0%">
                  <c:v>9.7707407297027551E-2</c:v>
                </c:pt>
                <c:pt idx="5579" formatCode="0.0%">
                  <c:v>0.10092715992394001</c:v>
                </c:pt>
                <c:pt idx="5580" formatCode="0.0%">
                  <c:v>0.10670994719261692</c:v>
                </c:pt>
                <c:pt idx="5581" formatCode="0.0%">
                  <c:v>0.1045888630226047</c:v>
                </c:pt>
                <c:pt idx="5582" formatCode="0.0%">
                  <c:v>0.10426539927350371</c:v>
                </c:pt>
                <c:pt idx="5583" formatCode="0.0%">
                  <c:v>0.10128396267972906</c:v>
                </c:pt>
                <c:pt idx="5584" formatCode="0.0%">
                  <c:v>9.5268399072547888E-2</c:v>
                </c:pt>
                <c:pt idx="5585" formatCode="0.0%">
                  <c:v>9.5205377721161388E-2</c:v>
                </c:pt>
                <c:pt idx="5586" formatCode="0.0%">
                  <c:v>9.8110968328267642E-2</c:v>
                </c:pt>
                <c:pt idx="5587" formatCode="0.0%">
                  <c:v>9.7067697989212109E-2</c:v>
                </c:pt>
                <c:pt idx="5588" formatCode="0.0%">
                  <c:v>9.8644238414084193E-2</c:v>
                </c:pt>
                <c:pt idx="5589" formatCode="0.0%">
                  <c:v>9.9297651083694261E-2</c:v>
                </c:pt>
                <c:pt idx="5590" formatCode="0.0%">
                  <c:v>9.475743172445672E-2</c:v>
                </c:pt>
                <c:pt idx="5591" formatCode="0.0%">
                  <c:v>9.6224006132188553E-2</c:v>
                </c:pt>
                <c:pt idx="5592" formatCode="0.0%">
                  <c:v>9.2965401250669766E-2</c:v>
                </c:pt>
                <c:pt idx="5593" formatCode="0.0%">
                  <c:v>9.3541476968556025E-2</c:v>
                </c:pt>
                <c:pt idx="5594" formatCode="0.0%">
                  <c:v>9.1495877718746746E-2</c:v>
                </c:pt>
                <c:pt idx="5595" formatCode="0.0%">
                  <c:v>9.1173161883100359E-2</c:v>
                </c:pt>
                <c:pt idx="5596" formatCode="0.0%">
                  <c:v>9.1026379846164421E-2</c:v>
                </c:pt>
                <c:pt idx="5597" formatCode="0.0%">
                  <c:v>7.8432114220347071E-2</c:v>
                </c:pt>
                <c:pt idx="5598" formatCode="0.0%">
                  <c:v>7.3565578231702511E-2</c:v>
                </c:pt>
                <c:pt idx="5599" formatCode="0.0%">
                  <c:v>6.9146509867469105E-2</c:v>
                </c:pt>
                <c:pt idx="5600" formatCode="0.0%">
                  <c:v>5.9194872073480433E-2</c:v>
                </c:pt>
                <c:pt idx="5601" formatCode="0.0%">
                  <c:v>7.1161475617465608E-2</c:v>
                </c:pt>
                <c:pt idx="5602" formatCode="0.0%">
                  <c:v>8.6559808628972265E-2</c:v>
                </c:pt>
                <c:pt idx="5603" formatCode="0.0%">
                  <c:v>8.6403297998146944E-2</c:v>
                </c:pt>
                <c:pt idx="5604" formatCode="0.0%">
                  <c:v>9.236175778190206E-2</c:v>
                </c:pt>
                <c:pt idx="5605" formatCode="0.0%">
                  <c:v>9.2985626742566899E-2</c:v>
                </c:pt>
                <c:pt idx="5606" formatCode="0.0%">
                  <c:v>8.8502553609922402E-2</c:v>
                </c:pt>
                <c:pt idx="5607" formatCode="0.0%">
                  <c:v>9.6566330904898287E-2</c:v>
                </c:pt>
                <c:pt idx="5608" formatCode="0.0%">
                  <c:v>0.10950484179728658</c:v>
                </c:pt>
                <c:pt idx="5609" formatCode="0.0%">
                  <c:v>0.10986154754581653</c:v>
                </c:pt>
                <c:pt idx="5610" formatCode="0.0%">
                  <c:v>0.10985568379441261</c:v>
                </c:pt>
                <c:pt idx="5611" formatCode="0.0%">
                  <c:v>0.1087120560430756</c:v>
                </c:pt>
                <c:pt idx="5612" formatCode="0.0%">
                  <c:v>0.10901132707917716</c:v>
                </c:pt>
                <c:pt idx="5613" formatCode="0.0%">
                  <c:v>0.11152112892010989</c:v>
                </c:pt>
                <c:pt idx="5614" formatCode="0.0%">
                  <c:v>0.11446528390837044</c:v>
                </c:pt>
                <c:pt idx="5615" formatCode="0.0%">
                  <c:v>0.11467539963507102</c:v>
                </c:pt>
                <c:pt idx="5616" formatCode="0.0%">
                  <c:v>0.2312556248765574</c:v>
                </c:pt>
                <c:pt idx="5617" formatCode="0.0%">
                  <c:v>0.23310393287925327</c:v>
                </c:pt>
                <c:pt idx="5618" formatCode="0.0%">
                  <c:v>0.23719105889377237</c:v>
                </c:pt>
                <c:pt idx="5619" formatCode="0.0%">
                  <c:v>0.26906834306063038</c:v>
                </c:pt>
                <c:pt idx="5620" formatCode="0.0%">
                  <c:v>0.27611260570704882</c:v>
                </c:pt>
                <c:pt idx="5621" formatCode="0.0%">
                  <c:v>0.27481903219794046</c:v>
                </c:pt>
                <c:pt idx="5622" formatCode="0.0%">
                  <c:v>0.27090495945404452</c:v>
                </c:pt>
                <c:pt idx="5623" formatCode="0.0%">
                  <c:v>0.27191054385243185</c:v>
                </c:pt>
                <c:pt idx="5624" formatCode="0.0%">
                  <c:v>0.26932250813273079</c:v>
                </c:pt>
                <c:pt idx="5625" formatCode="0.0%">
                  <c:v>0.26658781803106735</c:v>
                </c:pt>
                <c:pt idx="5626" formatCode="0.0%">
                  <c:v>0.265467089932515</c:v>
                </c:pt>
                <c:pt idx="5627" formatCode="0.0%">
                  <c:v>0.27539860642945091</c:v>
                </c:pt>
                <c:pt idx="5628" formatCode="0.0%">
                  <c:v>0.27442931257654379</c:v>
                </c:pt>
                <c:pt idx="5629" formatCode="0.0%">
                  <c:v>0.28090227274980573</c:v>
                </c:pt>
                <c:pt idx="5630" formatCode="0.0%">
                  <c:v>0.27995619314579584</c:v>
                </c:pt>
                <c:pt idx="5631" formatCode="0.0%">
                  <c:v>0.29813943677587468</c:v>
                </c:pt>
                <c:pt idx="5632" formatCode="0.0%">
                  <c:v>0.30876556627012997</c:v>
                </c:pt>
                <c:pt idx="5633" formatCode="0.0%">
                  <c:v>0.31229813643145649</c:v>
                </c:pt>
                <c:pt idx="5634" formatCode="0.0%">
                  <c:v>0.30918434215452867</c:v>
                </c:pt>
                <c:pt idx="5635" formatCode="0.0%">
                  <c:v>0.30901682378462392</c:v>
                </c:pt>
                <c:pt idx="5636" formatCode="0.0%">
                  <c:v>0.24793723349381094</c:v>
                </c:pt>
                <c:pt idx="5637" formatCode="0.0%">
                  <c:v>0.24632481967232447</c:v>
                </c:pt>
                <c:pt idx="5638" formatCode="0.0%">
                  <c:v>0.24791393499296721</c:v>
                </c:pt>
                <c:pt idx="5639" formatCode="0.0%">
                  <c:v>0.21166833626439449</c:v>
                </c:pt>
                <c:pt idx="5640" formatCode="0.0%">
                  <c:v>0.20772404580247264</c:v>
                </c:pt>
                <c:pt idx="5641" formatCode="0.0%">
                  <c:v>0.21006135898161679</c:v>
                </c:pt>
                <c:pt idx="5642" formatCode="0.0%">
                  <c:v>0.20824798763927652</c:v>
                </c:pt>
                <c:pt idx="5643" formatCode="0.0%">
                  <c:v>0.2074719830375828</c:v>
                </c:pt>
                <c:pt idx="5644" formatCode="0.0%">
                  <c:v>0.20273451151281602</c:v>
                </c:pt>
                <c:pt idx="5645" formatCode="0.0%">
                  <c:v>0.20689036807949945</c:v>
                </c:pt>
                <c:pt idx="5646" formatCode="0.0%">
                  <c:v>0.19598390218561201</c:v>
                </c:pt>
                <c:pt idx="5647" formatCode="0.0%">
                  <c:v>0.16245451979262518</c:v>
                </c:pt>
                <c:pt idx="5648" formatCode="0.0%">
                  <c:v>0.15818942152750248</c:v>
                </c:pt>
                <c:pt idx="5649" formatCode="0.0%">
                  <c:v>0.16636804993684789</c:v>
                </c:pt>
                <c:pt idx="5650" formatCode="0.0%">
                  <c:v>0.15691777214201696</c:v>
                </c:pt>
                <c:pt idx="5651" formatCode="0.0%">
                  <c:v>0.14209883536808257</c:v>
                </c:pt>
                <c:pt idx="5652" formatCode="0.0%">
                  <c:v>0.13245659391354633</c:v>
                </c:pt>
                <c:pt idx="5653" formatCode="0.0%">
                  <c:v>0.12898459659095637</c:v>
                </c:pt>
                <c:pt idx="5654" formatCode="0.0%">
                  <c:v>0.12934345831744809</c:v>
                </c:pt>
                <c:pt idx="5655" formatCode="0.0%">
                  <c:v>0.12490655298203802</c:v>
                </c:pt>
                <c:pt idx="5656" formatCode="0.0%">
                  <c:v>0.10748660490063892</c:v>
                </c:pt>
                <c:pt idx="5657" formatCode="0.0%">
                  <c:v>0.10794552308161787</c:v>
                </c:pt>
                <c:pt idx="5658" formatCode="0.0%">
                  <c:v>0.10444507887376568</c:v>
                </c:pt>
                <c:pt idx="5659" formatCode="0.0%">
                  <c:v>0.11677192350578965</c:v>
                </c:pt>
                <c:pt idx="5660" formatCode="0.0%">
                  <c:v>0.11488948696909439</c:v>
                </c:pt>
                <c:pt idx="5661" formatCode="0.0%">
                  <c:v>0.11083780567146111</c:v>
                </c:pt>
                <c:pt idx="5662" formatCode="0.0%">
                  <c:v>0.11237721262688227</c:v>
                </c:pt>
                <c:pt idx="5663" formatCode="0.0%">
                  <c:v>0.11251067392099488</c:v>
                </c:pt>
                <c:pt idx="5664" formatCode="0.0%">
                  <c:v>0.11152996660243857</c:v>
                </c:pt>
                <c:pt idx="5665" formatCode="0.0%">
                  <c:v>0.10188872977204538</c:v>
                </c:pt>
                <c:pt idx="5666" formatCode="0.0%">
                  <c:v>0.1056528754809611</c:v>
                </c:pt>
                <c:pt idx="5667" formatCode="0.0%">
                  <c:v>0.10198877826796547</c:v>
                </c:pt>
                <c:pt idx="5668" formatCode="0.0%">
                  <c:v>0.1028849110217378</c:v>
                </c:pt>
                <c:pt idx="5669" formatCode="0.0%">
                  <c:v>9.8422999482259382E-2</c:v>
                </c:pt>
                <c:pt idx="5670" formatCode="0.0%">
                  <c:v>0.10863782661475524</c:v>
                </c:pt>
                <c:pt idx="5671" formatCode="0.0%">
                  <c:v>0.11432753566626189</c:v>
                </c:pt>
                <c:pt idx="5672" formatCode="0.0%">
                  <c:v>0.1146407349377931</c:v>
                </c:pt>
                <c:pt idx="5673" formatCode="0.0%">
                  <c:v>0.11091945831168203</c:v>
                </c:pt>
                <c:pt idx="5674" formatCode="0.0%">
                  <c:v>0.10931649993719478</c:v>
                </c:pt>
                <c:pt idx="5675" formatCode="0.0%">
                  <c:v>0.11068761988032849</c:v>
                </c:pt>
                <c:pt idx="5676" formatCode="0.0%">
                  <c:v>0.11295280162724722</c:v>
                </c:pt>
                <c:pt idx="5677" formatCode="0.0%">
                  <c:v>0.11357908994009962</c:v>
                </c:pt>
                <c:pt idx="5678" formatCode="0.0%">
                  <c:v>0.11323571801726365</c:v>
                </c:pt>
                <c:pt idx="5679" formatCode="0.0%">
                  <c:v>9.8983713642074617E-2</c:v>
                </c:pt>
                <c:pt idx="5680" formatCode="0.0%">
                  <c:v>0.11541994387520096</c:v>
                </c:pt>
                <c:pt idx="5681" formatCode="0.0%">
                  <c:v>0.12337574504251901</c:v>
                </c:pt>
                <c:pt idx="5682" formatCode="0.0%">
                  <c:v>0.11972647516451984</c:v>
                </c:pt>
                <c:pt idx="5683" formatCode="0.0%">
                  <c:v>0.11922436802612572</c:v>
                </c:pt>
                <c:pt idx="5684" formatCode="0.0%">
                  <c:v>0.12311624252661664</c:v>
                </c:pt>
                <c:pt idx="5685" formatCode="0.0%">
                  <c:v>0.12315282024731564</c:v>
                </c:pt>
                <c:pt idx="5686" formatCode="0.0%">
                  <c:v>0.12743105772106542</c:v>
                </c:pt>
                <c:pt idx="5687" formatCode="0.0%">
                  <c:v>0.1316300334256825</c:v>
                </c:pt>
                <c:pt idx="5688" formatCode="0.0%">
                  <c:v>0.13355697196697944</c:v>
                </c:pt>
                <c:pt idx="5689" formatCode="0.0%">
                  <c:v>0.13200037386875652</c:v>
                </c:pt>
                <c:pt idx="5690" formatCode="0.0%">
                  <c:v>0.13588091618492204</c:v>
                </c:pt>
                <c:pt idx="5691" formatCode="0.0%">
                  <c:v>0.13165022051276581</c:v>
                </c:pt>
                <c:pt idx="5692" formatCode="0.0%">
                  <c:v>0.13151747634771638</c:v>
                </c:pt>
                <c:pt idx="5693" formatCode="0.0%">
                  <c:v>0.13417038160145897</c:v>
                </c:pt>
                <c:pt idx="5694" formatCode="0.0%">
                  <c:v>0.13679516215312437</c:v>
                </c:pt>
                <c:pt idx="5695" formatCode="0.0%">
                  <c:v>0.13671011384838588</c:v>
                </c:pt>
                <c:pt idx="5696" formatCode="0.0%">
                  <c:v>0.13433211913456453</c:v>
                </c:pt>
                <c:pt idx="5697" formatCode="0.0%">
                  <c:v>0.13336517660120617</c:v>
                </c:pt>
                <c:pt idx="5698" formatCode="0.0%">
                  <c:v>0.13322389710134491</c:v>
                </c:pt>
                <c:pt idx="5699" formatCode="0.0%">
                  <c:v>0.13391216334666187</c:v>
                </c:pt>
                <c:pt idx="5700" formatCode="0.0%">
                  <c:v>0.12031049335887017</c:v>
                </c:pt>
                <c:pt idx="5701" formatCode="0.0%">
                  <c:v>0.140582950957821</c:v>
                </c:pt>
                <c:pt idx="5702" formatCode="0.0%">
                  <c:v>0.14315705572705023</c:v>
                </c:pt>
                <c:pt idx="5703" formatCode="0.0%">
                  <c:v>0.14664653455267113</c:v>
                </c:pt>
                <c:pt idx="5704" formatCode="0.0%">
                  <c:v>0.14047210004179042</c:v>
                </c:pt>
                <c:pt idx="5705" formatCode="0.0%">
                  <c:v>0.14056928890161416</c:v>
                </c:pt>
                <c:pt idx="5706" formatCode="0.0%">
                  <c:v>0.12941573731206737</c:v>
                </c:pt>
                <c:pt idx="5707" formatCode="0.0%">
                  <c:v>0.13020174197080911</c:v>
                </c:pt>
                <c:pt idx="5708" formatCode="0.0%">
                  <c:v>0.15001613455182147</c:v>
                </c:pt>
                <c:pt idx="5709" formatCode="0.0%">
                  <c:v>0.15519744158160914</c:v>
                </c:pt>
                <c:pt idx="5710" formatCode="0.0%">
                  <c:v>0.15685693232892561</c:v>
                </c:pt>
                <c:pt idx="5711" formatCode="0.0%">
                  <c:v>0.15853611735175524</c:v>
                </c:pt>
                <c:pt idx="5712" formatCode="0.0%">
                  <c:v>0.15893770260236559</c:v>
                </c:pt>
                <c:pt idx="5713" formatCode="0.0%">
                  <c:v>0.15922409310617702</c:v>
                </c:pt>
                <c:pt idx="5714" formatCode="0.0%">
                  <c:v>0.15601267614153838</c:v>
                </c:pt>
                <c:pt idx="5715" formatCode="0.0%">
                  <c:v>0.15513326463818952</c:v>
                </c:pt>
                <c:pt idx="5716" formatCode="0.0%">
                  <c:v>0.15756085225540853</c:v>
                </c:pt>
                <c:pt idx="5717" formatCode="0.0%">
                  <c:v>0.15783322099957056</c:v>
                </c:pt>
                <c:pt idx="5718" formatCode="0.0%">
                  <c:v>0.15806902928058683</c:v>
                </c:pt>
                <c:pt idx="5719" formatCode="0.0%">
                  <c:v>0.16463286046690412</c:v>
                </c:pt>
                <c:pt idx="5720" formatCode="0.0%">
                  <c:v>0.16671830937906448</c:v>
                </c:pt>
                <c:pt idx="5721" formatCode="0.0%">
                  <c:v>0.14653579590464322</c:v>
                </c:pt>
                <c:pt idx="5722" formatCode="0.0%">
                  <c:v>0.18433953484437876</c:v>
                </c:pt>
                <c:pt idx="5723" formatCode="0.0%">
                  <c:v>0.18532151526132093</c:v>
                </c:pt>
                <c:pt idx="5724" formatCode="0.0%">
                  <c:v>0.18684263835853351</c:v>
                </c:pt>
                <c:pt idx="5725" formatCode="0.0%">
                  <c:v>0.18878661872277441</c:v>
                </c:pt>
                <c:pt idx="5726" formatCode="0.0%">
                  <c:v>0.2217814297398987</c:v>
                </c:pt>
                <c:pt idx="5727" formatCode="0.0%">
                  <c:v>0.22937183391243554</c:v>
                </c:pt>
                <c:pt idx="5728" formatCode="0.0%">
                  <c:v>0.21332529481082127</c:v>
                </c:pt>
                <c:pt idx="5729" formatCode="0.0%">
                  <c:v>0.21015259356299479</c:v>
                </c:pt>
                <c:pt idx="5730" formatCode="0.0%">
                  <c:v>0.20526474560779059</c:v>
                </c:pt>
                <c:pt idx="5731" formatCode="0.0%">
                  <c:v>0.21238755210909502</c:v>
                </c:pt>
                <c:pt idx="5732" formatCode="0.0%">
                  <c:v>0.21189269241462397</c:v>
                </c:pt>
                <c:pt idx="5733" formatCode="0.0%">
                  <c:v>0.21041175925875583</c:v>
                </c:pt>
                <c:pt idx="5734" formatCode="0.0%">
                  <c:v>0.21451677700095662</c:v>
                </c:pt>
                <c:pt idx="5735" formatCode="0.0%">
                  <c:v>0.21454265979357742</c:v>
                </c:pt>
                <c:pt idx="5736" formatCode="0.0%">
                  <c:v>0.23446841004032168</c:v>
                </c:pt>
                <c:pt idx="5737" formatCode="0.0%">
                  <c:v>0.23497863960869025</c:v>
                </c:pt>
                <c:pt idx="5738" formatCode="0.0%">
                  <c:v>0.23478196394260548</c:v>
                </c:pt>
                <c:pt idx="5739" formatCode="0.0%">
                  <c:v>0.2291104762916337</c:v>
                </c:pt>
                <c:pt idx="5740" formatCode="0.0%">
                  <c:v>0.22777706949769047</c:v>
                </c:pt>
                <c:pt idx="5741" formatCode="0.0%">
                  <c:v>0.22800216056763054</c:v>
                </c:pt>
                <c:pt idx="5742" formatCode="0.0%">
                  <c:v>0.20737109313626811</c:v>
                </c:pt>
                <c:pt idx="5743" formatCode="0.0%">
                  <c:v>0.2028432596440089</c:v>
                </c:pt>
                <c:pt idx="5744" formatCode="0.0%">
                  <c:v>0.20209522251217971</c:v>
                </c:pt>
                <c:pt idx="5745" formatCode="0.0%">
                  <c:v>0.2075695833548665</c:v>
                </c:pt>
                <c:pt idx="5746" formatCode="0.0%">
                  <c:v>0.15812257533455193</c:v>
                </c:pt>
                <c:pt idx="5747" formatCode="0.0%">
                  <c:v>0.15276308968504201</c:v>
                </c:pt>
                <c:pt idx="5748" formatCode="0.0%">
                  <c:v>0.15282071522559823</c:v>
                </c:pt>
                <c:pt idx="5749" formatCode="0.0%">
                  <c:v>0.15134610006213386</c:v>
                </c:pt>
                <c:pt idx="5750" formatCode="0.0%">
                  <c:v>0.15071766504492071</c:v>
                </c:pt>
                <c:pt idx="5751" formatCode="0.0%">
                  <c:v>0.15520281604968333</c:v>
                </c:pt>
                <c:pt idx="5752" formatCode="0.0%">
                  <c:v>0.16105336337998397</c:v>
                </c:pt>
                <c:pt idx="5753" formatCode="0.0%">
                  <c:v>0.16259905000266003</c:v>
                </c:pt>
                <c:pt idx="5754" formatCode="0.0%">
                  <c:v>0.15236570956967771</c:v>
                </c:pt>
                <c:pt idx="5755" formatCode="0.0%">
                  <c:v>0.14818246132837001</c:v>
                </c:pt>
                <c:pt idx="5756" formatCode="0.0%">
                  <c:v>0.12495078353590972</c:v>
                </c:pt>
                <c:pt idx="5757" formatCode="0.0%">
                  <c:v>0.13082230124487523</c:v>
                </c:pt>
                <c:pt idx="5758" formatCode="0.0%">
                  <c:v>0.13180658376033921</c:v>
                </c:pt>
                <c:pt idx="5759" formatCode="0.0%">
                  <c:v>0.13808033759618679</c:v>
                </c:pt>
                <c:pt idx="5760" formatCode="0.0%">
                  <c:v>0.13799444957282714</c:v>
                </c:pt>
                <c:pt idx="5761" formatCode="0.0%">
                  <c:v>0.13554622887894338</c:v>
                </c:pt>
                <c:pt idx="5762" formatCode="0.0%">
                  <c:v>0.12542366975899477</c:v>
                </c:pt>
                <c:pt idx="5763" formatCode="0.0%">
                  <c:v>0.12937470814273669</c:v>
                </c:pt>
                <c:pt idx="5764" formatCode="0.0%">
                  <c:v>0.14275849396812532</c:v>
                </c:pt>
                <c:pt idx="5765" formatCode="0.0%">
                  <c:v>0.13351282522213312</c:v>
                </c:pt>
                <c:pt idx="5766" formatCode="0.0%">
                  <c:v>0.13340894614598731</c:v>
                </c:pt>
                <c:pt idx="5767" formatCode="0.0%">
                  <c:v>0.13173107148677582</c:v>
                </c:pt>
                <c:pt idx="5768" formatCode="0.0%">
                  <c:v>0.13348378081818676</c:v>
                </c:pt>
                <c:pt idx="5769" formatCode="0.0%">
                  <c:v>0.13617808516390967</c:v>
                </c:pt>
                <c:pt idx="5770" formatCode="0.0%">
                  <c:v>0.13753286745942653</c:v>
                </c:pt>
                <c:pt idx="5771" formatCode="0.0%">
                  <c:v>0.1293073545111911</c:v>
                </c:pt>
                <c:pt idx="5772" formatCode="0.0%">
                  <c:v>0.11939469191265567</c:v>
                </c:pt>
                <c:pt idx="5773" formatCode="0.0%">
                  <c:v>0.11744894385835185</c:v>
                </c:pt>
                <c:pt idx="5774" formatCode="0.0%">
                  <c:v>0.11505229743813543</c:v>
                </c:pt>
                <c:pt idx="5775" formatCode="0.0%">
                  <c:v>0.11432379847964548</c:v>
                </c:pt>
                <c:pt idx="5776" formatCode="0.0%">
                  <c:v>0.11642742884406052</c:v>
                </c:pt>
                <c:pt idx="5777" formatCode="0.0%">
                  <c:v>0.11360341571330132</c:v>
                </c:pt>
                <c:pt idx="5778" formatCode="0.0%">
                  <c:v>0.12554746638252853</c:v>
                </c:pt>
                <c:pt idx="5779" formatCode="0.0%">
                  <c:v>0.12098108203748548</c:v>
                </c:pt>
                <c:pt idx="5780" formatCode="0.0%">
                  <c:v>0.12085251245004042</c:v>
                </c:pt>
                <c:pt idx="5781" formatCode="0.0%">
                  <c:v>0.11873530234777629</c:v>
                </c:pt>
                <c:pt idx="5782" formatCode="0.0%">
                  <c:v>0.11514472477864249</c:v>
                </c:pt>
                <c:pt idx="5783" formatCode="0.0%">
                  <c:v>0.11531905227671106</c:v>
                </c:pt>
                <c:pt idx="5784" formatCode="0.0%">
                  <c:v>9.4013765865168603E-2</c:v>
                </c:pt>
                <c:pt idx="5785" formatCode="0.0%">
                  <c:v>9.3686072168736811E-2</c:v>
                </c:pt>
                <c:pt idx="5786" formatCode="0.0%">
                  <c:v>9.3215243349635157E-2</c:v>
                </c:pt>
                <c:pt idx="5787" formatCode="0.0%">
                  <c:v>9.4836516511557237E-2</c:v>
                </c:pt>
                <c:pt idx="5788" formatCode="0.0%">
                  <c:v>8.9179312723231846E-2</c:v>
                </c:pt>
                <c:pt idx="5789" formatCode="0.0%">
                  <c:v>8.0027712604855514E-2</c:v>
                </c:pt>
                <c:pt idx="5790" formatCode="0.0%">
                  <c:v>8.1080002723415312E-2</c:v>
                </c:pt>
                <c:pt idx="5791" formatCode="0.0%">
                  <c:v>7.8424682297926679E-2</c:v>
                </c:pt>
                <c:pt idx="5792" formatCode="0.0%">
                  <c:v>8.6078387587594729E-2</c:v>
                </c:pt>
                <c:pt idx="5793" formatCode="0.0%">
                  <c:v>9.5081566613555227E-2</c:v>
                </c:pt>
                <c:pt idx="5794" formatCode="0.0%">
                  <c:v>9.6820769032347917E-2</c:v>
                </c:pt>
                <c:pt idx="5795" formatCode="0.0%">
                  <c:v>9.7829494818115786E-2</c:v>
                </c:pt>
                <c:pt idx="5796" formatCode="0.0%">
                  <c:v>0.11616396782207007</c:v>
                </c:pt>
                <c:pt idx="5797" formatCode="0.0%">
                  <c:v>0.11377424228743666</c:v>
                </c:pt>
                <c:pt idx="5798" formatCode="0.0%">
                  <c:v>0.10409303652222396</c:v>
                </c:pt>
                <c:pt idx="5799" formatCode="0.0%">
                  <c:v>0.10632439856389199</c:v>
                </c:pt>
                <c:pt idx="5800" formatCode="0.0%">
                  <c:v>0.10679396920087611</c:v>
                </c:pt>
                <c:pt idx="5801" formatCode="0.0%">
                  <c:v>0.11067584864639046</c:v>
                </c:pt>
                <c:pt idx="5802" formatCode="0.0%">
                  <c:v>0.11056029502921816</c:v>
                </c:pt>
                <c:pt idx="5803" formatCode="0.0%">
                  <c:v>0.11455406909775603</c:v>
                </c:pt>
                <c:pt idx="5804" formatCode="0.0%">
                  <c:v>0.11517179568444848</c:v>
                </c:pt>
                <c:pt idx="5805" formatCode="0.0%">
                  <c:v>0.11818570424452794</c:v>
                </c:pt>
                <c:pt idx="5806" formatCode="0.0%">
                  <c:v>0.11915460065420065</c:v>
                </c:pt>
                <c:pt idx="5807" formatCode="0.0%">
                  <c:v>0.11783378685059488</c:v>
                </c:pt>
                <c:pt idx="5808" formatCode="0.0%">
                  <c:v>0.121004007648499</c:v>
                </c:pt>
                <c:pt idx="5809" formatCode="0.0%">
                  <c:v>0.13070755925069583</c:v>
                </c:pt>
                <c:pt idx="5810" formatCode="0.0%">
                  <c:v>0.12981812623052</c:v>
                </c:pt>
                <c:pt idx="5811" formatCode="0.0%">
                  <c:v>0.12988381569129989</c:v>
                </c:pt>
                <c:pt idx="5812" formatCode="0.0%">
                  <c:v>0.12350296143056864</c:v>
                </c:pt>
                <c:pt idx="5813" formatCode="0.0%">
                  <c:v>0.11306105433532081</c:v>
                </c:pt>
                <c:pt idx="5814" formatCode="0.0%">
                  <c:v>0.11244949169176273</c:v>
                </c:pt>
                <c:pt idx="5815" formatCode="0.0%">
                  <c:v>0.11847262043450363</c:v>
                </c:pt>
                <c:pt idx="5816" formatCode="0.0%">
                  <c:v>0.10610035376185732</c:v>
                </c:pt>
                <c:pt idx="5817" formatCode="0.0%">
                  <c:v>0.10476068871836637</c:v>
                </c:pt>
                <c:pt idx="5818" formatCode="0.0%">
                  <c:v>0.10414160738772245</c:v>
                </c:pt>
                <c:pt idx="5819" formatCode="0.0%">
                  <c:v>0.10464831081283103</c:v>
                </c:pt>
                <c:pt idx="5820" formatCode="0.0%">
                  <c:v>0.10398175055357381</c:v>
                </c:pt>
                <c:pt idx="5821" formatCode="0.0%">
                  <c:v>9.7140768296133287E-2</c:v>
                </c:pt>
                <c:pt idx="5822" formatCode="0.0%">
                  <c:v>9.8692234213217253E-2</c:v>
                </c:pt>
                <c:pt idx="5823" formatCode="0.0%">
                  <c:v>8.6596026023114989E-2</c:v>
                </c:pt>
                <c:pt idx="5824" formatCode="0.0%">
                  <c:v>8.9934703711485542E-2</c:v>
                </c:pt>
                <c:pt idx="5825" formatCode="0.0%">
                  <c:v>9.314352284393089E-2</c:v>
                </c:pt>
                <c:pt idx="5826" formatCode="0.0%">
                  <c:v>8.608128810012744E-2</c:v>
                </c:pt>
                <c:pt idx="5827" formatCode="0.0%">
                  <c:v>8.3922154839467328E-2</c:v>
                </c:pt>
                <c:pt idx="5828" formatCode="0.0%">
                  <c:v>8.292312571000994E-2</c:v>
                </c:pt>
                <c:pt idx="5829" formatCode="0.0%">
                  <c:v>7.588588863621222E-2</c:v>
                </c:pt>
                <c:pt idx="5830" formatCode="0.0%">
                  <c:v>7.7312108728116488E-2</c:v>
                </c:pt>
                <c:pt idx="5831" formatCode="0.0%">
                  <c:v>8.1822648652831315E-2</c:v>
                </c:pt>
                <c:pt idx="5832" formatCode="0.0%">
                  <c:v>8.1555166691518077E-2</c:v>
                </c:pt>
                <c:pt idx="5833" formatCode="0.0%">
                  <c:v>8.1035334583584293E-2</c:v>
                </c:pt>
                <c:pt idx="5834" formatCode="0.0%">
                  <c:v>8.1990114348800824E-2</c:v>
                </c:pt>
                <c:pt idx="5835" formatCode="0.0%">
                  <c:v>7.9149142865118163E-2</c:v>
                </c:pt>
                <c:pt idx="5836" formatCode="0.0%">
                  <c:v>8.2763873762196918E-2</c:v>
                </c:pt>
                <c:pt idx="5837" formatCode="0.0%">
                  <c:v>0.10726386739367109</c:v>
                </c:pt>
                <c:pt idx="5838" formatCode="0.0%">
                  <c:v>0.10715688535599793</c:v>
                </c:pt>
                <c:pt idx="5839" formatCode="0.0%">
                  <c:v>0.1133903850020023</c:v>
                </c:pt>
                <c:pt idx="5840" formatCode="0.0%">
                  <c:v>0.13034709033832054</c:v>
                </c:pt>
                <c:pt idx="5841" formatCode="0.0%">
                  <c:v>0.13024808080305081</c:v>
                </c:pt>
                <c:pt idx="5842" formatCode="0.0%">
                  <c:v>0.13042594504933006</c:v>
                </c:pt>
                <c:pt idx="5843" formatCode="0.0%">
                  <c:v>0.13324816326723279</c:v>
                </c:pt>
                <c:pt idx="5844" formatCode="0.0%">
                  <c:v>0.12773605625495243</c:v>
                </c:pt>
                <c:pt idx="5845" formatCode="0.0%">
                  <c:v>0.11858132617332535</c:v>
                </c:pt>
                <c:pt idx="5846" formatCode="0.0%">
                  <c:v>0.12454949883404719</c:v>
                </c:pt>
                <c:pt idx="5847" formatCode="0.0%">
                  <c:v>0.12640892652206029</c:v>
                </c:pt>
                <c:pt idx="5848" formatCode="0.0%">
                  <c:v>0.12989913188775301</c:v>
                </c:pt>
                <c:pt idx="5849" formatCode="0.0%">
                  <c:v>0.12347598474875329</c:v>
                </c:pt>
                <c:pt idx="5850" formatCode="0.0%">
                  <c:v>0.12674726478372589</c:v>
                </c:pt>
                <c:pt idx="5851" formatCode="0.0%">
                  <c:v>0.12917005729454195</c:v>
                </c:pt>
                <c:pt idx="5852" formatCode="0.0%">
                  <c:v>0.13380516424229846</c:v>
                </c:pt>
                <c:pt idx="5853" formatCode="0.0%">
                  <c:v>0.13499120405493281</c:v>
                </c:pt>
                <c:pt idx="5854" formatCode="0.0%">
                  <c:v>0.13446708505858651</c:v>
                </c:pt>
                <c:pt idx="5855" formatCode="0.0%">
                  <c:v>0.13546735410174635</c:v>
                </c:pt>
                <c:pt idx="5856" formatCode="0.0%">
                  <c:v>0.13448825467903489</c:v>
                </c:pt>
                <c:pt idx="5857" formatCode="0.0%">
                  <c:v>0.1175082456123228</c:v>
                </c:pt>
                <c:pt idx="5858" formatCode="0.0%">
                  <c:v>0.12677260782903743</c:v>
                </c:pt>
                <c:pt idx="5859" formatCode="0.0%">
                  <c:v>0.12582108225130581</c:v>
                </c:pt>
                <c:pt idx="5860" formatCode="0.0%">
                  <c:v>0.10462553019678382</c:v>
                </c:pt>
                <c:pt idx="5861" formatCode="0.0%">
                  <c:v>0.1042443148452091</c:v>
                </c:pt>
                <c:pt idx="5862" formatCode="0.0%">
                  <c:v>0.10450654499287522</c:v>
                </c:pt>
                <c:pt idx="5863" formatCode="0.0%">
                  <c:v>0.1004643317914294</c:v>
                </c:pt>
                <c:pt idx="5864" formatCode="0.0%">
                  <c:v>0.10684217729187936</c:v>
                </c:pt>
                <c:pt idx="5865" formatCode="0.0%">
                  <c:v>0.11671667856367852</c:v>
                </c:pt>
                <c:pt idx="5866" formatCode="0.0%">
                  <c:v>0.11291827547991391</c:v>
                </c:pt>
                <c:pt idx="5867" formatCode="0.0%">
                  <c:v>0.11104303302336249</c:v>
                </c:pt>
                <c:pt idx="5868" formatCode="0.0%">
                  <c:v>0.11568723859543256</c:v>
                </c:pt>
                <c:pt idx="5869" formatCode="0.0%">
                  <c:v>0.11740858512672359</c:v>
                </c:pt>
                <c:pt idx="5870" formatCode="0.0%">
                  <c:v>0.11431261842656552</c:v>
                </c:pt>
                <c:pt idx="5871" formatCode="0.0%">
                  <c:v>0.11552048656206396</c:v>
                </c:pt>
                <c:pt idx="5872" formatCode="0.0%">
                  <c:v>0.13238048252364415</c:v>
                </c:pt>
                <c:pt idx="5873" formatCode="0.0%">
                  <c:v>0.13179046290892787</c:v>
                </c:pt>
                <c:pt idx="5874" formatCode="0.0%">
                  <c:v>0.13184923300991302</c:v>
                </c:pt>
                <c:pt idx="5875" formatCode="0.0%">
                  <c:v>0.13166765661089494</c:v>
                </c:pt>
                <c:pt idx="5876" formatCode="0.0%">
                  <c:v>0.13092077078164086</c:v>
                </c:pt>
                <c:pt idx="5877" formatCode="0.0%">
                  <c:v>0.13216192890851422</c:v>
                </c:pt>
                <c:pt idx="5878" formatCode="0.0%">
                  <c:v>0.12670756787518053</c:v>
                </c:pt>
                <c:pt idx="5879" formatCode="0.0%">
                  <c:v>0.12877194214082088</c:v>
                </c:pt>
                <c:pt idx="5880" formatCode="0.0%">
                  <c:v>0.13302089194354869</c:v>
                </c:pt>
                <c:pt idx="5881" formatCode="0.0%">
                  <c:v>0.13308053657768215</c:v>
                </c:pt>
                <c:pt idx="5882" formatCode="0.0%">
                  <c:v>0.13206962929642643</c:v>
                </c:pt>
                <c:pt idx="5883" formatCode="0.0%">
                  <c:v>0.13042222941547887</c:v>
                </c:pt>
                <c:pt idx="5884" formatCode="0.0%">
                  <c:v>0.1282005897010563</c:v>
                </c:pt>
                <c:pt idx="5885" formatCode="0.0%">
                  <c:v>0.12711669956635152</c:v>
                </c:pt>
                <c:pt idx="5886" formatCode="0.0%">
                  <c:v>0.13008224921838157</c:v>
                </c:pt>
                <c:pt idx="5887" formatCode="0.0%">
                  <c:v>0.13097291033713174</c:v>
                </c:pt>
                <c:pt idx="5888" formatCode="0.0%">
                  <c:v>0.1179959762069379</c:v>
                </c:pt>
                <c:pt idx="5889" formatCode="0.0%">
                  <c:v>0.11202552673203679</c:v>
                </c:pt>
                <c:pt idx="5890" formatCode="0.0%">
                  <c:v>0.12195398418601257</c:v>
                </c:pt>
                <c:pt idx="5891" formatCode="0.0%">
                  <c:v>0.12160698003906355</c:v>
                </c:pt>
                <c:pt idx="5892" formatCode="0.0%">
                  <c:v>0.11322640626485074</c:v>
                </c:pt>
                <c:pt idx="5893" formatCode="0.0%">
                  <c:v>0.11291347015943962</c:v>
                </c:pt>
                <c:pt idx="5894" formatCode="0.0%">
                  <c:v>0.11383071255861298</c:v>
                </c:pt>
                <c:pt idx="5895" formatCode="0.0%">
                  <c:v>0.11067626197959017</c:v>
                </c:pt>
                <c:pt idx="5896" formatCode="0.0%">
                  <c:v>0.11381697062924298</c:v>
                </c:pt>
                <c:pt idx="5897" formatCode="0.0%">
                  <c:v>0.11575340484534043</c:v>
                </c:pt>
                <c:pt idx="5898" formatCode="0.0%">
                  <c:v>0.11461908396128212</c:v>
                </c:pt>
                <c:pt idx="5899" formatCode="0.0%">
                  <c:v>0.10363818780323943</c:v>
                </c:pt>
                <c:pt idx="5900" formatCode="0.0%">
                  <c:v>0.10350527370140712</c:v>
                </c:pt>
                <c:pt idx="5901" formatCode="0.0%">
                  <c:v>0.10289009327544575</c:v>
                </c:pt>
                <c:pt idx="5902" formatCode="0.0%">
                  <c:v>0.10196899189843019</c:v>
                </c:pt>
                <c:pt idx="5903" formatCode="0.0%">
                  <c:v>0.10198624308510511</c:v>
                </c:pt>
                <c:pt idx="5904" formatCode="0.0%">
                  <c:v>9.8280208932045629E-2</c:v>
                </c:pt>
                <c:pt idx="5905" formatCode="0.0%">
                  <c:v>8.674855543456797E-2</c:v>
                </c:pt>
                <c:pt idx="5906" formatCode="0.0%">
                  <c:v>8.5222264264460432E-2</c:v>
                </c:pt>
                <c:pt idx="5907" formatCode="0.0%">
                  <c:v>8.5110570615237413E-2</c:v>
                </c:pt>
                <c:pt idx="5908" formatCode="0.0%">
                  <c:v>8.5090054605738458E-2</c:v>
                </c:pt>
                <c:pt idx="5909" formatCode="0.0%">
                  <c:v>8.4252786946226663E-2</c:v>
                </c:pt>
                <c:pt idx="5910" formatCode="0.0%">
                  <c:v>7.4274394741492819E-2</c:v>
                </c:pt>
                <c:pt idx="5911" formatCode="0.0%">
                  <c:v>7.6941202703562889E-2</c:v>
                </c:pt>
                <c:pt idx="5912" formatCode="0.0%">
                  <c:v>6.5313304939570938E-2</c:v>
                </c:pt>
                <c:pt idx="5913" formatCode="0.0%">
                  <c:v>6.5362307857864357E-2</c:v>
                </c:pt>
                <c:pt idx="5914" formatCode="0.0%">
                  <c:v>6.1373502360801496E-2</c:v>
                </c:pt>
                <c:pt idx="5915" formatCode="0.0%">
                  <c:v>6.4317440821023905E-2</c:v>
                </c:pt>
                <c:pt idx="5916" formatCode="0.0%">
                  <c:v>6.142959506645352E-2</c:v>
                </c:pt>
                <c:pt idx="5917" formatCode="0.0%">
                  <c:v>5.8538795564258166E-2</c:v>
                </c:pt>
                <c:pt idx="5918" formatCode="0.0%">
                  <c:v>5.7404106750404506E-2</c:v>
                </c:pt>
                <c:pt idx="5919" formatCode="0.0%">
                  <c:v>6.2281088525710529E-2</c:v>
                </c:pt>
                <c:pt idx="5920" formatCode="0.0%">
                  <c:v>5.8870081243227651E-2</c:v>
                </c:pt>
                <c:pt idx="5921" formatCode="0.0%">
                  <c:v>5.9234770168130807E-2</c:v>
                </c:pt>
                <c:pt idx="5922" formatCode="0.0%">
                  <c:v>5.9758095519214925E-2</c:v>
                </c:pt>
                <c:pt idx="5923" formatCode="0.0%">
                  <c:v>6.1808995471164717E-2</c:v>
                </c:pt>
                <c:pt idx="5924" formatCode="0.0%">
                  <c:v>6.2218475453811053E-2</c:v>
                </c:pt>
                <c:pt idx="5925" formatCode="0.0%">
                  <c:v>5.8656763538578426E-2</c:v>
                </c:pt>
                <c:pt idx="5926" formatCode="0.0%">
                  <c:v>5.6270765697183187E-2</c:v>
                </c:pt>
                <c:pt idx="5927" formatCode="0.0%">
                  <c:v>6.1730670212499165E-2</c:v>
                </c:pt>
                <c:pt idx="5928" formatCode="0.0%">
                  <c:v>6.4294338930463907E-2</c:v>
                </c:pt>
                <c:pt idx="5929" formatCode="0.0%">
                  <c:v>6.4323441715363763E-2</c:v>
                </c:pt>
                <c:pt idx="5930" formatCode="0.0%">
                  <c:v>6.421161167916789E-2</c:v>
                </c:pt>
                <c:pt idx="5931" formatCode="0.0%">
                  <c:v>6.3138927019421712E-2</c:v>
                </c:pt>
                <c:pt idx="5932" formatCode="0.0%">
                  <c:v>5.8309902401120245E-2</c:v>
                </c:pt>
                <c:pt idx="5933" formatCode="0.0%">
                  <c:v>6.6248899320280122E-2</c:v>
                </c:pt>
                <c:pt idx="5934" formatCode="0.0%">
                  <c:v>7.0479890358200889E-2</c:v>
                </c:pt>
                <c:pt idx="5935" formatCode="0.0%">
                  <c:v>7.0812898725903198E-2</c:v>
                </c:pt>
                <c:pt idx="5936" formatCode="0.0%">
                  <c:v>7.1817841808952912E-2</c:v>
                </c:pt>
                <c:pt idx="5937" formatCode="0.0%">
                  <c:v>7.1807861558400979E-2</c:v>
                </c:pt>
                <c:pt idx="5938" formatCode="0.0%">
                  <c:v>7.0980983996154073E-2</c:v>
                </c:pt>
                <c:pt idx="5939" formatCode="0.0%">
                  <c:v>7.0167516545169076E-2</c:v>
                </c:pt>
                <c:pt idx="5940" formatCode="0.0%">
                  <c:v>6.8913464947557498E-2</c:v>
                </c:pt>
                <c:pt idx="5941" formatCode="0.0%">
                  <c:v>6.8222097451858268E-2</c:v>
                </c:pt>
                <c:pt idx="5942" formatCode="0.0%">
                  <c:v>7.1713517097075671E-2</c:v>
                </c:pt>
                <c:pt idx="5943" formatCode="0.0%">
                  <c:v>7.1971420754508811E-2</c:v>
                </c:pt>
                <c:pt idx="5944" formatCode="0.0%">
                  <c:v>7.2965149796455131E-2</c:v>
                </c:pt>
                <c:pt idx="5945" formatCode="0.0%">
                  <c:v>7.3059152422358484E-2</c:v>
                </c:pt>
                <c:pt idx="5946" formatCode="0.0%">
                  <c:v>9.0574201546674962E-2</c:v>
                </c:pt>
                <c:pt idx="5947" formatCode="0.0%">
                  <c:v>0.12320660567562344</c:v>
                </c:pt>
                <c:pt idx="5948" formatCode="0.0%">
                  <c:v>0.12412077667229141</c:v>
                </c:pt>
                <c:pt idx="5949" formatCode="0.0%">
                  <c:v>0.12756645426149713</c:v>
                </c:pt>
                <c:pt idx="5950" formatCode="0.0%">
                  <c:v>0.12766488692686268</c:v>
                </c:pt>
                <c:pt idx="5951" formatCode="0.0%">
                  <c:v>0.12818381005215645</c:v>
                </c:pt>
                <c:pt idx="5952" formatCode="0.0%">
                  <c:v>0.12904957417850915</c:v>
                </c:pt>
                <c:pt idx="5953" formatCode="0.0%">
                  <c:v>0.12327118149568204</c:v>
                </c:pt>
                <c:pt idx="5954" formatCode="0.0%">
                  <c:v>0.12932189756212611</c:v>
                </c:pt>
                <c:pt idx="5955" formatCode="0.0%">
                  <c:v>0.12984197788830765</c:v>
                </c:pt>
                <c:pt idx="5956" formatCode="0.0%">
                  <c:v>0.13145733257711734</c:v>
                </c:pt>
                <c:pt idx="5957" formatCode="0.0%">
                  <c:v>0.13091167730372341</c:v>
                </c:pt>
                <c:pt idx="5958" formatCode="0.0%">
                  <c:v>0.13815377502113907</c:v>
                </c:pt>
                <c:pt idx="5959" formatCode="0.0%">
                  <c:v>0.13818183778102627</c:v>
                </c:pt>
                <c:pt idx="5960" formatCode="0.0%">
                  <c:v>0.14803544744266339</c:v>
                </c:pt>
                <c:pt idx="5961" formatCode="0.0%">
                  <c:v>0.14717289072512937</c:v>
                </c:pt>
                <c:pt idx="5962" formatCode="0.0%">
                  <c:v>0.14499491540959991</c:v>
                </c:pt>
                <c:pt idx="5963" formatCode="0.0%">
                  <c:v>0.14504028726136187</c:v>
                </c:pt>
                <c:pt idx="5964" formatCode="0.0%">
                  <c:v>0.14499681630034883</c:v>
                </c:pt>
                <c:pt idx="5965" formatCode="0.0%">
                  <c:v>0.14512456793756057</c:v>
                </c:pt>
                <c:pt idx="5966" formatCode="0.0%">
                  <c:v>0.13695799668926159</c:v>
                </c:pt>
                <c:pt idx="5967" formatCode="0.0%">
                  <c:v>0.10571072047309545</c:v>
                </c:pt>
                <c:pt idx="5968" formatCode="0.0%">
                  <c:v>0.11063022492076748</c:v>
                </c:pt>
                <c:pt idx="5969" formatCode="0.0%">
                  <c:v>0.10555260497602716</c:v>
                </c:pt>
                <c:pt idx="5970" formatCode="0.0%">
                  <c:v>0.11289943449790468</c:v>
                </c:pt>
                <c:pt idx="5971" formatCode="0.0%">
                  <c:v>0.1109255208248216</c:v>
                </c:pt>
                <c:pt idx="5972" formatCode="0.0%">
                  <c:v>0.10990688497557485</c:v>
                </c:pt>
                <c:pt idx="5973" formatCode="0.0%">
                  <c:v>0.11455377215889845</c:v>
                </c:pt>
                <c:pt idx="5974" formatCode="0.0%">
                  <c:v>0.10772061705004655</c:v>
                </c:pt>
                <c:pt idx="5975" formatCode="0.0%">
                  <c:v>0.10671521345477392</c:v>
                </c:pt>
                <c:pt idx="5976" formatCode="0.0%">
                  <c:v>0.10374798068743049</c:v>
                </c:pt>
                <c:pt idx="5977" formatCode="0.0%">
                  <c:v>0.10927262024263391</c:v>
                </c:pt>
                <c:pt idx="5978" formatCode="0.0%">
                  <c:v>9.2211371995003552E-2</c:v>
                </c:pt>
                <c:pt idx="5979" formatCode="0.0%">
                  <c:v>9.1612926064223263E-2</c:v>
                </c:pt>
                <c:pt idx="5980" formatCode="0.0%">
                  <c:v>8.6414868280541818E-2</c:v>
                </c:pt>
                <c:pt idx="5981" formatCode="0.0%">
                  <c:v>8.663452598782162E-2</c:v>
                </c:pt>
                <c:pt idx="5982" formatCode="0.0%">
                  <c:v>8.6490441339899263E-2</c:v>
                </c:pt>
                <c:pt idx="5983" formatCode="0.0%">
                  <c:v>8.6605917572754473E-2</c:v>
                </c:pt>
                <c:pt idx="5984" formatCode="0.0%">
                  <c:v>8.6290638813749834E-2</c:v>
                </c:pt>
                <c:pt idx="5985" formatCode="0.0%">
                  <c:v>8.4309429571648567E-2</c:v>
                </c:pt>
                <c:pt idx="5986" formatCode="0.0%">
                  <c:v>8.3257986505613349E-2</c:v>
                </c:pt>
                <c:pt idx="5987" formatCode="0.0%">
                  <c:v>8.2452290122863675E-2</c:v>
                </c:pt>
                <c:pt idx="5988" formatCode="0.0%">
                  <c:v>7.0011511223457071E-2</c:v>
                </c:pt>
                <c:pt idx="5989" formatCode="0.0%">
                  <c:v>7.0024787534071209E-2</c:v>
                </c:pt>
                <c:pt idx="5990" formatCode="0.0%">
                  <c:v>6.7461691074669136E-2</c:v>
                </c:pt>
                <c:pt idx="5991" formatCode="0.0%">
                  <c:v>7.0426145419887135E-2</c:v>
                </c:pt>
                <c:pt idx="5992" formatCode="0.0%">
                  <c:v>7.0435999714950431E-2</c:v>
                </c:pt>
                <c:pt idx="5993" formatCode="0.0%">
                  <c:v>6.5597805410447588E-2</c:v>
                </c:pt>
                <c:pt idx="5994" formatCode="0.0%">
                  <c:v>6.4097404357121204E-2</c:v>
                </c:pt>
                <c:pt idx="5995" formatCode="0.0%">
                  <c:v>6.2732872323572247E-2</c:v>
                </c:pt>
                <c:pt idx="5996" formatCode="0.0%">
                  <c:v>6.033067455595284E-2</c:v>
                </c:pt>
                <c:pt idx="5997" formatCode="0.0%">
                  <c:v>4.8255053807929958E-2</c:v>
                </c:pt>
                <c:pt idx="5998" formatCode="0.0%">
                  <c:v>5.1320880104810312E-2</c:v>
                </c:pt>
                <c:pt idx="5999" formatCode="0.0%">
                  <c:v>5.3418885174298429E-2</c:v>
                </c:pt>
                <c:pt idx="6000" formatCode="0.0%">
                  <c:v>5.0880518777969258E-2</c:v>
                </c:pt>
                <c:pt idx="6001" formatCode="0.0%">
                  <c:v>5.2316784409585912E-2</c:v>
                </c:pt>
                <c:pt idx="6002" formatCode="0.0%">
                  <c:v>5.6689018906149823E-2</c:v>
                </c:pt>
                <c:pt idx="6003" formatCode="0.0%">
                  <c:v>5.9718927193503468E-2</c:v>
                </c:pt>
                <c:pt idx="6004" formatCode="0.0%">
                  <c:v>5.9715336359690459E-2</c:v>
                </c:pt>
                <c:pt idx="6005" formatCode="0.0%">
                  <c:v>6.035326229293704E-2</c:v>
                </c:pt>
                <c:pt idx="6006" formatCode="0.0%">
                  <c:v>5.9977344973122806E-2</c:v>
                </c:pt>
                <c:pt idx="6007" formatCode="0.0%">
                  <c:v>6.4875239780320004E-2</c:v>
                </c:pt>
                <c:pt idx="6008" formatCode="0.0%">
                  <c:v>6.633803243769619E-2</c:v>
                </c:pt>
                <c:pt idx="6009" formatCode="0.0%">
                  <c:v>7.1129539693496335E-2</c:v>
                </c:pt>
                <c:pt idx="6010" formatCode="0.0%">
                  <c:v>6.7312157372947143E-2</c:v>
                </c:pt>
                <c:pt idx="6011" formatCode="0.0%">
                  <c:v>6.3227389540712955E-2</c:v>
                </c:pt>
                <c:pt idx="6012" formatCode="0.0%">
                  <c:v>6.3255624451704046E-2</c:v>
                </c:pt>
                <c:pt idx="6013" formatCode="0.0%">
                  <c:v>6.4199851335033919E-2</c:v>
                </c:pt>
                <c:pt idx="6014" formatCode="0.0%">
                  <c:v>8.4793339511064394E-2</c:v>
                </c:pt>
                <c:pt idx="6015" formatCode="0.0%">
                  <c:v>8.57851165283402E-2</c:v>
                </c:pt>
                <c:pt idx="6016" formatCode="0.0%">
                  <c:v>8.8395560974136034E-2</c:v>
                </c:pt>
                <c:pt idx="6017" formatCode="0.0%">
                  <c:v>9.3051931886680109E-2</c:v>
                </c:pt>
                <c:pt idx="6018" formatCode="0.0%">
                  <c:v>9.1792767933662339E-2</c:v>
                </c:pt>
                <c:pt idx="6019" formatCode="0.0%">
                  <c:v>9.0888619154493214E-2</c:v>
                </c:pt>
                <c:pt idx="6020" formatCode="0.0%">
                  <c:v>9.0480086952564667E-2</c:v>
                </c:pt>
                <c:pt idx="6021" formatCode="0.0%">
                  <c:v>9.0726533477294771E-2</c:v>
                </c:pt>
                <c:pt idx="6022" formatCode="0.0%">
                  <c:v>8.9148113122011013E-2</c:v>
                </c:pt>
                <c:pt idx="6023" formatCode="0.0%">
                  <c:v>9.2356378249502866E-2</c:v>
                </c:pt>
                <c:pt idx="6024" formatCode="0.0%">
                  <c:v>9.2379358991437593E-2</c:v>
                </c:pt>
                <c:pt idx="6025" formatCode="0.0%">
                  <c:v>9.0465710368451635E-2</c:v>
                </c:pt>
                <c:pt idx="6026" formatCode="0.0%">
                  <c:v>9.1092698152642149E-2</c:v>
                </c:pt>
                <c:pt idx="6027" formatCode="0.0%">
                  <c:v>9.8289052710349864E-2</c:v>
                </c:pt>
                <c:pt idx="6028" formatCode="0.0%">
                  <c:v>9.5436416055516671E-2</c:v>
                </c:pt>
                <c:pt idx="6029" formatCode="0.0%">
                  <c:v>9.7787037208318772E-2</c:v>
                </c:pt>
                <c:pt idx="6030" formatCode="0.0%">
                  <c:v>9.9197827469023711E-2</c:v>
                </c:pt>
                <c:pt idx="6031" formatCode="0.0%">
                  <c:v>9.8818258032358011E-2</c:v>
                </c:pt>
                <c:pt idx="6032" formatCode="0.0%">
                  <c:v>9.8072162920860032E-2</c:v>
                </c:pt>
                <c:pt idx="6033" formatCode="0.0%">
                  <c:v>0.10177686282609844</c:v>
                </c:pt>
                <c:pt idx="6034" formatCode="0.0%">
                  <c:v>9.2717299569242989E-2</c:v>
                </c:pt>
                <c:pt idx="6035" formatCode="0.0%">
                  <c:v>9.321862743265448E-2</c:v>
                </c:pt>
                <c:pt idx="6036" formatCode="0.0%">
                  <c:v>0.11035302606297029</c:v>
                </c:pt>
                <c:pt idx="6037" formatCode="0.0%">
                  <c:v>0.10823094914126212</c:v>
                </c:pt>
                <c:pt idx="6038" formatCode="0.0%">
                  <c:v>0.1082183950385666</c:v>
                </c:pt>
                <c:pt idx="6039" formatCode="0.0%">
                  <c:v>0.1076157038161514</c:v>
                </c:pt>
                <c:pt idx="6040" formatCode="0.0%">
                  <c:v>0.10840830324852405</c:v>
                </c:pt>
                <c:pt idx="6041" formatCode="0.0%">
                  <c:v>0.10600126304471763</c:v>
                </c:pt>
                <c:pt idx="6042" formatCode="0.0%">
                  <c:v>0.10684986582684119</c:v>
                </c:pt>
                <c:pt idx="6043" formatCode="0.0%">
                  <c:v>0.1035843713885555</c:v>
                </c:pt>
                <c:pt idx="6044" formatCode="0.0%">
                  <c:v>0.10338539571678668</c:v>
                </c:pt>
                <c:pt idx="6045" formatCode="0.0%">
                  <c:v>0.10664700898020583</c:v>
                </c:pt>
                <c:pt idx="6046" formatCode="0.0%">
                  <c:v>0.10525628922837267</c:v>
                </c:pt>
                <c:pt idx="6047" formatCode="0.0%">
                  <c:v>8.6321319673538094E-2</c:v>
                </c:pt>
                <c:pt idx="6048" formatCode="0.0%">
                  <c:v>7.2497319036654337E-2</c:v>
                </c:pt>
                <c:pt idx="6049" formatCode="0.0%">
                  <c:v>7.2328465305201345E-2</c:v>
                </c:pt>
                <c:pt idx="6050" formatCode="0.0%">
                  <c:v>7.2356638042384264E-2</c:v>
                </c:pt>
                <c:pt idx="6051" formatCode="0.0%">
                  <c:v>7.500398179089017E-2</c:v>
                </c:pt>
                <c:pt idx="6052" formatCode="0.0%">
                  <c:v>7.527146657644386E-2</c:v>
                </c:pt>
                <c:pt idx="6053" formatCode="0.0%">
                  <c:v>7.9027468593126649E-2</c:v>
                </c:pt>
                <c:pt idx="6054" formatCode="0.0%">
                  <c:v>8.1439452607245541E-2</c:v>
                </c:pt>
                <c:pt idx="6055" formatCode="0.0%">
                  <c:v>8.4012838638274134E-2</c:v>
                </c:pt>
                <c:pt idx="6056" formatCode="0.0%">
                  <c:v>7.2704769010587131E-2</c:v>
                </c:pt>
                <c:pt idx="6057" formatCode="0.0%">
                  <c:v>7.3764514076110677E-2</c:v>
                </c:pt>
                <c:pt idx="6058" formatCode="0.0%">
                  <c:v>7.3566956439991713E-2</c:v>
                </c:pt>
                <c:pt idx="6059" formatCode="0.0%">
                  <c:v>7.5694208236703447E-2</c:v>
                </c:pt>
                <c:pt idx="6060" formatCode="0.0%">
                  <c:v>8.1048481225180768E-2</c:v>
                </c:pt>
                <c:pt idx="6061" formatCode="0.0%">
                  <c:v>8.240042332206067E-2</c:v>
                </c:pt>
                <c:pt idx="6062" formatCode="0.0%">
                  <c:v>8.1065624874083114E-2</c:v>
                </c:pt>
                <c:pt idx="6063" formatCode="0.0%">
                  <c:v>8.4425663718631486E-2</c:v>
                </c:pt>
                <c:pt idx="6064" formatCode="0.0%">
                  <c:v>8.8425991228670939E-2</c:v>
                </c:pt>
                <c:pt idx="6065" formatCode="0.0%">
                  <c:v>9.5984488142565438E-2</c:v>
                </c:pt>
                <c:pt idx="6066" formatCode="0.0%">
                  <c:v>9.6217765267960872E-2</c:v>
                </c:pt>
                <c:pt idx="6067" formatCode="0.0%">
                  <c:v>9.8960093161013535E-2</c:v>
                </c:pt>
                <c:pt idx="6068" formatCode="0.0%">
                  <c:v>9.9470723767283373E-2</c:v>
                </c:pt>
                <c:pt idx="6069" formatCode="0.0%">
                  <c:v>0.10406548988051201</c:v>
                </c:pt>
                <c:pt idx="6070" formatCode="0.0%">
                  <c:v>0.1050729820659248</c:v>
                </c:pt>
                <c:pt idx="6071" formatCode="0.0%">
                  <c:v>0.10417837136423025</c:v>
                </c:pt>
                <c:pt idx="6072" formatCode="0.0%">
                  <c:v>0.10430411304687807</c:v>
                </c:pt>
                <c:pt idx="6073" formatCode="0.0%">
                  <c:v>0.10026493544722236</c:v>
                </c:pt>
                <c:pt idx="6074" formatCode="0.0%">
                  <c:v>9.489806104808543E-2</c:v>
                </c:pt>
                <c:pt idx="6075" formatCode="0.0%">
                  <c:v>8.8569825850784087E-2</c:v>
                </c:pt>
                <c:pt idx="6076" formatCode="0.0%">
                  <c:v>8.8085723835624463E-2</c:v>
                </c:pt>
                <c:pt idx="6077" formatCode="0.0%">
                  <c:v>8.9601692312474321E-2</c:v>
                </c:pt>
                <c:pt idx="6078" formatCode="0.0%">
                  <c:v>0.11148420367517943</c:v>
                </c:pt>
                <c:pt idx="6079" formatCode="0.0%">
                  <c:v>0.11248314602884171</c:v>
                </c:pt>
                <c:pt idx="6080" formatCode="0.0%">
                  <c:v>0.10799658638947433</c:v>
                </c:pt>
                <c:pt idx="6081" formatCode="0.0%">
                  <c:v>0.10886114824221911</c:v>
                </c:pt>
                <c:pt idx="6082" formatCode="0.0%">
                  <c:v>0.10905264713234858</c:v>
                </c:pt>
                <c:pt idx="6083" formatCode="0.0%">
                  <c:v>0.10564585715793319</c:v>
                </c:pt>
                <c:pt idx="6084" formatCode="0.0%">
                  <c:v>0.10392427412545499</c:v>
                </c:pt>
                <c:pt idx="6085" formatCode="0.0%">
                  <c:v>9.3491692126898715E-2</c:v>
                </c:pt>
                <c:pt idx="6086" formatCode="0.0%">
                  <c:v>9.4168695565983881E-2</c:v>
                </c:pt>
                <c:pt idx="6087" formatCode="0.0%">
                  <c:v>9.1070293392229121E-2</c:v>
                </c:pt>
                <c:pt idx="6088" formatCode="0.0%">
                  <c:v>9.04195919627898E-2</c:v>
                </c:pt>
                <c:pt idx="6089" formatCode="0.0%">
                  <c:v>8.5860325575881316E-2</c:v>
                </c:pt>
                <c:pt idx="6090" formatCode="0.0%">
                  <c:v>8.6382111745181775E-2</c:v>
                </c:pt>
                <c:pt idx="6091" formatCode="0.0%">
                  <c:v>8.475458883886805E-2</c:v>
                </c:pt>
                <c:pt idx="6092" formatCode="0.0%">
                  <c:v>8.5740610295653205E-2</c:v>
                </c:pt>
                <c:pt idx="6093" formatCode="0.0%">
                  <c:v>8.4841293912360699E-2</c:v>
                </c:pt>
                <c:pt idx="6094" formatCode="0.0%">
                  <c:v>8.4965731699588973E-2</c:v>
                </c:pt>
                <c:pt idx="6095" formatCode="0.0%">
                  <c:v>8.4943953229502808E-2</c:v>
                </c:pt>
                <c:pt idx="6096" formatCode="0.0%">
                  <c:v>8.0064354880877334E-2</c:v>
                </c:pt>
                <c:pt idx="6097" formatCode="0.0%">
                  <c:v>7.4958609040889385E-2</c:v>
                </c:pt>
                <c:pt idx="6098" formatCode="0.0%">
                  <c:v>5.0103821817204561E-2</c:v>
                </c:pt>
                <c:pt idx="6099" formatCode="0.0%">
                  <c:v>4.8300948140970745E-2</c:v>
                </c:pt>
                <c:pt idx="6100" formatCode="0.0%">
                  <c:v>5.4119227148669818E-2</c:v>
                </c:pt>
                <c:pt idx="6101" formatCode="0.0%">
                  <c:v>5.4581771467581038E-2</c:v>
                </c:pt>
                <c:pt idx="6102" formatCode="0.0%">
                  <c:v>5.8441674115228756E-2</c:v>
                </c:pt>
                <c:pt idx="6103" formatCode="0.0%">
                  <c:v>5.9499847885864286E-2</c:v>
                </c:pt>
                <c:pt idx="6104" formatCode="0.0%">
                  <c:v>6.2014927137138971E-2</c:v>
                </c:pt>
                <c:pt idx="6105" formatCode="0.0%">
                  <c:v>6.2546817422798412E-2</c:v>
                </c:pt>
                <c:pt idx="6106" formatCode="0.0%">
                  <c:v>5.9511275767659889E-2</c:v>
                </c:pt>
                <c:pt idx="6107" formatCode="0.0%">
                  <c:v>5.695532807458431E-2</c:v>
                </c:pt>
                <c:pt idx="6108" formatCode="0.0%">
                  <c:v>5.8007054286493602E-2</c:v>
                </c:pt>
                <c:pt idx="6109" formatCode="0.0%">
                  <c:v>5.7976094302284308E-2</c:v>
                </c:pt>
                <c:pt idx="6110" formatCode="0.0%">
                  <c:v>5.6908157202345322E-2</c:v>
                </c:pt>
                <c:pt idx="6111" formatCode="0.0%">
                  <c:v>5.7278113580259825E-2</c:v>
                </c:pt>
                <c:pt idx="6112" formatCode="0.0%">
                  <c:v>5.578677768401237E-2</c:v>
                </c:pt>
                <c:pt idx="6113" formatCode="0.0%">
                  <c:v>5.6007359277975774E-2</c:v>
                </c:pt>
                <c:pt idx="6114" formatCode="0.0%">
                  <c:v>5.5953818070785213E-2</c:v>
                </c:pt>
                <c:pt idx="6115" formatCode="0.0%">
                  <c:v>5.4142544672821091E-2</c:v>
                </c:pt>
                <c:pt idx="6116" formatCode="0.0%">
                  <c:v>5.3147252958903123E-2</c:v>
                </c:pt>
                <c:pt idx="6117" formatCode="0.0%">
                  <c:v>5.3206884263258626E-2</c:v>
                </c:pt>
                <c:pt idx="6118" formatCode="0.0%">
                  <c:v>5.1572923042752773E-2</c:v>
                </c:pt>
                <c:pt idx="6119" formatCode="0.0%">
                  <c:v>5.1969964267730449E-2</c:v>
                </c:pt>
                <c:pt idx="6120" formatCode="0.0%">
                  <c:v>5.2301775045944389E-2</c:v>
                </c:pt>
                <c:pt idx="6121" formatCode="0.0%">
                  <c:v>5.089649827442766E-2</c:v>
                </c:pt>
                <c:pt idx="6122" formatCode="0.0%">
                  <c:v>5.0841562733364737E-2</c:v>
                </c:pt>
                <c:pt idx="6123" formatCode="0.0%">
                  <c:v>4.9878567289401418E-2</c:v>
                </c:pt>
                <c:pt idx="6124" formatCode="0.0%">
                  <c:v>4.6946004745259472E-2</c:v>
                </c:pt>
                <c:pt idx="6125" formatCode="0.0%">
                  <c:v>4.7703724328338797E-2</c:v>
                </c:pt>
                <c:pt idx="6126" formatCode="0.0%">
                  <c:v>5.1757192107584109E-2</c:v>
                </c:pt>
                <c:pt idx="6127" formatCode="0.0%">
                  <c:v>5.1651568282829775E-2</c:v>
                </c:pt>
                <c:pt idx="6128" formatCode="0.0%">
                  <c:v>5.0847503597887235E-2</c:v>
                </c:pt>
                <c:pt idx="6129" formatCode="0.0%">
                  <c:v>5.1197480136860055E-2</c:v>
                </c:pt>
                <c:pt idx="6130" formatCode="0.0%">
                  <c:v>5.4611210061852281E-2</c:v>
                </c:pt>
                <c:pt idx="6131" formatCode="0.0%">
                  <c:v>6.3115340233991901E-2</c:v>
                </c:pt>
                <c:pt idx="6132" formatCode="0.0%">
                  <c:v>6.3579916123425867E-2</c:v>
                </c:pt>
                <c:pt idx="6133" formatCode="0.0%">
                  <c:v>6.329919339429825E-2</c:v>
                </c:pt>
                <c:pt idx="6134" formatCode="0.0%">
                  <c:v>6.4476189691017594E-2</c:v>
                </c:pt>
                <c:pt idx="6135" formatCode="0.0%">
                  <c:v>6.5977009032607045E-2</c:v>
                </c:pt>
                <c:pt idx="6136" formatCode="0.0%">
                  <c:v>6.7007466405857738E-2</c:v>
                </c:pt>
                <c:pt idx="6137" formatCode="0.0%">
                  <c:v>6.6477593319632447E-2</c:v>
                </c:pt>
                <c:pt idx="6138" formatCode="0.0%">
                  <c:v>6.4676408281994793E-2</c:v>
                </c:pt>
                <c:pt idx="6139" formatCode="0.0%">
                  <c:v>6.2622365992843668E-2</c:v>
                </c:pt>
                <c:pt idx="6140" formatCode="0.0%">
                  <c:v>6.1715773517909654E-2</c:v>
                </c:pt>
                <c:pt idx="6141" formatCode="0.0%">
                  <c:v>6.174157979062489E-2</c:v>
                </c:pt>
                <c:pt idx="6142" formatCode="0.0%">
                  <c:v>6.0249170466623293E-2</c:v>
                </c:pt>
                <c:pt idx="6143" formatCode="0.0%">
                  <c:v>6.0053086818214321E-2</c:v>
                </c:pt>
                <c:pt idx="6144" formatCode="0.0%">
                  <c:v>5.7523663282146746E-2</c:v>
                </c:pt>
                <c:pt idx="6145" formatCode="0.0%">
                  <c:v>5.6663275194048908E-2</c:v>
                </c:pt>
                <c:pt idx="6146" formatCode="0.0%">
                  <c:v>5.2923917753793931E-2</c:v>
                </c:pt>
                <c:pt idx="6147" formatCode="0.0%">
                  <c:v>5.3427770530107346E-2</c:v>
                </c:pt>
                <c:pt idx="6148" formatCode="0.0%">
                  <c:v>6.0249269189070233E-2</c:v>
                </c:pt>
                <c:pt idx="6149" formatCode="0.0%">
                  <c:v>6.0473530952500291E-2</c:v>
                </c:pt>
                <c:pt idx="6150" formatCode="0.0%">
                  <c:v>5.7983038764984514E-2</c:v>
                </c:pt>
                <c:pt idx="6151" formatCode="0.0%">
                  <c:v>5.0682280619955195E-2</c:v>
                </c:pt>
                <c:pt idx="6152" formatCode="0.0%">
                  <c:v>6.2537672494770519E-2</c:v>
                </c:pt>
                <c:pt idx="6153" formatCode="0.0%">
                  <c:v>6.2437392166389862E-2</c:v>
                </c:pt>
                <c:pt idx="6154" formatCode="0.0%">
                  <c:v>6.0872514533160421E-2</c:v>
                </c:pt>
                <c:pt idx="6155" formatCode="0.0%">
                  <c:v>5.7679663333008904E-2</c:v>
                </c:pt>
                <c:pt idx="6156" formatCode="0.0%">
                  <c:v>5.6886029639078572E-2</c:v>
                </c:pt>
                <c:pt idx="6157" formatCode="0.0%">
                  <c:v>5.8524401571596135E-2</c:v>
                </c:pt>
                <c:pt idx="6158" formatCode="0.0%">
                  <c:v>5.7482139219857876E-2</c:v>
                </c:pt>
                <c:pt idx="6159" formatCode="0.0%">
                  <c:v>5.7572837806990879E-2</c:v>
                </c:pt>
                <c:pt idx="6160" formatCode="0.0%">
                  <c:v>5.7582436126503898E-2</c:v>
                </c:pt>
                <c:pt idx="6161" formatCode="0.0%">
                  <c:v>5.7883760368388736E-2</c:v>
                </c:pt>
                <c:pt idx="6162" formatCode="0.0%">
                  <c:v>6.1221504267688041E-2</c:v>
                </c:pt>
                <c:pt idx="6163" formatCode="0.0%">
                  <c:v>6.3041980904326056E-2</c:v>
                </c:pt>
                <c:pt idx="6164" formatCode="0.0%">
                  <c:v>6.3026678100018899E-2</c:v>
                </c:pt>
                <c:pt idx="6165" formatCode="0.0%">
                  <c:v>6.1665475713898632E-2</c:v>
                </c:pt>
                <c:pt idx="6166" formatCode="0.0%">
                  <c:v>6.2392213939945776E-2</c:v>
                </c:pt>
                <c:pt idx="6167" formatCode="0.0%">
                  <c:v>7.0336505701364849E-2</c:v>
                </c:pt>
                <c:pt idx="6168" formatCode="0.0%">
                  <c:v>6.8655313399258039E-2</c:v>
                </c:pt>
                <c:pt idx="6169" formatCode="0.0%">
                  <c:v>6.9206865925050307E-2</c:v>
                </c:pt>
                <c:pt idx="6170" formatCode="0.0%">
                  <c:v>6.9134880663880571E-2</c:v>
                </c:pt>
                <c:pt idx="6171" formatCode="0.0%">
                  <c:v>7.6615445847141722E-2</c:v>
                </c:pt>
                <c:pt idx="6172" formatCode="0.0%">
                  <c:v>7.07675995309823E-2</c:v>
                </c:pt>
                <c:pt idx="6173" formatCode="0.0%">
                  <c:v>7.1327960732896364E-2</c:v>
                </c:pt>
                <c:pt idx="6174" formatCode="0.0%">
                  <c:v>7.0801769782357499E-2</c:v>
                </c:pt>
                <c:pt idx="6175" formatCode="0.0%">
                  <c:v>7.1423665984758286E-2</c:v>
                </c:pt>
                <c:pt idx="6176" formatCode="0.0%">
                  <c:v>7.1532913165509193E-2</c:v>
                </c:pt>
                <c:pt idx="6177" formatCode="0.0%">
                  <c:v>7.221735643277169E-2</c:v>
                </c:pt>
                <c:pt idx="6178" formatCode="0.0%">
                  <c:v>7.3388751108099101E-2</c:v>
                </c:pt>
                <c:pt idx="6179" formatCode="0.0%">
                  <c:v>7.1547128576205377E-2</c:v>
                </c:pt>
                <c:pt idx="6180" formatCode="0.0%">
                  <c:v>7.2072376767309487E-2</c:v>
                </c:pt>
                <c:pt idx="6181" formatCode="0.0%">
                  <c:v>7.1433271194628362E-2</c:v>
                </c:pt>
                <c:pt idx="6182" formatCode="0.0%">
                  <c:v>7.0428994113205051E-2</c:v>
                </c:pt>
                <c:pt idx="6183" formatCode="0.0%">
                  <c:v>6.7783613222606731E-2</c:v>
                </c:pt>
                <c:pt idx="6184" formatCode="0.0%">
                  <c:v>6.8618469204076937E-2</c:v>
                </c:pt>
                <c:pt idx="6185" formatCode="0.0%">
                  <c:v>6.8649854478851816E-2</c:v>
                </c:pt>
                <c:pt idx="6186" formatCode="0.0%">
                  <c:v>6.8111495500053146E-2</c:v>
                </c:pt>
                <c:pt idx="6187" formatCode="0.0%">
                  <c:v>6.0004653619322633E-2</c:v>
                </c:pt>
                <c:pt idx="6188" formatCode="0.0%">
                  <c:v>6.2535469605879107E-2</c:v>
                </c:pt>
                <c:pt idx="6189" formatCode="0.0%">
                  <c:v>6.2305527697856564E-2</c:v>
                </c:pt>
                <c:pt idx="6190" formatCode="0.0%">
                  <c:v>6.2331243666661554E-2</c:v>
                </c:pt>
                <c:pt idx="6191" formatCode="0.0%">
                  <c:v>5.0361657856454925E-2</c:v>
                </c:pt>
                <c:pt idx="6192" formatCode="0.0%">
                  <c:v>7.8228697957223217E-2</c:v>
                </c:pt>
                <c:pt idx="6193" formatCode="0.0%">
                  <c:v>7.9531029214409965E-2</c:v>
                </c:pt>
                <c:pt idx="6194" formatCode="0.0%">
                  <c:v>9.2434194192920177E-2</c:v>
                </c:pt>
                <c:pt idx="6195" formatCode="0.0%">
                  <c:v>9.2016218899845459E-2</c:v>
                </c:pt>
                <c:pt idx="6196" formatCode="0.0%">
                  <c:v>9.1945667327767766E-2</c:v>
                </c:pt>
                <c:pt idx="6197" formatCode="0.0%">
                  <c:v>9.6264571753069628E-2</c:v>
                </c:pt>
                <c:pt idx="6198" formatCode="0.0%">
                  <c:v>9.576541452654555E-2</c:v>
                </c:pt>
                <c:pt idx="6199" formatCode="0.0%">
                  <c:v>0.10013034888941863</c:v>
                </c:pt>
                <c:pt idx="6200" formatCode="0.0%">
                  <c:v>0.10095041128657305</c:v>
                </c:pt>
                <c:pt idx="6201" formatCode="0.0%">
                  <c:v>0.10145072350013115</c:v>
                </c:pt>
                <c:pt idx="6202" formatCode="0.0%">
                  <c:v>0.10019368784866407</c:v>
                </c:pt>
                <c:pt idx="6203" formatCode="0.0%">
                  <c:v>0.10003666289715375</c:v>
                </c:pt>
                <c:pt idx="6204" formatCode="0.0%">
                  <c:v>0.11471862351088082</c:v>
                </c:pt>
                <c:pt idx="6205" formatCode="0.0%">
                  <c:v>0.11524431945910119</c:v>
                </c:pt>
                <c:pt idx="6206" formatCode="0.0%">
                  <c:v>0.1151582356888755</c:v>
                </c:pt>
                <c:pt idx="6207" formatCode="0.0%">
                  <c:v>0.11554589341342464</c:v>
                </c:pt>
                <c:pt idx="6208" formatCode="0.0%">
                  <c:v>0.11288564864952973</c:v>
                </c:pt>
                <c:pt idx="6209" formatCode="0.0%">
                  <c:v>0.11288533581892501</c:v>
                </c:pt>
                <c:pt idx="6210" formatCode="0.0%">
                  <c:v>0.11436664801678734</c:v>
                </c:pt>
                <c:pt idx="6211" formatCode="0.0%">
                  <c:v>0.1140304596673419</c:v>
                </c:pt>
                <c:pt idx="6212" formatCode="0.0%">
                  <c:v>9.2700057068880778E-2</c:v>
                </c:pt>
                <c:pt idx="6213" formatCode="0.0%">
                  <c:v>8.8164534556989332E-2</c:v>
                </c:pt>
                <c:pt idx="6214" formatCode="0.0%">
                  <c:v>9.2098540264838324E-2</c:v>
                </c:pt>
                <c:pt idx="6215" formatCode="0.0%">
                  <c:v>9.172710496663132E-2</c:v>
                </c:pt>
                <c:pt idx="6216" formatCode="0.0%">
                  <c:v>9.1379376704837853E-2</c:v>
                </c:pt>
                <c:pt idx="6217" formatCode="0.0%">
                  <c:v>7.6666905413273992E-2</c:v>
                </c:pt>
                <c:pt idx="6218" formatCode="0.0%">
                  <c:v>7.7363381964108913E-2</c:v>
                </c:pt>
                <c:pt idx="6219" formatCode="0.0%">
                  <c:v>7.8534204893744408E-2</c:v>
                </c:pt>
                <c:pt idx="6220" formatCode="0.0%">
                  <c:v>7.9555204852176084E-2</c:v>
                </c:pt>
                <c:pt idx="6221" formatCode="0.0%">
                  <c:v>7.9926993323247195E-2</c:v>
                </c:pt>
                <c:pt idx="6222" formatCode="0.0%">
                  <c:v>7.9945582628887957E-2</c:v>
                </c:pt>
                <c:pt idx="6223" formatCode="0.0%">
                  <c:v>7.9181964744159547E-2</c:v>
                </c:pt>
                <c:pt idx="6224" formatCode="0.0%">
                  <c:v>6.6545645194700381E-2</c:v>
                </c:pt>
                <c:pt idx="6225" formatCode="0.0%">
                  <c:v>7.003416126778253E-2</c:v>
                </c:pt>
                <c:pt idx="6226" formatCode="0.0%">
                  <c:v>7.018930934376498E-2</c:v>
                </c:pt>
                <c:pt idx="6227" formatCode="0.0%">
                  <c:v>7.0934483434924853E-2</c:v>
                </c:pt>
                <c:pt idx="6228" formatCode="0.0%">
                  <c:v>7.2506494390782369E-2</c:v>
                </c:pt>
                <c:pt idx="6229" formatCode="0.0%">
                  <c:v>7.1836342115499136E-2</c:v>
                </c:pt>
                <c:pt idx="6230" formatCode="0.0%">
                  <c:v>6.7719804139788758E-2</c:v>
                </c:pt>
                <c:pt idx="6231" formatCode="0.0%">
                  <c:v>6.7738632082347955E-2</c:v>
                </c:pt>
                <c:pt idx="6232" formatCode="0.0%">
                  <c:v>6.8297554140419089E-2</c:v>
                </c:pt>
                <c:pt idx="6233" formatCode="0.0%">
                  <c:v>6.8454578425801063E-2</c:v>
                </c:pt>
                <c:pt idx="6234" formatCode="0.0%">
                  <c:v>5.3095359925113925E-2</c:v>
                </c:pt>
                <c:pt idx="6235" formatCode="0.0%">
                  <c:v>5.0105776358362934E-2</c:v>
                </c:pt>
                <c:pt idx="6236" formatCode="0.0%">
                  <c:v>4.9729089416954551E-2</c:v>
                </c:pt>
                <c:pt idx="6237" formatCode="0.0%">
                  <c:v>5.1044858397139153E-2</c:v>
                </c:pt>
                <c:pt idx="6238" formatCode="0.0%">
                  <c:v>5.3309576775371417E-2</c:v>
                </c:pt>
                <c:pt idx="6239" formatCode="0.0%">
                  <c:v>5.1432931591908204E-2</c:v>
                </c:pt>
                <c:pt idx="6240" formatCode="0.0%">
                  <c:v>4.8423443562565234E-2</c:v>
                </c:pt>
                <c:pt idx="6241" formatCode="0.0%">
                  <c:v>4.8682074257555212E-2</c:v>
                </c:pt>
                <c:pt idx="6242" formatCode="0.0%">
                  <c:v>5.2686209689880144E-2</c:v>
                </c:pt>
                <c:pt idx="6243" formatCode="0.0%">
                  <c:v>5.3360403469201532E-2</c:v>
                </c:pt>
                <c:pt idx="6244" formatCode="0.0%">
                  <c:v>5.3335612459706125E-2</c:v>
                </c:pt>
                <c:pt idx="6245" formatCode="0.0%">
                  <c:v>5.0119410436571116E-2</c:v>
                </c:pt>
                <c:pt idx="6246" formatCode="0.0%">
                  <c:v>5.8876538855049253E-2</c:v>
                </c:pt>
                <c:pt idx="6247" formatCode="0.0%">
                  <c:v>6.0514757104399394E-2</c:v>
                </c:pt>
                <c:pt idx="6248" formatCode="0.0%">
                  <c:v>5.7676611946421437E-2</c:v>
                </c:pt>
                <c:pt idx="6249" formatCode="0.0%">
                  <c:v>6.8045230378825899E-2</c:v>
                </c:pt>
                <c:pt idx="6250" formatCode="0.0%">
                  <c:v>7.4659317219085225E-2</c:v>
                </c:pt>
                <c:pt idx="6251" formatCode="0.0%">
                  <c:v>7.7217451298028081E-2</c:v>
                </c:pt>
                <c:pt idx="6252" formatCode="0.0%">
                  <c:v>7.7664182733853671E-2</c:v>
                </c:pt>
                <c:pt idx="6253" formatCode="0.0%">
                  <c:v>7.7851498776552702E-2</c:v>
                </c:pt>
                <c:pt idx="6254" formatCode="0.0%">
                  <c:v>7.92617501384561E-2</c:v>
                </c:pt>
                <c:pt idx="6255" formatCode="0.0%">
                  <c:v>7.9261767226158797E-2</c:v>
                </c:pt>
                <c:pt idx="6256" formatCode="0.0%">
                  <c:v>7.9572697533632566E-2</c:v>
                </c:pt>
                <c:pt idx="6257" formatCode="0.0%">
                  <c:v>7.6837479055280225E-2</c:v>
                </c:pt>
                <c:pt idx="6258" formatCode="0.0%">
                  <c:v>7.5672938696548592E-2</c:v>
                </c:pt>
                <c:pt idx="6259" formatCode="0.0%">
                  <c:v>7.5849103122921341E-2</c:v>
                </c:pt>
                <c:pt idx="6260" formatCode="0.0%">
                  <c:v>7.5754766506860943E-2</c:v>
                </c:pt>
                <c:pt idx="6261" formatCode="0.0%">
                  <c:v>7.2519047544406301E-2</c:v>
                </c:pt>
                <c:pt idx="6262" formatCode="0.0%">
                  <c:v>6.7954456374778427E-2</c:v>
                </c:pt>
                <c:pt idx="6263" formatCode="0.0%">
                  <c:v>6.9114217070481321E-2</c:v>
                </c:pt>
                <c:pt idx="6264" formatCode="0.0%">
                  <c:v>7.407941454931187E-2</c:v>
                </c:pt>
                <c:pt idx="6265" formatCode="0.0%">
                  <c:v>7.4441138062855683E-2</c:v>
                </c:pt>
                <c:pt idx="6266" formatCode="0.0%">
                  <c:v>7.0480149723129978E-2</c:v>
                </c:pt>
                <c:pt idx="6267" formatCode="0.0%">
                  <c:v>7.0788561153551255E-2</c:v>
                </c:pt>
                <c:pt idx="6268" formatCode="0.0%">
                  <c:v>7.9693842897516465E-2</c:v>
                </c:pt>
                <c:pt idx="6269" formatCode="0.0%">
                  <c:v>8.5877647192004525E-2</c:v>
                </c:pt>
                <c:pt idx="6270" formatCode="0.0%">
                  <c:v>8.2183739646050302E-2</c:v>
                </c:pt>
                <c:pt idx="6271" formatCode="0.0%">
                  <c:v>7.8854239450733082E-2</c:v>
                </c:pt>
                <c:pt idx="6272" formatCode="0.0%">
                  <c:v>7.8248804959863416E-2</c:v>
                </c:pt>
                <c:pt idx="6273" formatCode="0.0%">
                  <c:v>7.9480891669883133E-2</c:v>
                </c:pt>
                <c:pt idx="6274" formatCode="0.0%">
                  <c:v>7.910645146377257E-2</c:v>
                </c:pt>
                <c:pt idx="6275" formatCode="0.0%">
                  <c:v>8.1167050199403554E-2</c:v>
                </c:pt>
                <c:pt idx="6276" formatCode="0.0%">
                  <c:v>7.8057327192475504E-2</c:v>
                </c:pt>
                <c:pt idx="6277" formatCode="0.0%">
                  <c:v>7.9838099621571429E-2</c:v>
                </c:pt>
                <c:pt idx="6278" formatCode="0.0%">
                  <c:v>8.0376693555040638E-2</c:v>
                </c:pt>
                <c:pt idx="6279" formatCode="0.0%">
                  <c:v>8.2690909945934116E-2</c:v>
                </c:pt>
                <c:pt idx="6280" formatCode="0.0%">
                  <c:v>8.5948064446115066E-2</c:v>
                </c:pt>
                <c:pt idx="6281" formatCode="0.0%">
                  <c:v>8.6041345493917204E-2</c:v>
                </c:pt>
                <c:pt idx="6282" formatCode="0.0%">
                  <c:v>8.5356417121670664E-2</c:v>
                </c:pt>
                <c:pt idx="6283" formatCode="0.0%">
                  <c:v>8.4789374880330864E-2</c:v>
                </c:pt>
                <c:pt idx="6284" formatCode="0.0%">
                  <c:v>8.1212280431423159E-2</c:v>
                </c:pt>
                <c:pt idx="6285" formatCode="0.0%">
                  <c:v>8.2796020690648481E-2</c:v>
                </c:pt>
                <c:pt idx="6286" formatCode="0.0%">
                  <c:v>8.2536779309856451E-2</c:v>
                </c:pt>
                <c:pt idx="6287" formatCode="0.0%">
                  <c:v>8.2509915566953126E-2</c:v>
                </c:pt>
                <c:pt idx="6288" formatCode="0.0%">
                  <c:v>7.5077434835280232E-2</c:v>
                </c:pt>
                <c:pt idx="6289" formatCode="0.0%">
                  <c:v>5.985345626386547E-2</c:v>
                </c:pt>
                <c:pt idx="6290" formatCode="0.0%">
                  <c:v>6.3133493783693831E-2</c:v>
                </c:pt>
                <c:pt idx="6291" formatCode="0.0%">
                  <c:v>6.1758576105842608E-2</c:v>
                </c:pt>
                <c:pt idx="6292" formatCode="0.0%">
                  <c:v>6.183923309551672E-2</c:v>
                </c:pt>
                <c:pt idx="6293" formatCode="0.0%">
                  <c:v>6.0956776948054285E-2</c:v>
                </c:pt>
                <c:pt idx="6294" formatCode="0.0%">
                  <c:v>5.9647615375957606E-2</c:v>
                </c:pt>
                <c:pt idx="6295" formatCode="0.0%">
                  <c:v>5.6288706279689175E-2</c:v>
                </c:pt>
                <c:pt idx="6296" formatCode="0.0%">
                  <c:v>5.6277207268084772E-2</c:v>
                </c:pt>
                <c:pt idx="6297" formatCode="0.0%">
                  <c:v>5.6639820154054034E-2</c:v>
                </c:pt>
                <c:pt idx="6298" formatCode="0.0%">
                  <c:v>6.2056449182414299E-2</c:v>
                </c:pt>
                <c:pt idx="6299" formatCode="0.0%">
                  <c:v>6.3067533859929747E-2</c:v>
                </c:pt>
                <c:pt idx="6300" formatCode="0.0%">
                  <c:v>6.0843577892333404E-2</c:v>
                </c:pt>
                <c:pt idx="6301" formatCode="0.0%">
                  <c:v>6.4392437655805032E-2</c:v>
                </c:pt>
                <c:pt idx="6302" formatCode="0.0%">
                  <c:v>6.4191404820927792E-2</c:v>
                </c:pt>
                <c:pt idx="6303" formatCode="0.0%">
                  <c:v>8.2980833635601728E-2</c:v>
                </c:pt>
                <c:pt idx="6304" formatCode="0.0%">
                  <c:v>9.208816085587998E-2</c:v>
                </c:pt>
                <c:pt idx="6305" formatCode="0.0%">
                  <c:v>8.8192784575483699E-2</c:v>
                </c:pt>
                <c:pt idx="6306" formatCode="0.0%">
                  <c:v>8.8038968113520938E-2</c:v>
                </c:pt>
                <c:pt idx="6307" formatCode="0.0%">
                  <c:v>0.12105370956758045</c:v>
                </c:pt>
                <c:pt idx="6308" formatCode="0.0%">
                  <c:v>0.12306249625300598</c:v>
                </c:pt>
                <c:pt idx="6309" formatCode="0.0%">
                  <c:v>0.12797205080970769</c:v>
                </c:pt>
                <c:pt idx="6310" formatCode="0.0%">
                  <c:v>0.12240584317341589</c:v>
                </c:pt>
                <c:pt idx="6311" formatCode="0.0%">
                  <c:v>0.12195463521095838</c:v>
                </c:pt>
                <c:pt idx="6312" formatCode="0.0%">
                  <c:v>0.12083123497268541</c:v>
                </c:pt>
                <c:pt idx="6313" formatCode="0.0%">
                  <c:v>0.12204515375155034</c:v>
                </c:pt>
                <c:pt idx="6314" formatCode="0.0%">
                  <c:v>0.12191855506391261</c:v>
                </c:pt>
                <c:pt idx="6315" formatCode="0.0%">
                  <c:v>0.12190645983821652</c:v>
                </c:pt>
                <c:pt idx="6316" formatCode="0.0%">
                  <c:v>0.12584705766249116</c:v>
                </c:pt>
                <c:pt idx="6317" formatCode="0.0%">
                  <c:v>0.12863193955087124</c:v>
                </c:pt>
                <c:pt idx="6318" formatCode="0.0%">
                  <c:v>0.12804929022102918</c:v>
                </c:pt>
                <c:pt idx="6319" formatCode="0.0%">
                  <c:v>0.12562583522660273</c:v>
                </c:pt>
                <c:pt idx="6320" formatCode="0.0%">
                  <c:v>0.1285262529212586</c:v>
                </c:pt>
                <c:pt idx="6321" formatCode="0.0%">
                  <c:v>0.12914319316613829</c:v>
                </c:pt>
                <c:pt idx="6322" formatCode="0.0%">
                  <c:v>0.13216473645740998</c:v>
                </c:pt>
                <c:pt idx="6323" formatCode="0.0%">
                  <c:v>0.13003349960183505</c:v>
                </c:pt>
                <c:pt idx="6324" formatCode="0.0%">
                  <c:v>0.12740498889486965</c:v>
                </c:pt>
                <c:pt idx="6325" formatCode="0.0%">
                  <c:v>0.12747288254927527</c:v>
                </c:pt>
                <c:pt idx="6326" formatCode="0.0%">
                  <c:v>0.12908238343887782</c:v>
                </c:pt>
                <c:pt idx="6327" formatCode="0.0%">
                  <c:v>0.10058448329899299</c:v>
                </c:pt>
                <c:pt idx="6328" formatCode="0.0%">
                  <c:v>9.986169303570698E-2</c:v>
                </c:pt>
                <c:pt idx="6329" formatCode="0.0%">
                  <c:v>9.5152244378898784E-2</c:v>
                </c:pt>
                <c:pt idx="6330" formatCode="0.0%">
                  <c:v>9.6012184108633339E-2</c:v>
                </c:pt>
                <c:pt idx="6331" formatCode="0.0%">
                  <c:v>9.5902509158237365E-2</c:v>
                </c:pt>
                <c:pt idx="6332" formatCode="0.0%">
                  <c:v>9.5898919609735234E-2</c:v>
                </c:pt>
                <c:pt idx="6333" formatCode="0.0%">
                  <c:v>9.82326247431341E-2</c:v>
                </c:pt>
                <c:pt idx="6334" formatCode="0.0%">
                  <c:v>9.6936900590274377E-2</c:v>
                </c:pt>
                <c:pt idx="6335" formatCode="0.0%">
                  <c:v>9.8525087992912999E-2</c:v>
                </c:pt>
                <c:pt idx="6336" formatCode="0.0%">
                  <c:v>8.8554795802885486E-2</c:v>
                </c:pt>
                <c:pt idx="6337" formatCode="0.0%">
                  <c:v>8.8346829879278943E-2</c:v>
                </c:pt>
                <c:pt idx="6338" formatCode="0.0%">
                  <c:v>8.8207668204293016E-2</c:v>
                </c:pt>
                <c:pt idx="6339" formatCode="0.0%">
                  <c:v>8.7814910324500298E-2</c:v>
                </c:pt>
                <c:pt idx="6340" formatCode="0.0%">
                  <c:v>7.6475093463595559E-2</c:v>
                </c:pt>
                <c:pt idx="6341" formatCode="0.0%">
                  <c:v>7.7064826753314483E-2</c:v>
                </c:pt>
                <c:pt idx="6342" formatCode="0.0%">
                  <c:v>7.632247346818867E-2</c:v>
                </c:pt>
                <c:pt idx="6343" formatCode="0.0%">
                  <c:v>7.5761400766500758E-2</c:v>
                </c:pt>
                <c:pt idx="6344" formatCode="0.0%">
                  <c:v>8.034379959843703E-2</c:v>
                </c:pt>
                <c:pt idx="6345" formatCode="0.0%">
                  <c:v>8.404227897167843E-2</c:v>
                </c:pt>
                <c:pt idx="6346" formatCode="0.0%">
                  <c:v>8.3244691198867973E-2</c:v>
                </c:pt>
                <c:pt idx="6347" formatCode="0.0%">
                  <c:v>8.9529942846361635E-2</c:v>
                </c:pt>
                <c:pt idx="6348" formatCode="0.0%">
                  <c:v>9.0462740922414075E-2</c:v>
                </c:pt>
                <c:pt idx="6349" formatCode="0.0%">
                  <c:v>9.0447438421048396E-2</c:v>
                </c:pt>
                <c:pt idx="6350" formatCode="0.0%">
                  <c:v>9.1542613865794598E-2</c:v>
                </c:pt>
                <c:pt idx="6351" formatCode="0.0%">
                  <c:v>9.159588751471115E-2</c:v>
                </c:pt>
                <c:pt idx="6352" formatCode="0.0%">
                  <c:v>9.176005516654008E-2</c:v>
                </c:pt>
                <c:pt idx="6353" formatCode="0.0%">
                  <c:v>0.10561594851866063</c:v>
                </c:pt>
                <c:pt idx="6354" formatCode="0.0%">
                  <c:v>0.1053635968944427</c:v>
                </c:pt>
                <c:pt idx="6355" formatCode="0.0%">
                  <c:v>0.10995622384887435</c:v>
                </c:pt>
                <c:pt idx="6356" formatCode="0.0%">
                  <c:v>0.11133990596199622</c:v>
                </c:pt>
                <c:pt idx="6357" formatCode="0.0%">
                  <c:v>0.11350077925918468</c:v>
                </c:pt>
                <c:pt idx="6358" formatCode="0.0%">
                  <c:v>0.11351568571325231</c:v>
                </c:pt>
                <c:pt idx="6359" formatCode="0.0%">
                  <c:v>0.11865224007764244</c:v>
                </c:pt>
                <c:pt idx="6360" formatCode="0.0%">
                  <c:v>0.11563224643582276</c:v>
                </c:pt>
                <c:pt idx="6361" formatCode="0.0%">
                  <c:v>0.11588841398609151</c:v>
                </c:pt>
                <c:pt idx="6362" formatCode="0.0%">
                  <c:v>0.11886630713064555</c:v>
                </c:pt>
                <c:pt idx="6363" formatCode="0.0%">
                  <c:v>0.12232105078732805</c:v>
                </c:pt>
                <c:pt idx="6364" formatCode="0.0%">
                  <c:v>0.11883559860942641</c:v>
                </c:pt>
                <c:pt idx="6365" formatCode="0.0%">
                  <c:v>0.11786744770867837</c:v>
                </c:pt>
                <c:pt idx="6366" formatCode="0.0%">
                  <c:v>0.11713466639399564</c:v>
                </c:pt>
                <c:pt idx="6367" formatCode="0.0%">
                  <c:v>0.10270970941973456</c:v>
                </c:pt>
                <c:pt idx="6368" formatCode="0.0%">
                  <c:v>0.10213241140342788</c:v>
                </c:pt>
                <c:pt idx="6369" formatCode="0.0%">
                  <c:v>0.10307589719827112</c:v>
                </c:pt>
                <c:pt idx="6370" formatCode="0.0%">
                  <c:v>0.10067973664004094</c:v>
                </c:pt>
                <c:pt idx="6371" formatCode="0.0%">
                  <c:v>0.10058100411717359</c:v>
                </c:pt>
                <c:pt idx="6372" formatCode="0.0%">
                  <c:v>9.9528914179130526E-2</c:v>
                </c:pt>
                <c:pt idx="6373" formatCode="0.0%">
                  <c:v>7.4513987039004845E-2</c:v>
                </c:pt>
                <c:pt idx="6374" formatCode="0.0%">
                  <c:v>7.3200435038593928E-2</c:v>
                </c:pt>
                <c:pt idx="6375" formatCode="0.0%">
                  <c:v>7.0368955795904686E-2</c:v>
                </c:pt>
                <c:pt idx="6376" formatCode="0.0%">
                  <c:v>7.0549820042414446E-2</c:v>
                </c:pt>
                <c:pt idx="6377" formatCode="0.0%">
                  <c:v>7.3313189582529248E-2</c:v>
                </c:pt>
                <c:pt idx="6378" formatCode="0.0%">
                  <c:v>7.3928821427673777E-2</c:v>
                </c:pt>
                <c:pt idx="6379" formatCode="0.0%">
                  <c:v>6.0637105796134669E-2</c:v>
                </c:pt>
                <c:pt idx="6380" formatCode="0.0%">
                  <c:v>6.0544223472493539E-2</c:v>
                </c:pt>
                <c:pt idx="6381" formatCode="0.0%">
                  <c:v>6.4439709106454884E-2</c:v>
                </c:pt>
                <c:pt idx="6382" formatCode="0.0%">
                  <c:v>6.6468446503345435E-2</c:v>
                </c:pt>
                <c:pt idx="6383" formatCode="0.0%">
                  <c:v>6.3147155984251996E-2</c:v>
                </c:pt>
                <c:pt idx="6384" formatCode="0.0%">
                  <c:v>6.3070478642955174E-2</c:v>
                </c:pt>
                <c:pt idx="6385" formatCode="0.0%">
                  <c:v>6.1612174485370166E-2</c:v>
                </c:pt>
                <c:pt idx="6386" formatCode="0.0%">
                  <c:v>6.1549648397689491E-2</c:v>
                </c:pt>
                <c:pt idx="6387" formatCode="0.0%">
                  <c:v>6.5224194339528654E-2</c:v>
                </c:pt>
                <c:pt idx="6388" formatCode="0.0%">
                  <c:v>6.5538765780668778E-2</c:v>
                </c:pt>
                <c:pt idx="6389" formatCode="0.0%">
                  <c:v>6.7671581467584452E-2</c:v>
                </c:pt>
                <c:pt idx="6390" formatCode="0.0%">
                  <c:v>7.4929533837386778E-2</c:v>
                </c:pt>
                <c:pt idx="6391" formatCode="0.0%">
                  <c:v>8.3104952798451731E-2</c:v>
                </c:pt>
                <c:pt idx="6392" formatCode="0.0%">
                  <c:v>8.3712819694938503E-2</c:v>
                </c:pt>
                <c:pt idx="6393" formatCode="0.0%">
                  <c:v>8.2839646790670712E-2</c:v>
                </c:pt>
                <c:pt idx="6394" formatCode="0.0%">
                  <c:v>8.4386793883122785E-2</c:v>
                </c:pt>
                <c:pt idx="6395" formatCode="0.0%">
                  <c:v>8.491338163683769E-2</c:v>
                </c:pt>
                <c:pt idx="6396" formatCode="0.0%">
                  <c:v>8.4910393901368647E-2</c:v>
                </c:pt>
                <c:pt idx="6397" formatCode="0.0%">
                  <c:v>7.5574876927887835E-2</c:v>
                </c:pt>
                <c:pt idx="6398" formatCode="0.0%">
                  <c:v>7.3912768539509066E-2</c:v>
                </c:pt>
                <c:pt idx="6399" formatCode="0.0%">
                  <c:v>7.3795561035075327E-2</c:v>
                </c:pt>
                <c:pt idx="6400" formatCode="0.0%">
                  <c:v>7.4724757212114801E-2</c:v>
                </c:pt>
                <c:pt idx="6401" formatCode="0.0%">
                  <c:v>7.383214194026072E-2</c:v>
                </c:pt>
                <c:pt idx="6402" formatCode="0.0%">
                  <c:v>7.1427235138178072E-2</c:v>
                </c:pt>
                <c:pt idx="6403" formatCode="0.0%">
                  <c:v>7.2587270984102739E-2</c:v>
                </c:pt>
                <c:pt idx="6404" formatCode="0.0%">
                  <c:v>7.6387879376724102E-2</c:v>
                </c:pt>
                <c:pt idx="6405" formatCode="0.0%">
                  <c:v>7.6289379613991071E-2</c:v>
                </c:pt>
                <c:pt idx="6406" formatCode="0.0%">
                  <c:v>7.6737657291723271E-2</c:v>
                </c:pt>
                <c:pt idx="6407" formatCode="0.0%">
                  <c:v>8.2768814878080646E-2</c:v>
                </c:pt>
                <c:pt idx="6408" formatCode="0.0%">
                  <c:v>8.5827228025258856E-2</c:v>
                </c:pt>
                <c:pt idx="6409" formatCode="0.0%">
                  <c:v>8.2606754820281542E-2</c:v>
                </c:pt>
                <c:pt idx="6410" formatCode="0.0%">
                  <c:v>7.3369295207592139E-2</c:v>
                </c:pt>
                <c:pt idx="6411" formatCode="0.0%">
                  <c:v>5.8043881779813157E-2</c:v>
                </c:pt>
                <c:pt idx="6412" formatCode="0.0%">
                  <c:v>7.6989374574773409E-2</c:v>
                </c:pt>
                <c:pt idx="6413" formatCode="0.0%">
                  <c:v>8.1386672067624691E-2</c:v>
                </c:pt>
                <c:pt idx="6414" formatCode="0.0%">
                  <c:v>8.6951818356257538E-2</c:v>
                </c:pt>
                <c:pt idx="6415" formatCode="0.0%">
                  <c:v>8.274379747576649E-2</c:v>
                </c:pt>
                <c:pt idx="6416" formatCode="0.0%">
                  <c:v>8.4583359528032004E-2</c:v>
                </c:pt>
                <c:pt idx="6417" formatCode="0.0%">
                  <c:v>8.5792962141386625E-2</c:v>
                </c:pt>
                <c:pt idx="6418" formatCode="0.0%">
                  <c:v>8.6919808689326722E-2</c:v>
                </c:pt>
                <c:pt idx="6419" formatCode="0.0%">
                  <c:v>8.9500737173803913E-2</c:v>
                </c:pt>
                <c:pt idx="6420" formatCode="0.0%">
                  <c:v>9.4644414383403652E-2</c:v>
                </c:pt>
                <c:pt idx="6421" formatCode="0.0%">
                  <c:v>0.10938251350516423</c:v>
                </c:pt>
                <c:pt idx="6422" formatCode="0.0%">
                  <c:v>0.11782603324797852</c:v>
                </c:pt>
                <c:pt idx="6423" formatCode="0.0%">
                  <c:v>0.12140033744788679</c:v>
                </c:pt>
                <c:pt idx="6424" formatCode="0.0%">
                  <c:v>0.12241296382394896</c:v>
                </c:pt>
                <c:pt idx="6425" formatCode="0.0%">
                  <c:v>0.18774680871601157</c:v>
                </c:pt>
                <c:pt idx="6426" formatCode="0.0%">
                  <c:v>0.24583493620143423</c:v>
                </c:pt>
                <c:pt idx="6427" formatCode="0.0%">
                  <c:v>0.25119011032211658</c:v>
                </c:pt>
                <c:pt idx="6428" formatCode="0.0%">
                  <c:v>0.25076860943968432</c:v>
                </c:pt>
                <c:pt idx="6429" formatCode="0.0%">
                  <c:v>0.25079541832594626</c:v>
                </c:pt>
                <c:pt idx="6430" formatCode="0.0%">
                  <c:v>0.25108660173713232</c:v>
                </c:pt>
                <c:pt idx="6431" formatCode="0.0%">
                  <c:v>0.25242622971841566</c:v>
                </c:pt>
                <c:pt idx="6432" formatCode="0.0%">
                  <c:v>0.24412449028572489</c:v>
                </c:pt>
                <c:pt idx="6433" formatCode="0.0%">
                  <c:v>0.24465672793656681</c:v>
                </c:pt>
                <c:pt idx="6434" formatCode="0.0%">
                  <c:v>0.24466263624741841</c:v>
                </c:pt>
                <c:pt idx="6435" formatCode="0.0%">
                  <c:v>0.24502553421491502</c:v>
                </c:pt>
                <c:pt idx="6436" formatCode="0.0%">
                  <c:v>0.24543640901426578</c:v>
                </c:pt>
                <c:pt idx="6437" formatCode="0.0%">
                  <c:v>0.24565849770868711</c:v>
                </c:pt>
                <c:pt idx="6438" formatCode="0.0%">
                  <c:v>0.24744797967388671</c:v>
                </c:pt>
                <c:pt idx="6439" formatCode="0.0%">
                  <c:v>0.24462560685699694</c:v>
                </c:pt>
                <c:pt idx="6440" formatCode="0.0%">
                  <c:v>0.24045826024493097</c:v>
                </c:pt>
                <c:pt idx="6441" formatCode="0.0%">
                  <c:v>0.22969032528436104</c:v>
                </c:pt>
                <c:pt idx="6442" formatCode="0.0%">
                  <c:v>0.22868484032832412</c:v>
                </c:pt>
                <c:pt idx="6443" formatCode="0.0%">
                  <c:v>0.23103644848378621</c:v>
                </c:pt>
                <c:pt idx="6444" formatCode="0.0%">
                  <c:v>0.23198296658393674</c:v>
                </c:pt>
                <c:pt idx="6445" formatCode="0.0%">
                  <c:v>0.19118258264773283</c:v>
                </c:pt>
                <c:pt idx="6446" formatCode="0.0%">
                  <c:v>8.308016139129494E-2</c:v>
                </c:pt>
                <c:pt idx="6447" formatCode="0.0%">
                  <c:v>7.2040975471681187E-2</c:v>
                </c:pt>
                <c:pt idx="6448" formatCode="0.0%">
                  <c:v>7.2484166808803915E-2</c:v>
                </c:pt>
                <c:pt idx="6449" formatCode="0.0%">
                  <c:v>7.2171476044613561E-2</c:v>
                </c:pt>
                <c:pt idx="6450" formatCode="0.0%">
                  <c:v>7.3524592076408143E-2</c:v>
                </c:pt>
                <c:pt idx="6451" formatCode="0.0%">
                  <c:v>7.3111668156376056E-2</c:v>
                </c:pt>
                <c:pt idx="6452" formatCode="0.0%">
                  <c:v>7.3130034033603394E-2</c:v>
                </c:pt>
                <c:pt idx="6453" formatCode="0.0%">
                  <c:v>7.5752044505770749E-2</c:v>
                </c:pt>
                <c:pt idx="6454" formatCode="0.0%">
                  <c:v>7.6020682193616157E-2</c:v>
                </c:pt>
                <c:pt idx="6455" formatCode="0.0%">
                  <c:v>7.6279717512527184E-2</c:v>
                </c:pt>
                <c:pt idx="6456" formatCode="0.0%">
                  <c:v>7.813590460206174E-2</c:v>
                </c:pt>
                <c:pt idx="6457" formatCode="0.0%">
                  <c:v>7.5535241842601283E-2</c:v>
                </c:pt>
                <c:pt idx="6458" formatCode="0.0%">
                  <c:v>7.3772964970565763E-2</c:v>
                </c:pt>
                <c:pt idx="6459" formatCode="0.0%">
                  <c:v>7.3755885333722349E-2</c:v>
                </c:pt>
                <c:pt idx="6460" formatCode="0.0%">
                  <c:v>8.8935427748470824E-2</c:v>
                </c:pt>
                <c:pt idx="6461" formatCode="0.0%">
                  <c:v>8.6981627268944234E-2</c:v>
                </c:pt>
                <c:pt idx="6462" formatCode="0.0%">
                  <c:v>8.6526127782060536E-2</c:v>
                </c:pt>
                <c:pt idx="6463" formatCode="0.0%">
                  <c:v>8.3566723120267292E-2</c:v>
                </c:pt>
                <c:pt idx="6464" formatCode="0.0%">
                  <c:v>8.2040606184084056E-2</c:v>
                </c:pt>
                <c:pt idx="6465" formatCode="0.0%">
                  <c:v>8.2171779222299013E-2</c:v>
                </c:pt>
                <c:pt idx="6466" formatCode="0.0%">
                  <c:v>8.3548319777103391E-2</c:v>
                </c:pt>
                <c:pt idx="6467" formatCode="0.0%">
                  <c:v>8.3643360672730718E-2</c:v>
                </c:pt>
                <c:pt idx="6468" formatCode="0.0%">
                  <c:v>8.3257699670439972E-2</c:v>
                </c:pt>
                <c:pt idx="6469" formatCode="0.0%">
                  <c:v>8.5383834200669723E-2</c:v>
                </c:pt>
                <c:pt idx="6470" formatCode="0.0%">
                  <c:v>8.5084250837045669E-2</c:v>
                </c:pt>
                <c:pt idx="6471" formatCode="0.0%">
                  <c:v>8.6514363201633818E-2</c:v>
                </c:pt>
                <c:pt idx="6472" formatCode="0.0%">
                  <c:v>8.7266752360028566E-2</c:v>
                </c:pt>
                <c:pt idx="6473" formatCode="0.0%">
                  <c:v>7.7174667139762218E-2</c:v>
                </c:pt>
                <c:pt idx="6474" formatCode="0.0%">
                  <c:v>8.001376680070095E-2</c:v>
                </c:pt>
                <c:pt idx="6475" formatCode="0.0%">
                  <c:v>7.8572807627486127E-2</c:v>
                </c:pt>
                <c:pt idx="6476" formatCode="0.0%">
                  <c:v>7.4473614530084137E-2</c:v>
                </c:pt>
                <c:pt idx="6477" formatCode="0.0%">
                  <c:v>7.3006274889677314E-2</c:v>
                </c:pt>
                <c:pt idx="6478" formatCode="0.0%">
                  <c:v>7.4009783988576064E-2</c:v>
                </c:pt>
                <c:pt idx="6479" formatCode="0.0%">
                  <c:v>7.4029060283175754E-2</c:v>
                </c:pt>
                <c:pt idx="6480" formatCode="0.0%">
                  <c:v>5.9601227291329842E-2</c:v>
                </c:pt>
                <c:pt idx="6481" formatCode="0.0%">
                  <c:v>5.887930451789411E-2</c:v>
                </c:pt>
                <c:pt idx="6482" formatCode="0.0%">
                  <c:v>5.9208006622059009E-2</c:v>
                </c:pt>
                <c:pt idx="6483" formatCode="0.0%">
                  <c:v>5.3399623995192817E-2</c:v>
                </c:pt>
                <c:pt idx="6484" formatCode="0.0%">
                  <c:v>5.8172353768241793E-2</c:v>
                </c:pt>
                <c:pt idx="6485" formatCode="0.0%">
                  <c:v>5.870520620085562E-2</c:v>
                </c:pt>
                <c:pt idx="6486" formatCode="0.0%">
                  <c:v>5.7555517041482325E-2</c:v>
                </c:pt>
                <c:pt idx="6487" formatCode="0.0%">
                  <c:v>5.8367768216614421E-2</c:v>
                </c:pt>
                <c:pt idx="6488" formatCode="0.0%">
                  <c:v>6.4391127522931094E-2</c:v>
                </c:pt>
                <c:pt idx="6489" formatCode="0.0%">
                  <c:v>6.2875220660739792E-2</c:v>
                </c:pt>
                <c:pt idx="6490" formatCode="0.0%">
                  <c:v>6.4502987776423826E-2</c:v>
                </c:pt>
                <c:pt idx="6491" formatCode="0.0%">
                  <c:v>6.3156964913636551E-2</c:v>
                </c:pt>
                <c:pt idx="6492" formatCode="0.0%">
                  <c:v>6.5466765412175207E-2</c:v>
                </c:pt>
                <c:pt idx="6493" formatCode="0.0%">
                  <c:v>7.271288814341724E-2</c:v>
                </c:pt>
                <c:pt idx="6494" formatCode="0.0%">
                  <c:v>6.8560957409011108E-2</c:v>
                </c:pt>
                <c:pt idx="6495" formatCode="0.0%">
                  <c:v>7.1642292120425319E-2</c:v>
                </c:pt>
                <c:pt idx="6496" formatCode="0.0%">
                  <c:v>7.4781080680075579E-2</c:v>
                </c:pt>
                <c:pt idx="6497" formatCode="0.0%">
                  <c:v>7.4724501724652628E-2</c:v>
                </c:pt>
                <c:pt idx="6498" formatCode="0.0%">
                  <c:v>7.4709055281077283E-2</c:v>
                </c:pt>
                <c:pt idx="6499" formatCode="0.0%">
                  <c:v>7.7140385576580303E-2</c:v>
                </c:pt>
                <c:pt idx="6500" formatCode="0.0%">
                  <c:v>7.9018057826283419E-2</c:v>
                </c:pt>
                <c:pt idx="6501" formatCode="0.0%">
                  <c:v>8.1037843965042697E-2</c:v>
                </c:pt>
                <c:pt idx="6502" formatCode="0.0%">
                  <c:v>8.2177263549241625E-2</c:v>
                </c:pt>
                <c:pt idx="6503" formatCode="0.0%">
                  <c:v>8.3403109686809626E-2</c:v>
                </c:pt>
                <c:pt idx="6504" formatCode="0.0%">
                  <c:v>8.2579210182374713E-2</c:v>
                </c:pt>
                <c:pt idx="6505" formatCode="0.0%">
                  <c:v>8.2404755380727335E-2</c:v>
                </c:pt>
                <c:pt idx="6506" formatCode="0.0%">
                  <c:v>8.8123680448051842E-2</c:v>
                </c:pt>
                <c:pt idx="6507" formatCode="0.0%">
                  <c:v>8.7529563764743662E-2</c:v>
                </c:pt>
                <c:pt idx="6508" formatCode="0.0%">
                  <c:v>8.0481520419995081E-2</c:v>
                </c:pt>
                <c:pt idx="6509" formatCode="0.0%">
                  <c:v>7.8398364564009365E-2</c:v>
                </c:pt>
                <c:pt idx="6510" formatCode="0.0%">
                  <c:v>7.8052297758300845E-2</c:v>
                </c:pt>
                <c:pt idx="6511" formatCode="0.0%">
                  <c:v>7.6005479149423835E-2</c:v>
                </c:pt>
                <c:pt idx="6512" formatCode="0.0%">
                  <c:v>7.1327110970742805E-2</c:v>
                </c:pt>
                <c:pt idx="6513" formatCode="0.0%">
                  <c:v>6.8604539608659615E-2</c:v>
                </c:pt>
                <c:pt idx="6514" formatCode="0.0%">
                  <c:v>6.8586371469082683E-2</c:v>
                </c:pt>
                <c:pt idx="6515" formatCode="0.0%">
                  <c:v>7.0635498411858871E-2</c:v>
                </c:pt>
                <c:pt idx="6516" formatCode="0.0%">
                  <c:v>7.0922298629775615E-2</c:v>
                </c:pt>
                <c:pt idx="6517" formatCode="0.0%">
                  <c:v>7.1228293063818157E-2</c:v>
                </c:pt>
                <c:pt idx="6518" formatCode="0.0%">
                  <c:v>7.1389575525819982E-2</c:v>
                </c:pt>
                <c:pt idx="6519" formatCode="0.0%">
                  <c:v>6.5914171166489538E-2</c:v>
                </c:pt>
                <c:pt idx="6520" formatCode="0.0%">
                  <c:v>6.2370868192355211E-2</c:v>
                </c:pt>
                <c:pt idx="6521" formatCode="0.0%">
                  <c:v>6.4176856910575786E-2</c:v>
                </c:pt>
                <c:pt idx="6522" formatCode="0.0%">
                  <c:v>6.4221339224979412E-2</c:v>
                </c:pt>
                <c:pt idx="6523" formatCode="0.0%">
                  <c:v>6.5881757721592063E-2</c:v>
                </c:pt>
                <c:pt idx="6524" formatCode="0.0%">
                  <c:v>5.9221767295386717E-2</c:v>
                </c:pt>
                <c:pt idx="6525" formatCode="0.0%">
                  <c:v>6.1112165155728336E-2</c:v>
                </c:pt>
                <c:pt idx="6526" formatCode="0.0%">
                  <c:v>6.2169015425980474E-2</c:v>
                </c:pt>
                <c:pt idx="6527" formatCode="0.0%">
                  <c:v>6.1816201752013328E-2</c:v>
                </c:pt>
                <c:pt idx="6528" formatCode="0.0%">
                  <c:v>6.3010148096246291E-2</c:v>
                </c:pt>
                <c:pt idx="6529" formatCode="0.0%">
                  <c:v>6.2880615445217697E-2</c:v>
                </c:pt>
                <c:pt idx="6530" formatCode="0.0%">
                  <c:v>6.3108988374697819E-2</c:v>
                </c:pt>
                <c:pt idx="6531" formatCode="0.0%">
                  <c:v>5.8516952844729242E-2</c:v>
                </c:pt>
                <c:pt idx="6532" formatCode="0.0%">
                  <c:v>5.901407985351232E-2</c:v>
                </c:pt>
                <c:pt idx="6533" formatCode="0.0%">
                  <c:v>6.7835085265249132E-2</c:v>
                </c:pt>
                <c:pt idx="6534" formatCode="0.0%">
                  <c:v>6.8650789162391118E-2</c:v>
                </c:pt>
                <c:pt idx="6535" formatCode="0.0%">
                  <c:v>6.76086027649382E-2</c:v>
                </c:pt>
                <c:pt idx="6536" formatCode="0.0%">
                  <c:v>6.6516877880004405E-2</c:v>
                </c:pt>
                <c:pt idx="6537" formatCode="0.0%">
                  <c:v>6.6488816949021382E-2</c:v>
                </c:pt>
                <c:pt idx="6538" formatCode="0.0%">
                  <c:v>6.3277344179599113E-2</c:v>
                </c:pt>
                <c:pt idx="6539" formatCode="0.0%">
                  <c:v>6.3090987715612931E-2</c:v>
                </c:pt>
                <c:pt idx="6540" formatCode="0.0%">
                  <c:v>6.245830537995628E-2</c:v>
                </c:pt>
                <c:pt idx="6541" formatCode="0.0%">
                  <c:v>6.1817841022940259E-2</c:v>
                </c:pt>
                <c:pt idx="6542" formatCode="0.0%">
                  <c:v>6.2756558908333884E-2</c:v>
                </c:pt>
                <c:pt idx="6543" formatCode="0.0%">
                  <c:v>6.1015551822494025E-2</c:v>
                </c:pt>
                <c:pt idx="6544" formatCode="0.0%">
                  <c:v>6.4085731360698964E-2</c:v>
                </c:pt>
                <c:pt idx="6545" formatCode="0.0%">
                  <c:v>6.2596259652951666E-2</c:v>
                </c:pt>
                <c:pt idx="6546" formatCode="0.0%">
                  <c:v>5.0674807354063975E-2</c:v>
                </c:pt>
                <c:pt idx="6547" formatCode="0.0%">
                  <c:v>5.1487222127301238E-2</c:v>
                </c:pt>
                <c:pt idx="6548" formatCode="0.0%">
                  <c:v>5.1083683762974473E-2</c:v>
                </c:pt>
                <c:pt idx="6549" formatCode="0.0%">
                  <c:v>5.0507111247839395E-2</c:v>
                </c:pt>
                <c:pt idx="6550" formatCode="0.0%">
                  <c:v>5.6682996572085406E-2</c:v>
                </c:pt>
                <c:pt idx="6551" formatCode="0.0%">
                  <c:v>6.0879077842216203E-2</c:v>
                </c:pt>
                <c:pt idx="6552" formatCode="0.0%">
                  <c:v>6.1417723295513336E-2</c:v>
                </c:pt>
                <c:pt idx="6553" formatCode="0.0%">
                  <c:v>5.5736300556816235E-2</c:v>
                </c:pt>
                <c:pt idx="6554" formatCode="0.0%">
                  <c:v>5.5694147973898732E-2</c:v>
                </c:pt>
                <c:pt idx="6555" formatCode="0.0%">
                  <c:v>5.5268468125438001E-2</c:v>
                </c:pt>
                <c:pt idx="6556" formatCode="0.0%">
                  <c:v>6.306506502116338E-2</c:v>
                </c:pt>
                <c:pt idx="6557" formatCode="0.0%">
                  <c:v>6.7874297409876494E-2</c:v>
                </c:pt>
                <c:pt idx="6558" formatCode="0.0%">
                  <c:v>6.7102554110059304E-2</c:v>
                </c:pt>
                <c:pt idx="6559" formatCode="0.0%">
                  <c:v>6.5489852679744748E-2</c:v>
                </c:pt>
                <c:pt idx="6560" formatCode="0.0%">
                  <c:v>7.5620912034399093E-2</c:v>
                </c:pt>
                <c:pt idx="6561" formatCode="0.0%">
                  <c:v>7.6124530017686085E-2</c:v>
                </c:pt>
                <c:pt idx="6562" formatCode="0.0%">
                  <c:v>8.1637260972157802E-2</c:v>
                </c:pt>
                <c:pt idx="6563" formatCode="0.0%">
                  <c:v>8.4176500902430035E-2</c:v>
                </c:pt>
                <c:pt idx="6564" formatCode="0.0%">
                  <c:v>8.1403031475300272E-2</c:v>
                </c:pt>
                <c:pt idx="6565" formatCode="0.0%">
                  <c:v>8.1003282521359091E-2</c:v>
                </c:pt>
                <c:pt idx="6566" formatCode="0.0%">
                  <c:v>8.3392336278111948E-2</c:v>
                </c:pt>
                <c:pt idx="6567" formatCode="0.0%">
                  <c:v>8.3186717524407969E-2</c:v>
                </c:pt>
                <c:pt idx="6568" formatCode="0.0%">
                  <c:v>8.8608020106081209E-2</c:v>
                </c:pt>
                <c:pt idx="6569" formatCode="0.0%">
                  <c:v>8.847480962990853E-2</c:v>
                </c:pt>
                <c:pt idx="6570" formatCode="0.0%">
                  <c:v>8.4921646475674309E-2</c:v>
                </c:pt>
                <c:pt idx="6571" formatCode="0.0%">
                  <c:v>8.1065432123156991E-2</c:v>
                </c:pt>
                <c:pt idx="6572" formatCode="0.0%">
                  <c:v>7.9691643412814053E-2</c:v>
                </c:pt>
                <c:pt idx="6573" formatCode="0.0%">
                  <c:v>7.9134541992622626E-2</c:v>
                </c:pt>
                <c:pt idx="6574" formatCode="0.0%">
                  <c:v>8.2448630776142465E-2</c:v>
                </c:pt>
                <c:pt idx="6575" formatCode="0.0%">
                  <c:v>8.2707145536672064E-2</c:v>
                </c:pt>
                <c:pt idx="6576" formatCode="0.0%">
                  <c:v>9.1433237253293345E-2</c:v>
                </c:pt>
                <c:pt idx="6577" formatCode="0.0%">
                  <c:v>8.8458939685211471E-2</c:v>
                </c:pt>
                <c:pt idx="6578" formatCode="0.0%">
                  <c:v>8.9442905887110458E-2</c:v>
                </c:pt>
                <c:pt idx="6579" formatCode="0.0%">
                  <c:v>8.947495077816621E-2</c:v>
                </c:pt>
                <c:pt idx="6580" formatCode="0.0%">
                  <c:v>7.9716936476466133E-2</c:v>
                </c:pt>
                <c:pt idx="6581" formatCode="0.0%">
                  <c:v>8.1914012741610448E-2</c:v>
                </c:pt>
                <c:pt idx="6582" formatCode="0.0%">
                  <c:v>7.7740646355995757E-2</c:v>
                </c:pt>
                <c:pt idx="6583" formatCode="0.0%">
                  <c:v>7.6225472674999628E-2</c:v>
                </c:pt>
                <c:pt idx="6584" formatCode="0.0%">
                  <c:v>7.9230890819955865E-2</c:v>
                </c:pt>
                <c:pt idx="6585" formatCode="0.0%">
                  <c:v>8.2401298240581664E-2</c:v>
                </c:pt>
                <c:pt idx="6586" formatCode="0.0%">
                  <c:v>8.3654677867208774E-2</c:v>
                </c:pt>
                <c:pt idx="6587" formatCode="0.0%">
                  <c:v>8.7175766346376249E-2</c:v>
                </c:pt>
                <c:pt idx="6588" formatCode="0.0%">
                  <c:v>8.194240680390788E-2</c:v>
                </c:pt>
                <c:pt idx="6589" formatCode="0.0%">
                  <c:v>8.1720931017444945E-2</c:v>
                </c:pt>
                <c:pt idx="6590" formatCode="0.0%">
                  <c:v>8.2264646892069443E-2</c:v>
                </c:pt>
                <c:pt idx="6591" formatCode="0.0%">
                  <c:v>8.2426067063832792E-2</c:v>
                </c:pt>
                <c:pt idx="6592" formatCode="0.0%">
                  <c:v>8.3397419768418801E-2</c:v>
                </c:pt>
                <c:pt idx="6593" formatCode="0.0%">
                  <c:v>8.3439488416149468E-2</c:v>
                </c:pt>
                <c:pt idx="6594" formatCode="0.0%">
                  <c:v>8.1800797304869444E-2</c:v>
                </c:pt>
                <c:pt idx="6595" formatCode="0.0%">
                  <c:v>8.4255702080690956E-2</c:v>
                </c:pt>
                <c:pt idx="6596" formatCode="0.0%">
                  <c:v>7.3132832897195355E-2</c:v>
                </c:pt>
                <c:pt idx="6597" formatCode="0.0%">
                  <c:v>7.3934060553521433E-2</c:v>
                </c:pt>
                <c:pt idx="6598" formatCode="0.0%">
                  <c:v>7.3119936570069641E-2</c:v>
                </c:pt>
                <c:pt idx="6599" formatCode="0.0%">
                  <c:v>7.3686882513538762E-2</c:v>
                </c:pt>
                <c:pt idx="6600" formatCode="0.0%">
                  <c:v>7.3875885366292915E-2</c:v>
                </c:pt>
                <c:pt idx="6601" formatCode="0.0%">
                  <c:v>7.0832984842798846E-2</c:v>
                </c:pt>
                <c:pt idx="6602" formatCode="0.0%">
                  <c:v>7.124062442382291E-2</c:v>
                </c:pt>
                <c:pt idx="6603" formatCode="0.0%">
                  <c:v>0.10912938415582707</c:v>
                </c:pt>
                <c:pt idx="6604" formatCode="0.0%">
                  <c:v>0.11046722707936188</c:v>
                </c:pt>
                <c:pt idx="6605" formatCode="0.0%">
                  <c:v>0.10919540283502149</c:v>
                </c:pt>
                <c:pt idx="6606" formatCode="0.0%">
                  <c:v>0.11211698398985766</c:v>
                </c:pt>
                <c:pt idx="6607" formatCode="0.0%">
                  <c:v>0.10789639647182273</c:v>
                </c:pt>
                <c:pt idx="6608" formatCode="0.0%">
                  <c:v>0.11113480642305905</c:v>
                </c:pt>
                <c:pt idx="6609" formatCode="0.0%">
                  <c:v>0.11410292928447562</c:v>
                </c:pt>
                <c:pt idx="6610" formatCode="0.0%">
                  <c:v>0.11328079329559314</c:v>
                </c:pt>
                <c:pt idx="6611" formatCode="0.0%">
                  <c:v>0.11305223089089293</c:v>
                </c:pt>
                <c:pt idx="6612" formatCode="0.0%">
                  <c:v>0.11118817388569477</c:v>
                </c:pt>
                <c:pt idx="6613" formatCode="0.0%">
                  <c:v>0.11120402316984462</c:v>
                </c:pt>
                <c:pt idx="6614" formatCode="0.0%">
                  <c:v>0.11091244499071692</c:v>
                </c:pt>
                <c:pt idx="6615" formatCode="0.0%">
                  <c:v>0.10809464565659599</c:v>
                </c:pt>
                <c:pt idx="6616" formatCode="0.0%">
                  <c:v>0.10725509173160454</c:v>
                </c:pt>
                <c:pt idx="6617" formatCode="0.0%">
                  <c:v>0.10633756591827667</c:v>
                </c:pt>
                <c:pt idx="6618" formatCode="0.0%">
                  <c:v>0.10777666764069557</c:v>
                </c:pt>
                <c:pt idx="6619" formatCode="0.0%">
                  <c:v>0.11131505983993407</c:v>
                </c:pt>
                <c:pt idx="6620" formatCode="0.0%">
                  <c:v>0.11130419943987564</c:v>
                </c:pt>
                <c:pt idx="6621" formatCode="0.0%">
                  <c:v>0.1199301230532803</c:v>
                </c:pt>
                <c:pt idx="6622" formatCode="0.0%">
                  <c:v>0.12388751340078702</c:v>
                </c:pt>
                <c:pt idx="6623" formatCode="0.0%">
                  <c:v>8.4820900064964899E-2</c:v>
                </c:pt>
                <c:pt idx="6624" formatCode="0.0%">
                  <c:v>7.7938450053907371E-2</c:v>
                </c:pt>
                <c:pt idx="6625" formatCode="0.0%">
                  <c:v>7.7895989778377681E-2</c:v>
                </c:pt>
                <c:pt idx="6626" formatCode="0.0%">
                  <c:v>7.6279150909873417E-2</c:v>
                </c:pt>
                <c:pt idx="6627" formatCode="0.0%">
                  <c:v>7.9077738608310869E-2</c:v>
                </c:pt>
                <c:pt idx="6628" formatCode="0.0%">
                  <c:v>7.6911986258770201E-2</c:v>
                </c:pt>
                <c:pt idx="6629" formatCode="0.0%">
                  <c:v>7.4673064212190887E-2</c:v>
                </c:pt>
                <c:pt idx="6630" formatCode="0.0%">
                  <c:v>7.61623558948024E-2</c:v>
                </c:pt>
                <c:pt idx="6631" formatCode="0.0%">
                  <c:v>7.7734292859415355E-2</c:v>
                </c:pt>
                <c:pt idx="6632" formatCode="0.0%">
                  <c:v>8.0837221435701795E-2</c:v>
                </c:pt>
                <c:pt idx="6633" formatCode="0.0%">
                  <c:v>8.272031593173032E-2</c:v>
                </c:pt>
                <c:pt idx="6634" formatCode="0.0%">
                  <c:v>8.5743481766907104E-2</c:v>
                </c:pt>
                <c:pt idx="6635" formatCode="0.0%">
                  <c:v>8.5235384238073128E-2</c:v>
                </c:pt>
                <c:pt idx="6636" formatCode="0.0%">
                  <c:v>8.4105793374907103E-2</c:v>
                </c:pt>
                <c:pt idx="6637" formatCode="0.0%">
                  <c:v>8.5266550028386262E-2</c:v>
                </c:pt>
                <c:pt idx="6638" formatCode="0.0%">
                  <c:v>8.4508765704444461E-2</c:v>
                </c:pt>
                <c:pt idx="6639" formatCode="0.0%">
                  <c:v>7.6943807194383887E-2</c:v>
                </c:pt>
                <c:pt idx="6640" formatCode="0.0%">
                  <c:v>7.7432005436969056E-2</c:v>
                </c:pt>
                <c:pt idx="6641" formatCode="0.0%">
                  <c:v>6.7677916006225594E-2</c:v>
                </c:pt>
                <c:pt idx="6642" formatCode="0.0%">
                  <c:v>6.0703875653288088E-2</c:v>
                </c:pt>
                <c:pt idx="6643" formatCode="0.0%">
                  <c:v>6.1334336444436234E-2</c:v>
                </c:pt>
                <c:pt idx="6644" formatCode="0.0%">
                  <c:v>6.4516205222079806E-2</c:v>
                </c:pt>
                <c:pt idx="6645" formatCode="0.0%">
                  <c:v>7.8654953072371012E-2</c:v>
                </c:pt>
                <c:pt idx="6646" formatCode="0.0%">
                  <c:v>8.4866355760529297E-2</c:v>
                </c:pt>
                <c:pt idx="6647" formatCode="0.0%">
                  <c:v>8.8728311636061402E-2</c:v>
                </c:pt>
                <c:pt idx="6648" formatCode="0.0%">
                  <c:v>9.6677769052409809E-2</c:v>
                </c:pt>
                <c:pt idx="6649" formatCode="0.0%">
                  <c:v>9.8025275518557067E-2</c:v>
                </c:pt>
                <c:pt idx="6650" formatCode="0.0%">
                  <c:v>9.6966858562413091E-2</c:v>
                </c:pt>
                <c:pt idx="6651" formatCode="0.0%">
                  <c:v>0.10158672410705055</c:v>
                </c:pt>
                <c:pt idx="6652" formatCode="0.0%">
                  <c:v>9.8702669237471397E-2</c:v>
                </c:pt>
                <c:pt idx="6653" formatCode="0.0%">
                  <c:v>9.7939209096607527E-2</c:v>
                </c:pt>
                <c:pt idx="6654" formatCode="0.0%">
                  <c:v>9.5183430424163301E-2</c:v>
                </c:pt>
                <c:pt idx="6655" formatCode="0.0%">
                  <c:v>9.5183665950480723E-2</c:v>
                </c:pt>
                <c:pt idx="6656" formatCode="0.0%">
                  <c:v>9.955986785154497E-2</c:v>
                </c:pt>
                <c:pt idx="6657" formatCode="0.0%">
                  <c:v>9.9514891285426371E-2</c:v>
                </c:pt>
                <c:pt idx="6658" formatCode="0.0%">
                  <c:v>0.10302072329218132</c:v>
                </c:pt>
                <c:pt idx="6659" formatCode="0.0%">
                  <c:v>0.10259703469478516</c:v>
                </c:pt>
                <c:pt idx="6660" formatCode="0.0%">
                  <c:v>0.10055760758910373</c:v>
                </c:pt>
                <c:pt idx="6661" formatCode="0.0%">
                  <c:v>0.10516166917414896</c:v>
                </c:pt>
                <c:pt idx="6662" formatCode="0.0%">
                  <c:v>0.11995659754773366</c:v>
                </c:pt>
                <c:pt idx="6663" formatCode="0.0%">
                  <c:v>0.12398011720465338</c:v>
                </c:pt>
                <c:pt idx="6664" formatCode="0.0%">
                  <c:v>0.1275040232048999</c:v>
                </c:pt>
                <c:pt idx="6665" formatCode="0.0%">
                  <c:v>0.12258426785650788</c:v>
                </c:pt>
                <c:pt idx="6666" formatCode="0.0%">
                  <c:v>0.11921023149499423</c:v>
                </c:pt>
                <c:pt idx="6667" formatCode="0.0%">
                  <c:v>0.11598066999371189</c:v>
                </c:pt>
                <c:pt idx="6668" formatCode="0.0%">
                  <c:v>0.10869018872222679</c:v>
                </c:pt>
                <c:pt idx="6669" formatCode="0.0%">
                  <c:v>0.10816888390620152</c:v>
                </c:pt>
                <c:pt idx="6670" formatCode="0.0%">
                  <c:v>0.11170664212082702</c:v>
                </c:pt>
                <c:pt idx="6671" formatCode="0.0%">
                  <c:v>0.10671376297029257</c:v>
                </c:pt>
                <c:pt idx="6672" formatCode="0.0%">
                  <c:v>0.1064817460968908</c:v>
                </c:pt>
                <c:pt idx="6673" formatCode="0.0%">
                  <c:v>0.10789936551377471</c:v>
                </c:pt>
                <c:pt idx="6674" formatCode="0.0%">
                  <c:v>0.1108870041897623</c:v>
                </c:pt>
                <c:pt idx="6675" formatCode="0.0%">
                  <c:v>0.11241575040135852</c:v>
                </c:pt>
                <c:pt idx="6676" formatCode="0.0%">
                  <c:v>0.11108401949686345</c:v>
                </c:pt>
                <c:pt idx="6677" formatCode="0.0%">
                  <c:v>0.11064913966285148</c:v>
                </c:pt>
                <c:pt idx="6678" formatCode="0.0%">
                  <c:v>0.10613946602922533</c:v>
                </c:pt>
                <c:pt idx="6679" formatCode="0.0%">
                  <c:v>0.10546420549089848</c:v>
                </c:pt>
                <c:pt idx="6680" formatCode="0.0%">
                  <c:v>0.10553626914026562</c:v>
                </c:pt>
                <c:pt idx="6681" formatCode="0.0%">
                  <c:v>9.3560831566071187E-2</c:v>
                </c:pt>
                <c:pt idx="6682" formatCode="0.0%">
                  <c:v>6.3465504984639806E-2</c:v>
                </c:pt>
                <c:pt idx="6683" formatCode="0.0%">
                  <c:v>7.2009718558751698E-2</c:v>
                </c:pt>
                <c:pt idx="6684" formatCode="0.0%">
                  <c:v>7.1906565257105134E-2</c:v>
                </c:pt>
                <c:pt idx="6685" formatCode="0.0%">
                  <c:v>7.0640274203140146E-2</c:v>
                </c:pt>
                <c:pt idx="6686" formatCode="0.0%">
                  <c:v>7.0524104158716502E-2</c:v>
                </c:pt>
                <c:pt idx="6687" formatCode="0.0%">
                  <c:v>6.9970158008860001E-2</c:v>
                </c:pt>
                <c:pt idx="6688" formatCode="0.0%">
                  <c:v>7.238579547588872E-2</c:v>
                </c:pt>
                <c:pt idx="6689" formatCode="0.0%">
                  <c:v>7.3531799670579573E-2</c:v>
                </c:pt>
                <c:pt idx="6690" formatCode="0.0%">
                  <c:v>7.9245563886099893E-2</c:v>
                </c:pt>
                <c:pt idx="6691" formatCode="0.0%">
                  <c:v>8.1133147530196667E-2</c:v>
                </c:pt>
                <c:pt idx="6692" formatCode="0.0%">
                  <c:v>8.1292779753442818E-2</c:v>
                </c:pt>
                <c:pt idx="6693" formatCode="0.0%">
                  <c:v>9.3242141340956805E-2</c:v>
                </c:pt>
                <c:pt idx="6694" formatCode="0.0%">
                  <c:v>9.1427339999152035E-2</c:v>
                </c:pt>
                <c:pt idx="6695" formatCode="0.0%">
                  <c:v>9.0795896352593219E-2</c:v>
                </c:pt>
                <c:pt idx="6696" formatCode="0.0%">
                  <c:v>8.7880830327456652E-2</c:v>
                </c:pt>
                <c:pt idx="6697" formatCode="0.0%">
                  <c:v>8.9511282135655471E-2</c:v>
                </c:pt>
                <c:pt idx="6698" formatCode="0.0%">
                  <c:v>8.7364225499032583E-2</c:v>
                </c:pt>
                <c:pt idx="6699" formatCode="0.0%">
                  <c:v>8.3498416699148162E-2</c:v>
                </c:pt>
                <c:pt idx="6700" formatCode="0.0%">
                  <c:v>8.3497264079908151E-2</c:v>
                </c:pt>
                <c:pt idx="6701" formatCode="0.0%">
                  <c:v>8.0670232298827194E-2</c:v>
                </c:pt>
                <c:pt idx="6702" formatCode="0.0%">
                  <c:v>7.9689691041922112E-2</c:v>
                </c:pt>
                <c:pt idx="6703" formatCode="0.0%">
                  <c:v>7.8593400524531162E-2</c:v>
                </c:pt>
                <c:pt idx="6704" formatCode="0.0%">
                  <c:v>8.1086080455979453E-2</c:v>
                </c:pt>
                <c:pt idx="6705" formatCode="0.0%">
                  <c:v>7.917446864947332E-2</c:v>
                </c:pt>
                <c:pt idx="6706" formatCode="0.0%">
                  <c:v>0.10796373909982139</c:v>
                </c:pt>
                <c:pt idx="6707" formatCode="0.0%">
                  <c:v>0.11517684835792738</c:v>
                </c:pt>
                <c:pt idx="6708" formatCode="0.0%">
                  <c:v>0.11557025394708743</c:v>
                </c:pt>
                <c:pt idx="6709" formatCode="0.0%">
                  <c:v>0.12023532754613375</c:v>
                </c:pt>
                <c:pt idx="6710" formatCode="0.0%">
                  <c:v>0.11641245499091472</c:v>
                </c:pt>
                <c:pt idx="6711" formatCode="0.0%">
                  <c:v>0.11482576394365245</c:v>
                </c:pt>
                <c:pt idx="6712" formatCode="0.0%">
                  <c:v>0.11749693386796722</c:v>
                </c:pt>
                <c:pt idx="6713" formatCode="0.0%">
                  <c:v>0.10525164620455402</c:v>
                </c:pt>
                <c:pt idx="6714" formatCode="0.0%">
                  <c:v>0.10261720327525904</c:v>
                </c:pt>
                <c:pt idx="6715" formatCode="0.0%">
                  <c:v>0.10254543674732845</c:v>
                </c:pt>
                <c:pt idx="6716" formatCode="0.0%">
                  <c:v>0.10259182014859029</c:v>
                </c:pt>
                <c:pt idx="6717" formatCode="0.0%">
                  <c:v>0.10445596912234076</c:v>
                </c:pt>
                <c:pt idx="6718" formatCode="0.0%">
                  <c:v>0.10397537773431594</c:v>
                </c:pt>
                <c:pt idx="6719" formatCode="0.0%">
                  <c:v>0.10389092244512858</c:v>
                </c:pt>
                <c:pt idx="6720" formatCode="0.0%">
                  <c:v>0.10700745237916692</c:v>
                </c:pt>
                <c:pt idx="6721" formatCode="0.0%">
                  <c:v>0.10637468325003177</c:v>
                </c:pt>
                <c:pt idx="6722" formatCode="0.0%">
                  <c:v>0.10849845884804681</c:v>
                </c:pt>
                <c:pt idx="6723" formatCode="0.0%">
                  <c:v>0.10533040309907778</c:v>
                </c:pt>
                <c:pt idx="6724" formatCode="0.0%">
                  <c:v>0.10877921270813362</c:v>
                </c:pt>
                <c:pt idx="6725" formatCode="0.0%">
                  <c:v>0.11584947074866271</c:v>
                </c:pt>
                <c:pt idx="6726" formatCode="0.0%">
                  <c:v>9.7768113641020088E-2</c:v>
                </c:pt>
                <c:pt idx="6727" formatCode="0.0%">
                  <c:v>9.4962011531527293E-2</c:v>
                </c:pt>
                <c:pt idx="6728" formatCode="0.0%">
                  <c:v>9.4116719104963595E-2</c:v>
                </c:pt>
                <c:pt idx="6729" formatCode="0.0%">
                  <c:v>9.1281410091583429E-2</c:v>
                </c:pt>
                <c:pt idx="6730" formatCode="0.0%">
                  <c:v>9.2545945158243714E-2</c:v>
                </c:pt>
                <c:pt idx="6731" formatCode="0.0%">
                  <c:v>9.6099275916133153E-2</c:v>
                </c:pt>
                <c:pt idx="6732" formatCode="0.0%">
                  <c:v>9.5131525394775124E-2</c:v>
                </c:pt>
                <c:pt idx="6733" formatCode="0.0%">
                  <c:v>9.5147426223606682E-2</c:v>
                </c:pt>
                <c:pt idx="6734" formatCode="0.0%">
                  <c:v>9.9104017720614349E-2</c:v>
                </c:pt>
                <c:pt idx="6735" formatCode="0.0%">
                  <c:v>0.10041283728874779</c:v>
                </c:pt>
                <c:pt idx="6736" formatCode="0.0%">
                  <c:v>0.10559720283602762</c:v>
                </c:pt>
                <c:pt idx="6737" formatCode="0.0%">
                  <c:v>0.10175150596687808</c:v>
                </c:pt>
                <c:pt idx="6738" formatCode="0.0%">
                  <c:v>0.10398531278118583</c:v>
                </c:pt>
                <c:pt idx="6739" formatCode="0.0%">
                  <c:v>0.10399344546675639</c:v>
                </c:pt>
                <c:pt idx="6740" formatCode="0.0%">
                  <c:v>9.6660377160669206E-2</c:v>
                </c:pt>
                <c:pt idx="6741" formatCode="0.0%">
                  <c:v>9.5725009871894723E-2</c:v>
                </c:pt>
                <c:pt idx="6742" formatCode="0.0%">
                  <c:v>9.7367818972005041E-2</c:v>
                </c:pt>
                <c:pt idx="6743" formatCode="0.0%">
                  <c:v>0.10286656242609733</c:v>
                </c:pt>
                <c:pt idx="6744" formatCode="0.0%">
                  <c:v>9.8938748781810706E-2</c:v>
                </c:pt>
                <c:pt idx="6745" formatCode="0.0%">
                  <c:v>9.2866936395787983E-2</c:v>
                </c:pt>
                <c:pt idx="6746" formatCode="0.0%">
                  <c:v>9.3439454545084372E-2</c:v>
                </c:pt>
                <c:pt idx="6747" formatCode="0.0%">
                  <c:v>0.11257021035268316</c:v>
                </c:pt>
                <c:pt idx="6748" formatCode="0.0%">
                  <c:v>0.11904981293698744</c:v>
                </c:pt>
                <c:pt idx="6749" formatCode="0.0%">
                  <c:v>0.15312760442417164</c:v>
                </c:pt>
                <c:pt idx="6750" formatCode="0.0%">
                  <c:v>0.16136577090783097</c:v>
                </c:pt>
                <c:pt idx="6751" formatCode="0.0%">
                  <c:v>0.16253900748202055</c:v>
                </c:pt>
                <c:pt idx="6752" formatCode="0.0%">
                  <c:v>0.1669192032016199</c:v>
                </c:pt>
                <c:pt idx="6753" formatCode="0.0%">
                  <c:v>0.1677808317023422</c:v>
                </c:pt>
                <c:pt idx="6754" formatCode="0.0%">
                  <c:v>0.16561836171876318</c:v>
                </c:pt>
                <c:pt idx="6755" formatCode="0.0%">
                  <c:v>0.16608546955446568</c:v>
                </c:pt>
                <c:pt idx="6756" formatCode="0.0%">
                  <c:v>0.16328816177371594</c:v>
                </c:pt>
                <c:pt idx="6757" formatCode="0.0%">
                  <c:v>0.17849932048214076</c:v>
                </c:pt>
                <c:pt idx="6758" formatCode="0.0%">
                  <c:v>0.17697398034632669</c:v>
                </c:pt>
                <c:pt idx="6759" formatCode="0.0%">
                  <c:v>0.17784622537740663</c:v>
                </c:pt>
                <c:pt idx="6760" formatCode="0.0%">
                  <c:v>0.17887265731790278</c:v>
                </c:pt>
                <c:pt idx="6761" formatCode="0.0%">
                  <c:v>0.18174321489129402</c:v>
                </c:pt>
                <c:pt idx="6762" formatCode="0.0%">
                  <c:v>0.17897068244361136</c:v>
                </c:pt>
                <c:pt idx="6763" formatCode="0.0%">
                  <c:v>0.17536421005298949</c:v>
                </c:pt>
                <c:pt idx="6764" formatCode="0.0%">
                  <c:v>0.1781517538475349</c:v>
                </c:pt>
                <c:pt idx="6765" formatCode="0.0%">
                  <c:v>0.17817123231828197</c:v>
                </c:pt>
                <c:pt idx="6766" formatCode="0.0%">
                  <c:v>0.17767380403483407</c:v>
                </c:pt>
                <c:pt idx="6767" formatCode="0.0%">
                  <c:v>0.16605230761666862</c:v>
                </c:pt>
                <c:pt idx="6768" formatCode="0.0%">
                  <c:v>0.16290050200250544</c:v>
                </c:pt>
                <c:pt idx="6769" formatCode="0.0%">
                  <c:v>0.13338125719255448</c:v>
                </c:pt>
                <c:pt idx="6770" formatCode="0.0%">
                  <c:v>0.12333169079223723</c:v>
                </c:pt>
                <c:pt idx="6771" formatCode="0.0%">
                  <c:v>0.12900080316789009</c:v>
                </c:pt>
                <c:pt idx="6772" formatCode="0.0%">
                  <c:v>0.12281943152751647</c:v>
                </c:pt>
                <c:pt idx="6773" formatCode="0.0%">
                  <c:v>0.13340001290374784</c:v>
                </c:pt>
                <c:pt idx="6774" formatCode="0.0%">
                  <c:v>0.13468289457725358</c:v>
                </c:pt>
                <c:pt idx="6775" formatCode="0.0%">
                  <c:v>0.13521406427052143</c:v>
                </c:pt>
                <c:pt idx="6776" formatCode="0.0%">
                  <c:v>0.13302768717273103</c:v>
                </c:pt>
                <c:pt idx="6777" formatCode="0.0%">
                  <c:v>0.10963391733889215</c:v>
                </c:pt>
                <c:pt idx="6778" formatCode="0.0%">
                  <c:v>0.1095600476923186</c:v>
                </c:pt>
                <c:pt idx="6779" formatCode="0.0%">
                  <c:v>0.11149521127136922</c:v>
                </c:pt>
                <c:pt idx="6780" formatCode="0.0%">
                  <c:v>0.11116980230154112</c:v>
                </c:pt>
                <c:pt idx="6781" formatCode="0.0%">
                  <c:v>0.10858682551637379</c:v>
                </c:pt>
                <c:pt idx="6782" formatCode="0.0%">
                  <c:v>0.10913066039990353</c:v>
                </c:pt>
                <c:pt idx="6783" formatCode="0.0%">
                  <c:v>0.1092842121372498</c:v>
                </c:pt>
                <c:pt idx="6784" formatCode="0.0%">
                  <c:v>0.1047344534741549</c:v>
                </c:pt>
                <c:pt idx="6785" formatCode="0.0%">
                  <c:v>0.1050442178765105</c:v>
                </c:pt>
                <c:pt idx="6786" formatCode="0.0%">
                  <c:v>0.10483641764365172</c:v>
                </c:pt>
                <c:pt idx="6787" formatCode="0.0%">
                  <c:v>9.6145752334996726E-2</c:v>
                </c:pt>
                <c:pt idx="6788" formatCode="0.0%">
                  <c:v>0.10043173281760218</c:v>
                </c:pt>
                <c:pt idx="6789" formatCode="0.0%">
                  <c:v>0.10010034492413517</c:v>
                </c:pt>
                <c:pt idx="6790" formatCode="0.0%">
                  <c:v>9.9464229045954672E-2</c:v>
                </c:pt>
                <c:pt idx="6791" formatCode="0.0%">
                  <c:v>9.1065602970087478E-2</c:v>
                </c:pt>
                <c:pt idx="6792" formatCode="0.0%">
                  <c:v>0.11417933880455335</c:v>
                </c:pt>
                <c:pt idx="6793" formatCode="0.0%">
                  <c:v>0.10915871482825956</c:v>
                </c:pt>
                <c:pt idx="6794" formatCode="0.0%">
                  <c:v>0.10769851095024045</c:v>
                </c:pt>
                <c:pt idx="6795" formatCode="0.0%">
                  <c:v>0.11757024265609139</c:v>
                </c:pt>
                <c:pt idx="6796" formatCode="0.0%">
                  <c:v>0.14125494107187067</c:v>
                </c:pt>
                <c:pt idx="6797" formatCode="0.0%">
                  <c:v>0.16438299169340895</c:v>
                </c:pt>
                <c:pt idx="6798" formatCode="0.0%">
                  <c:v>0.16751553319686341</c:v>
                </c:pt>
                <c:pt idx="6799" formatCode="0.0%">
                  <c:v>0.16829571333583443</c:v>
                </c:pt>
                <c:pt idx="6800" formatCode="0.0%">
                  <c:v>0.1682445841100772</c:v>
                </c:pt>
                <c:pt idx="6801" formatCode="0.0%">
                  <c:v>0.16910404323602526</c:v>
                </c:pt>
                <c:pt idx="6802" formatCode="0.0%">
                  <c:v>0.17113153620446359</c:v>
                </c:pt>
                <c:pt idx="6803" formatCode="0.0%">
                  <c:v>0.1780506958724013</c:v>
                </c:pt>
                <c:pt idx="6804" formatCode="0.0%">
                  <c:v>0.17916955475852792</c:v>
                </c:pt>
                <c:pt idx="6805" formatCode="0.0%">
                  <c:v>0.17904807667979</c:v>
                </c:pt>
                <c:pt idx="6806" formatCode="0.0%">
                  <c:v>0.17871468011427619</c:v>
                </c:pt>
                <c:pt idx="6807" formatCode="0.0%">
                  <c:v>0.17859744648404247</c:v>
                </c:pt>
                <c:pt idx="6808" formatCode="0.0%">
                  <c:v>0.17828034210427518</c:v>
                </c:pt>
                <c:pt idx="6809" formatCode="0.0%">
                  <c:v>0.17771016436113943</c:v>
                </c:pt>
                <c:pt idx="6810" formatCode="0.0%">
                  <c:v>0.18031204994626268</c:v>
                </c:pt>
                <c:pt idx="6811" formatCode="0.0%">
                  <c:v>0.17934384152302216</c:v>
                </c:pt>
                <c:pt idx="6812" formatCode="0.0%">
                  <c:v>0.16727600873321832</c:v>
                </c:pt>
                <c:pt idx="6813" formatCode="0.0%">
                  <c:v>0.16260246602522041</c:v>
                </c:pt>
                <c:pt idx="6814" formatCode="0.0%">
                  <c:v>0.16199658320348548</c:v>
                </c:pt>
                <c:pt idx="6815" formatCode="0.0%">
                  <c:v>0.14626829992004817</c:v>
                </c:pt>
                <c:pt idx="6816" formatCode="0.0%">
                  <c:v>0.10790754776774845</c:v>
                </c:pt>
                <c:pt idx="6817" formatCode="0.0%">
                  <c:v>8.5979743924458812E-2</c:v>
                </c:pt>
                <c:pt idx="6818" formatCode="0.0%">
                  <c:v>8.4091481267410437E-2</c:v>
                </c:pt>
                <c:pt idx="6819" formatCode="0.0%">
                  <c:v>8.4255130410636439E-2</c:v>
                </c:pt>
                <c:pt idx="6820" formatCode="0.0%">
                  <c:v>8.6517995908418702E-2</c:v>
                </c:pt>
                <c:pt idx="6821" formatCode="0.0%">
                  <c:v>8.1079671408321202E-2</c:v>
                </c:pt>
                <c:pt idx="6822" formatCode="0.0%">
                  <c:v>8.0419645508883905E-2</c:v>
                </c:pt>
                <c:pt idx="6823" formatCode="0.0%">
                  <c:v>7.1204025505973559E-2</c:v>
                </c:pt>
                <c:pt idx="6824" formatCode="0.0%">
                  <c:v>7.6828329424452474E-2</c:v>
                </c:pt>
                <c:pt idx="6825" formatCode="0.0%">
                  <c:v>7.6901344520204543E-2</c:v>
                </c:pt>
                <c:pt idx="6826" formatCode="0.0%">
                  <c:v>7.5536468735132381E-2</c:v>
                </c:pt>
                <c:pt idx="6827" formatCode="0.0%">
                  <c:v>7.9655332240778698E-2</c:v>
                </c:pt>
                <c:pt idx="6828" formatCode="0.0%">
                  <c:v>8.4146806441192476E-2</c:v>
                </c:pt>
                <c:pt idx="6829" formatCode="0.0%">
                  <c:v>8.6665700751462571E-2</c:v>
                </c:pt>
                <c:pt idx="6830" formatCode="0.0%">
                  <c:v>8.1088036473858663E-2</c:v>
                </c:pt>
                <c:pt idx="6831" formatCode="0.0%">
                  <c:v>8.7767046430874004E-2</c:v>
                </c:pt>
                <c:pt idx="6832" formatCode="0.0%">
                  <c:v>8.5686597124038907E-2</c:v>
                </c:pt>
                <c:pt idx="6833" formatCode="0.0%">
                  <c:v>8.6693793813266071E-2</c:v>
                </c:pt>
                <c:pt idx="6834" formatCode="0.0%">
                  <c:v>8.5688470502827782E-2</c:v>
                </c:pt>
                <c:pt idx="6835" formatCode="0.0%">
                  <c:v>8.5393645180625463E-2</c:v>
                </c:pt>
                <c:pt idx="6836" formatCode="0.0%">
                  <c:v>8.3613694140095771E-2</c:v>
                </c:pt>
                <c:pt idx="6837" formatCode="0.0%">
                  <c:v>9.3148385318543678E-2</c:v>
                </c:pt>
                <c:pt idx="6838" formatCode="0.0%">
                  <c:v>9.4623065292305047E-2</c:v>
                </c:pt>
                <c:pt idx="6839" formatCode="0.0%">
                  <c:v>9.6295768956573213E-2</c:v>
                </c:pt>
                <c:pt idx="6840" formatCode="0.0%">
                  <c:v>9.7356807145168686E-2</c:v>
                </c:pt>
                <c:pt idx="6841" formatCode="0.0%">
                  <c:v>9.7354808850045355E-2</c:v>
                </c:pt>
                <c:pt idx="6842" formatCode="0.0%">
                  <c:v>0.10314407930183232</c:v>
                </c:pt>
                <c:pt idx="6843" formatCode="0.0%">
                  <c:v>0.10578000811593817</c:v>
                </c:pt>
                <c:pt idx="6844" formatCode="0.0%">
                  <c:v>0.10575682323952812</c:v>
                </c:pt>
                <c:pt idx="6845" formatCode="0.0%">
                  <c:v>0.10759290750267472</c:v>
                </c:pt>
                <c:pt idx="6846" formatCode="0.0%">
                  <c:v>0.10520005391227669</c:v>
                </c:pt>
                <c:pt idx="6847" formatCode="0.0%">
                  <c:v>0.10536471397083298</c:v>
                </c:pt>
                <c:pt idx="6848" formatCode="0.0%">
                  <c:v>0.10041590505353572</c:v>
                </c:pt>
                <c:pt idx="6849" formatCode="0.0%">
                  <c:v>9.7100571780089046E-2</c:v>
                </c:pt>
                <c:pt idx="6850" formatCode="0.0%">
                  <c:v>9.6778455208519368E-2</c:v>
                </c:pt>
                <c:pt idx="6851" formatCode="0.0%">
                  <c:v>9.1084866557497424E-2</c:v>
                </c:pt>
                <c:pt idx="6852" formatCode="0.0%">
                  <c:v>9.1408360765901295E-2</c:v>
                </c:pt>
                <c:pt idx="6853" formatCode="0.0%">
                  <c:v>9.3383723696431054E-2</c:v>
                </c:pt>
                <c:pt idx="6854" formatCode="0.0%">
                  <c:v>9.715326114141451E-2</c:v>
                </c:pt>
                <c:pt idx="6855" formatCode="0.0%">
                  <c:v>9.9392518929910356E-2</c:v>
                </c:pt>
                <c:pt idx="6856" formatCode="0.0%">
                  <c:v>0.10022075494670016</c:v>
                </c:pt>
                <c:pt idx="6857" formatCode="0.0%">
                  <c:v>9.1570133096559272E-2</c:v>
                </c:pt>
                <c:pt idx="6858" formatCode="0.0%">
                  <c:v>8.7538309403432032E-2</c:v>
                </c:pt>
                <c:pt idx="6859" formatCode="0.0%">
                  <c:v>8.9812325322885786E-2</c:v>
                </c:pt>
                <c:pt idx="6860" formatCode="0.0%">
                  <c:v>7.4705038319146558E-2</c:v>
                </c:pt>
                <c:pt idx="6861" formatCode="0.0%">
                  <c:v>7.4346212932108108E-2</c:v>
                </c:pt>
                <c:pt idx="6862" formatCode="0.0%">
                  <c:v>7.2660976279352182E-2</c:v>
                </c:pt>
                <c:pt idx="6863" formatCode="0.0%">
                  <c:v>7.2218815917885371E-2</c:v>
                </c:pt>
                <c:pt idx="6864" formatCode="0.0%">
                  <c:v>7.1595921761166387E-2</c:v>
                </c:pt>
                <c:pt idx="6865" formatCode="0.0%">
                  <c:v>6.4198991492098123E-2</c:v>
                </c:pt>
                <c:pt idx="6866" formatCode="0.0%">
                  <c:v>6.2403266948591475E-2</c:v>
                </c:pt>
                <c:pt idx="6867" formatCode="0.0%">
                  <c:v>6.2406113928284483E-2</c:v>
                </c:pt>
                <c:pt idx="6868" formatCode="0.0%">
                  <c:v>6.1803424180461947E-2</c:v>
                </c:pt>
                <c:pt idx="6869" formatCode="0.0%">
                  <c:v>6.2536668639556522E-2</c:v>
                </c:pt>
                <c:pt idx="6870" formatCode="0.0%">
                  <c:v>6.9102506400457009E-2</c:v>
                </c:pt>
                <c:pt idx="6871" formatCode="0.0%">
                  <c:v>6.9531908196788769E-2</c:v>
                </c:pt>
                <c:pt idx="6872" formatCode="0.0%">
                  <c:v>6.9990896474356801E-2</c:v>
                </c:pt>
                <c:pt idx="6873" formatCode="0.0%">
                  <c:v>6.8693537080662462E-2</c:v>
                </c:pt>
                <c:pt idx="6874" formatCode="0.0%">
                  <c:v>7.3292131207458297E-2</c:v>
                </c:pt>
                <c:pt idx="6875" formatCode="0.0%">
                  <c:v>0.13330532843015233</c:v>
                </c:pt>
                <c:pt idx="6876" formatCode="0.0%">
                  <c:v>0.14937766757991813</c:v>
                </c:pt>
                <c:pt idx="6877" formatCode="0.0%">
                  <c:v>0.14556239425162695</c:v>
                </c:pt>
                <c:pt idx="6878" formatCode="0.0%">
                  <c:v>0.1455639805848104</c:v>
                </c:pt>
                <c:pt idx="6879" formatCode="0.0%">
                  <c:v>0.14500295959047801</c:v>
                </c:pt>
                <c:pt idx="6880" formatCode="0.0%">
                  <c:v>0.1546660632537111</c:v>
                </c:pt>
                <c:pt idx="6881" formatCode="0.0%">
                  <c:v>0.1539429032753396</c:v>
                </c:pt>
                <c:pt idx="6882" formatCode="0.0%">
                  <c:v>0.15390123314063209</c:v>
                </c:pt>
                <c:pt idx="6883" formatCode="0.0%">
                  <c:v>0.15450313303730268</c:v>
                </c:pt>
                <c:pt idx="6884" formatCode="0.0%">
                  <c:v>0.15762952868527574</c:v>
                </c:pt>
                <c:pt idx="6885" formatCode="0.0%">
                  <c:v>0.15561854844522349</c:v>
                </c:pt>
                <c:pt idx="6886" formatCode="0.0%">
                  <c:v>0.15793275752355043</c:v>
                </c:pt>
                <c:pt idx="6887" formatCode="0.0%">
                  <c:v>0.15930542075858101</c:v>
                </c:pt>
                <c:pt idx="6888" formatCode="0.0%">
                  <c:v>0.16190664809361005</c:v>
                </c:pt>
                <c:pt idx="6889" formatCode="0.0%">
                  <c:v>0.16171297452971981</c:v>
                </c:pt>
                <c:pt idx="6890" formatCode="0.0%">
                  <c:v>0.15861940983866096</c:v>
                </c:pt>
                <c:pt idx="6891" formatCode="0.0%">
                  <c:v>0.16188194417147844</c:v>
                </c:pt>
                <c:pt idx="6892" formatCode="0.0%">
                  <c:v>0.16184557851447828</c:v>
                </c:pt>
                <c:pt idx="6893" formatCode="0.0%">
                  <c:v>0.17213629521977578</c:v>
                </c:pt>
                <c:pt idx="6894" formatCode="0.0%">
                  <c:v>0.16805761339875977</c:v>
                </c:pt>
                <c:pt idx="6895" formatCode="0.0%">
                  <c:v>0.11213644103700875</c:v>
                </c:pt>
                <c:pt idx="6896" formatCode="0.0%">
                  <c:v>0.11762188480099389</c:v>
                </c:pt>
                <c:pt idx="6897" formatCode="0.0%">
                  <c:v>0.11882061120419646</c:v>
                </c:pt>
                <c:pt idx="6898" formatCode="0.0%">
                  <c:v>0.12009162573503032</c:v>
                </c:pt>
                <c:pt idx="6899" formatCode="0.0%">
                  <c:v>0.12835902767763493</c:v>
                </c:pt>
                <c:pt idx="6900" formatCode="0.0%">
                  <c:v>0.12183561782663643</c:v>
                </c:pt>
                <c:pt idx="6901" formatCode="0.0%">
                  <c:v>0.12680305669284456</c:v>
                </c:pt>
                <c:pt idx="6902" formatCode="0.0%">
                  <c:v>0.12630182705150536</c:v>
                </c:pt>
                <c:pt idx="6903" formatCode="0.0%">
                  <c:v>0.12630214900721315</c:v>
                </c:pt>
                <c:pt idx="6904" formatCode="0.0%">
                  <c:v>0.12713478834647407</c:v>
                </c:pt>
                <c:pt idx="6905" formatCode="0.0%">
                  <c:v>0.1266101861584164</c:v>
                </c:pt>
                <c:pt idx="6906" formatCode="0.0%">
                  <c:v>0.12092208430774277</c:v>
                </c:pt>
                <c:pt idx="6907" formatCode="0.0%">
                  <c:v>0.11753513256775948</c:v>
                </c:pt>
                <c:pt idx="6908" formatCode="0.0%">
                  <c:v>0.10829219624555457</c:v>
                </c:pt>
                <c:pt idx="6909" formatCode="0.0%">
                  <c:v>0.12044744482708411</c:v>
                </c:pt>
                <c:pt idx="6910" formatCode="0.0%">
                  <c:v>0.11923779371100927</c:v>
                </c:pt>
                <c:pt idx="6911" formatCode="0.0%">
                  <c:v>0.11960343914659669</c:v>
                </c:pt>
                <c:pt idx="6912" formatCode="0.0%">
                  <c:v>0.12098498375553969</c:v>
                </c:pt>
                <c:pt idx="6913" formatCode="0.0%">
                  <c:v>0.1107788229271648</c:v>
                </c:pt>
                <c:pt idx="6914" formatCode="0.0%">
                  <c:v>0.11048817674014623</c:v>
                </c:pt>
                <c:pt idx="6915" formatCode="0.0%">
                  <c:v>0.11254832689386056</c:v>
                </c:pt>
                <c:pt idx="6916" formatCode="0.0%">
                  <c:v>9.319521158302492E-2</c:v>
                </c:pt>
                <c:pt idx="6917" formatCode="0.0%">
                  <c:v>9.3508323840462371E-2</c:v>
                </c:pt>
                <c:pt idx="6918" formatCode="0.0%">
                  <c:v>9.0996573560408522E-2</c:v>
                </c:pt>
                <c:pt idx="6919" formatCode="0.0%">
                  <c:v>7.2026331843155725E-2</c:v>
                </c:pt>
                <c:pt idx="6920" formatCode="0.0%">
                  <c:v>7.1641899839939571E-2</c:v>
                </c:pt>
                <c:pt idx="6921" formatCode="0.0%">
                  <c:v>6.7328422612949898E-2</c:v>
                </c:pt>
                <c:pt idx="6922" formatCode="0.0%">
                  <c:v>6.9412046544626821E-2</c:v>
                </c:pt>
                <c:pt idx="6923" formatCode="0.0%">
                  <c:v>7.9153651420936902E-2</c:v>
                </c:pt>
                <c:pt idx="6924" formatCode="0.0%">
                  <c:v>6.8991140242587165E-2</c:v>
                </c:pt>
                <c:pt idx="6925" formatCode="0.0%">
                  <c:v>7.552274417862255E-2</c:v>
                </c:pt>
                <c:pt idx="6926" formatCode="0.0%">
                  <c:v>7.4812235989252809E-2</c:v>
                </c:pt>
                <c:pt idx="6927" formatCode="0.0%">
                  <c:v>7.5175785719448912E-2</c:v>
                </c:pt>
                <c:pt idx="6928" formatCode="0.0%">
                  <c:v>7.495102905068253E-2</c:v>
                </c:pt>
                <c:pt idx="6929" formatCode="0.0%">
                  <c:v>6.5925368170469095E-2</c:v>
                </c:pt>
                <c:pt idx="6930" formatCode="0.0%">
                  <c:v>6.6627751101520041E-2</c:v>
                </c:pt>
                <c:pt idx="6931" formatCode="0.0%">
                  <c:v>6.6902997529323729E-2</c:v>
                </c:pt>
                <c:pt idx="6932" formatCode="0.0%">
                  <c:v>0.2628180995956414</c:v>
                </c:pt>
                <c:pt idx="6933" formatCode="0.0%">
                  <c:v>0.27514191094636403</c:v>
                </c:pt>
                <c:pt idx="6934" formatCode="0.0%">
                  <c:v>0.2807385866373211</c:v>
                </c:pt>
                <c:pt idx="6935" formatCode="0.0%">
                  <c:v>0.28157595490183568</c:v>
                </c:pt>
                <c:pt idx="6936" formatCode="0.0%">
                  <c:v>0.28309680171274948</c:v>
                </c:pt>
                <c:pt idx="6937" formatCode="0.0%">
                  <c:v>0.29885668892441114</c:v>
                </c:pt>
                <c:pt idx="6938" formatCode="0.0%">
                  <c:v>0.29949866069789288</c:v>
                </c:pt>
                <c:pt idx="6939" formatCode="0.0%">
                  <c:v>0.300047840655919</c:v>
                </c:pt>
                <c:pt idx="6940" formatCode="0.0%">
                  <c:v>0.30066181707286044</c:v>
                </c:pt>
                <c:pt idx="6941" formatCode="0.0%">
                  <c:v>0.30137568868235254</c:v>
                </c:pt>
                <c:pt idx="6942" formatCode="0.0%">
                  <c:v>0.314898416843992</c:v>
                </c:pt>
                <c:pt idx="6943" formatCode="0.0%">
                  <c:v>0.30855151563555405</c:v>
                </c:pt>
                <c:pt idx="6944" formatCode="0.0%">
                  <c:v>0.31710171919109981</c:v>
                </c:pt>
                <c:pt idx="6945" formatCode="0.0%">
                  <c:v>0.31707539182270239</c:v>
                </c:pt>
                <c:pt idx="6946" formatCode="0.0%">
                  <c:v>0.31416786347553183</c:v>
                </c:pt>
                <c:pt idx="6947" formatCode="0.0%">
                  <c:v>0.3146259533772866</c:v>
                </c:pt>
                <c:pt idx="6948" formatCode="0.0%">
                  <c:v>0.31710907830306811</c:v>
                </c:pt>
                <c:pt idx="6949" formatCode="0.0%">
                  <c:v>0.31921776167982718</c:v>
                </c:pt>
                <c:pt idx="6950" formatCode="0.0%">
                  <c:v>0.3240972741571983</c:v>
                </c:pt>
                <c:pt idx="6951" formatCode="0.0%">
                  <c:v>0.32281014823595638</c:v>
                </c:pt>
                <c:pt idx="6952" formatCode="0.0%">
                  <c:v>0.21419155466558773</c:v>
                </c:pt>
                <c:pt idx="6953" formatCode="0.0%">
                  <c:v>0.19858727750496144</c:v>
                </c:pt>
                <c:pt idx="6954" formatCode="0.0%">
                  <c:v>0.18842932323970807</c:v>
                </c:pt>
                <c:pt idx="6955" formatCode="0.0%">
                  <c:v>0.18790248907172988</c:v>
                </c:pt>
                <c:pt idx="6956" formatCode="0.0%">
                  <c:v>0.18835393971769171</c:v>
                </c:pt>
                <c:pt idx="6957" formatCode="0.0%">
                  <c:v>0.16164512456338107</c:v>
                </c:pt>
                <c:pt idx="6958" formatCode="0.0%">
                  <c:v>0.15894480175156783</c:v>
                </c:pt>
                <c:pt idx="6959" formatCode="0.0%">
                  <c:v>0.15826920235824968</c:v>
                </c:pt>
                <c:pt idx="6960" formatCode="0.0%">
                  <c:v>0.17384703986702882</c:v>
                </c:pt>
                <c:pt idx="6961" formatCode="0.0%">
                  <c:v>0.17973755553469298</c:v>
                </c:pt>
                <c:pt idx="6962" formatCode="0.0%">
                  <c:v>0.13657143173491448</c:v>
                </c:pt>
                <c:pt idx="6963" formatCode="0.0%">
                  <c:v>0.13079485685866479</c:v>
                </c:pt>
                <c:pt idx="6964" formatCode="0.0%">
                  <c:v>0.12148652771960604</c:v>
                </c:pt>
                <c:pt idx="6965" formatCode="0.0%">
                  <c:v>0.12169933299746279</c:v>
                </c:pt>
                <c:pt idx="6966" formatCode="0.0%">
                  <c:v>0.13839235253498175</c:v>
                </c:pt>
                <c:pt idx="6967" formatCode="0.0%">
                  <c:v>0.14284923435484503</c:v>
                </c:pt>
                <c:pt idx="6968" formatCode="0.0%">
                  <c:v>0.14891481956019853</c:v>
                </c:pt>
                <c:pt idx="6969" formatCode="0.0%">
                  <c:v>0.15328511015568858</c:v>
                </c:pt>
                <c:pt idx="6970" formatCode="0.0%">
                  <c:v>0.15105677468540576</c:v>
                </c:pt>
                <c:pt idx="6971" formatCode="0.0%">
                  <c:v>0.15514846090581902</c:v>
                </c:pt>
                <c:pt idx="6972" formatCode="0.0%">
                  <c:v>0.15618460475374707</c:v>
                </c:pt>
                <c:pt idx="6973" formatCode="0.0%">
                  <c:v>0.1521825685916256</c:v>
                </c:pt>
                <c:pt idx="6974" formatCode="0.0%">
                  <c:v>0.14704945667750147</c:v>
                </c:pt>
                <c:pt idx="6975" formatCode="0.0%">
                  <c:v>0.14945331154870942</c:v>
                </c:pt>
                <c:pt idx="6976" formatCode="0.0%">
                  <c:v>0.14931698753877887</c:v>
                </c:pt>
                <c:pt idx="6977" formatCode="0.0%">
                  <c:v>0.14947349065199972</c:v>
                </c:pt>
                <c:pt idx="6978" formatCode="0.0%">
                  <c:v>0.15059445555530768</c:v>
                </c:pt>
                <c:pt idx="6979" formatCode="0.0%">
                  <c:v>0.15054544477709514</c:v>
                </c:pt>
                <c:pt idx="6980" formatCode="0.0%">
                  <c:v>0.13644587910122613</c:v>
                </c:pt>
                <c:pt idx="6981" formatCode="0.0%">
                  <c:v>0.12661548144341667</c:v>
                </c:pt>
                <c:pt idx="6982" formatCode="0.0%">
                  <c:v>0.12759758604718388</c:v>
                </c:pt>
                <c:pt idx="6983" formatCode="0.0%">
                  <c:v>0.12446192075792742</c:v>
                </c:pt>
                <c:pt idx="6984" formatCode="0.0%">
                  <c:v>0.12439406587286141</c:v>
                </c:pt>
                <c:pt idx="6985" formatCode="0.0%">
                  <c:v>0.12465447435977764</c:v>
                </c:pt>
                <c:pt idx="6986" formatCode="0.0%">
                  <c:v>8.1353147342891882E-2</c:v>
                </c:pt>
                <c:pt idx="6987" formatCode="0.0%">
                  <c:v>8.4745821667205498E-2</c:v>
                </c:pt>
                <c:pt idx="6988" formatCode="0.0%">
                  <c:v>8.2474462490384051E-2</c:v>
                </c:pt>
                <c:pt idx="6989" formatCode="0.0%">
                  <c:v>7.9677543476917745E-2</c:v>
                </c:pt>
                <c:pt idx="6990" formatCode="0.0%">
                  <c:v>7.9951657684616095E-2</c:v>
                </c:pt>
                <c:pt idx="6991" formatCode="0.0%">
                  <c:v>7.6344945192276678E-2</c:v>
                </c:pt>
                <c:pt idx="6992" formatCode="0.0%">
                  <c:v>7.460403160537446E-2</c:v>
                </c:pt>
                <c:pt idx="6993" formatCode="0.0%">
                  <c:v>7.4676371958840318E-2</c:v>
                </c:pt>
                <c:pt idx="6994" formatCode="0.0%">
                  <c:v>7.5091635295546286E-2</c:v>
                </c:pt>
                <c:pt idx="6995" formatCode="0.0%">
                  <c:v>7.463488675665246E-2</c:v>
                </c:pt>
                <c:pt idx="6996" formatCode="0.0%">
                  <c:v>7.3992643064983238E-2</c:v>
                </c:pt>
                <c:pt idx="6997" formatCode="0.0%">
                  <c:v>7.4607890531262669E-2</c:v>
                </c:pt>
                <c:pt idx="6998" formatCode="0.0%">
                  <c:v>7.8368387241920454E-2</c:v>
                </c:pt>
                <c:pt idx="6999" formatCode="0.0%">
                  <c:v>8.2041611930538147E-2</c:v>
                </c:pt>
                <c:pt idx="7000" formatCode="0.0%">
                  <c:v>7.9583152265438717E-2</c:v>
                </c:pt>
                <c:pt idx="7001" formatCode="0.0%">
                  <c:v>7.9537983555290667E-2</c:v>
                </c:pt>
                <c:pt idx="7002" formatCode="0.0%">
                  <c:v>8.090905362521926E-2</c:v>
                </c:pt>
                <c:pt idx="7003" formatCode="0.0%">
                  <c:v>9.054972004983905E-2</c:v>
                </c:pt>
                <c:pt idx="7004" formatCode="0.0%">
                  <c:v>9.2593923858233909E-2</c:v>
                </c:pt>
                <c:pt idx="7005" formatCode="0.0%">
                  <c:v>9.0105541729003175E-2</c:v>
                </c:pt>
                <c:pt idx="7006" formatCode="0.0%">
                  <c:v>9.6039251282083571E-2</c:v>
                </c:pt>
                <c:pt idx="7007" formatCode="0.0%">
                  <c:v>9.1859178796021457E-2</c:v>
                </c:pt>
                <c:pt idx="7008" formatCode="0.0%">
                  <c:v>0.10048608375582728</c:v>
                </c:pt>
                <c:pt idx="7009" formatCode="0.0%">
                  <c:v>0.10459245188109427</c:v>
                </c:pt>
                <c:pt idx="7010" formatCode="0.0%">
                  <c:v>0.10663626514645798</c:v>
                </c:pt>
                <c:pt idx="7011" formatCode="0.0%">
                  <c:v>0.11162621716033211</c:v>
                </c:pt>
                <c:pt idx="7012" formatCode="0.0%">
                  <c:v>0.11052214179820728</c:v>
                </c:pt>
                <c:pt idx="7013" formatCode="0.0%">
                  <c:v>0.10953893993237283</c:v>
                </c:pt>
                <c:pt idx="7014" formatCode="0.0%">
                  <c:v>0.12104147493983913</c:v>
                </c:pt>
                <c:pt idx="7015" formatCode="0.0%">
                  <c:v>0.12069664307863141</c:v>
                </c:pt>
                <c:pt idx="7016" formatCode="0.0%">
                  <c:v>0.12144890918348611</c:v>
                </c:pt>
                <c:pt idx="7017" formatCode="0.0%">
                  <c:v>0.12053379141783442</c:v>
                </c:pt>
                <c:pt idx="7018" formatCode="0.0%">
                  <c:v>0.1173327618737342</c:v>
                </c:pt>
                <c:pt idx="7019" formatCode="0.0%">
                  <c:v>0.12054229623680787</c:v>
                </c:pt>
                <c:pt idx="7020" formatCode="0.0%">
                  <c:v>0.12228367376890134</c:v>
                </c:pt>
                <c:pt idx="7021" formatCode="0.0%">
                  <c:v>0.1237737367539514</c:v>
                </c:pt>
                <c:pt idx="7022" formatCode="0.0%">
                  <c:v>0.13160431520171906</c:v>
                </c:pt>
                <c:pt idx="7023" formatCode="0.0%">
                  <c:v>0.12131873560395061</c:v>
                </c:pt>
                <c:pt idx="7024" formatCode="0.0%">
                  <c:v>0.11894975478623684</c:v>
                </c:pt>
                <c:pt idx="7025" formatCode="0.0%">
                  <c:v>0.12318289741424004</c:v>
                </c:pt>
                <c:pt idx="7026" formatCode="0.0%">
                  <c:v>0.12487060325665601</c:v>
                </c:pt>
                <c:pt idx="7027" formatCode="0.0%">
                  <c:v>0.12488133773455064</c:v>
                </c:pt>
                <c:pt idx="7028" formatCode="0.0%">
                  <c:v>0.11825285659824297</c:v>
                </c:pt>
                <c:pt idx="7029" formatCode="0.0%">
                  <c:v>0.11470322095456566</c:v>
                </c:pt>
                <c:pt idx="7030" formatCode="0.0%">
                  <c:v>0.1248525233457764</c:v>
                </c:pt>
                <c:pt idx="7031" formatCode="0.0%">
                  <c:v>0.12055000368394528</c:v>
                </c:pt>
                <c:pt idx="7032" formatCode="0.0%">
                  <c:v>0.12461876389341024</c:v>
                </c:pt>
                <c:pt idx="7033" formatCode="0.0%">
                  <c:v>0.12424813549461911</c:v>
                </c:pt>
                <c:pt idx="7034" formatCode="0.0%">
                  <c:v>0.11748359498440164</c:v>
                </c:pt>
                <c:pt idx="7035" formatCode="0.0%">
                  <c:v>0.12061233938787959</c:v>
                </c:pt>
                <c:pt idx="7036" formatCode="0.0%">
                  <c:v>0.11963530720001195</c:v>
                </c:pt>
                <c:pt idx="7037" formatCode="0.0%">
                  <c:v>0.11900724106789451</c:v>
                </c:pt>
                <c:pt idx="7038" formatCode="0.0%">
                  <c:v>0.11901812976063683</c:v>
                </c:pt>
                <c:pt idx="7039" formatCode="0.0%">
                  <c:v>0.11825249396439638</c:v>
                </c:pt>
                <c:pt idx="7040" formatCode="0.0%">
                  <c:v>0.11812918633397304</c:v>
                </c:pt>
                <c:pt idx="7041" formatCode="0.0%">
                  <c:v>0.11873731467681416</c:v>
                </c:pt>
                <c:pt idx="7042" formatCode="0.0%">
                  <c:v>0.11265764447024371</c:v>
                </c:pt>
                <c:pt idx="7043" formatCode="0.0%">
                  <c:v>0.11282179756560895</c:v>
                </c:pt>
                <c:pt idx="7044" formatCode="0.0%">
                  <c:v>0.11084028644368082</c:v>
                </c:pt>
                <c:pt idx="7045" formatCode="0.0%">
                  <c:v>0.10222156544751532</c:v>
                </c:pt>
                <c:pt idx="7046" formatCode="0.0%">
                  <c:v>9.5115675126627872E-2</c:v>
                </c:pt>
                <c:pt idx="7047" formatCode="0.0%">
                  <c:v>9.6113567430876942E-2</c:v>
                </c:pt>
                <c:pt idx="7048" formatCode="0.0%">
                  <c:v>9.619398988613978E-2</c:v>
                </c:pt>
                <c:pt idx="7049" formatCode="0.0%">
                  <c:v>9.4198552991006504E-2</c:v>
                </c:pt>
                <c:pt idx="7050" formatCode="0.0%">
                  <c:v>8.9270723144934575E-2</c:v>
                </c:pt>
                <c:pt idx="7051" formatCode="0.0%">
                  <c:v>8.2437405170027983E-2</c:v>
                </c:pt>
                <c:pt idx="7052" formatCode="0.0%">
                  <c:v>7.3488293596639276E-2</c:v>
                </c:pt>
                <c:pt idx="7053" formatCode="0.0%">
                  <c:v>7.0148472767917219E-2</c:v>
                </c:pt>
                <c:pt idx="7054" formatCode="0.0%">
                  <c:v>9.4606326503375637E-2</c:v>
                </c:pt>
                <c:pt idx="7055" formatCode="0.0%">
                  <c:v>9.5659700535225572E-2</c:v>
                </c:pt>
                <c:pt idx="7056" formatCode="0.0%">
                  <c:v>9.4542473941134658E-2</c:v>
                </c:pt>
                <c:pt idx="7057" formatCode="0.0%">
                  <c:v>9.7359482005386536E-2</c:v>
                </c:pt>
                <c:pt idx="7058" formatCode="0.0%">
                  <c:v>0.1051781817534911</c:v>
                </c:pt>
                <c:pt idx="7059" formatCode="0.0%">
                  <c:v>0.10377765866195796</c:v>
                </c:pt>
                <c:pt idx="7060" formatCode="0.0%">
                  <c:v>0.10464791524086743</c:v>
                </c:pt>
                <c:pt idx="7061" formatCode="0.0%">
                  <c:v>0.10427440384292064</c:v>
                </c:pt>
                <c:pt idx="7062" formatCode="0.0%">
                  <c:v>0.10637110159089387</c:v>
                </c:pt>
                <c:pt idx="7063" formatCode="0.0%">
                  <c:v>0.10621844350039918</c:v>
                </c:pt>
                <c:pt idx="7064" formatCode="0.0%">
                  <c:v>0.10897799701749129</c:v>
                </c:pt>
                <c:pt idx="7065" formatCode="0.0%">
                  <c:v>0.10949891318771257</c:v>
                </c:pt>
                <c:pt idx="7066" formatCode="0.0%">
                  <c:v>0.10661980140154804</c:v>
                </c:pt>
                <c:pt idx="7067" formatCode="0.0%">
                  <c:v>0.11731794294417068</c:v>
                </c:pt>
                <c:pt idx="7068" formatCode="0.0%">
                  <c:v>0.11955521786493004</c:v>
                </c:pt>
                <c:pt idx="7069" formatCode="0.0%">
                  <c:v>0.11768777155766176</c:v>
                </c:pt>
                <c:pt idx="7070" formatCode="0.0%">
                  <c:v>0.11277212758324019</c:v>
                </c:pt>
                <c:pt idx="7071" formatCode="0.0%">
                  <c:v>0.11216109469754439</c:v>
                </c:pt>
                <c:pt idx="7072" formatCode="0.0%">
                  <c:v>0.106406672200799</c:v>
                </c:pt>
                <c:pt idx="7073" formatCode="0.0%">
                  <c:v>0.10418651997199943</c:v>
                </c:pt>
                <c:pt idx="7074" formatCode="0.0%">
                  <c:v>9.4635098418711733E-2</c:v>
                </c:pt>
                <c:pt idx="7075" formatCode="0.0%">
                  <c:v>8.7604689781340603E-2</c:v>
                </c:pt>
                <c:pt idx="7076" formatCode="0.0%">
                  <c:v>8.6853063508470371E-2</c:v>
                </c:pt>
                <c:pt idx="7077" formatCode="0.0%">
                  <c:v>8.97550054445415E-2</c:v>
                </c:pt>
                <c:pt idx="7078" formatCode="0.0%">
                  <c:v>8.7150767321196268E-2</c:v>
                </c:pt>
                <c:pt idx="7079" formatCode="0.0%">
                  <c:v>9.0853561478057995E-2</c:v>
                </c:pt>
                <c:pt idx="7080" formatCode="0.0%">
                  <c:v>9.9675604914225502E-2</c:v>
                </c:pt>
                <c:pt idx="7081" formatCode="0.0%">
                  <c:v>0.1028193664968035</c:v>
                </c:pt>
                <c:pt idx="7082" formatCode="0.0%">
                  <c:v>0.1033205127924325</c:v>
                </c:pt>
                <c:pt idx="7083" formatCode="0.0%">
                  <c:v>0.10096687299556853</c:v>
                </c:pt>
                <c:pt idx="7084" formatCode="0.0%">
                  <c:v>0.10079649280847595</c:v>
                </c:pt>
                <c:pt idx="7085" formatCode="0.0%">
                  <c:v>9.9336424125828396E-2</c:v>
                </c:pt>
                <c:pt idx="7086" formatCode="0.0%">
                  <c:v>0.10006085502670305</c:v>
                </c:pt>
                <c:pt idx="7087" formatCode="0.0%">
                  <c:v>8.7462880023466874E-2</c:v>
                </c:pt>
                <c:pt idx="7088" formatCode="0.0%">
                  <c:v>8.2599300546627744E-2</c:v>
                </c:pt>
                <c:pt idx="7089" formatCode="0.0%">
                  <c:v>9.8658585152938391E-2</c:v>
                </c:pt>
                <c:pt idx="7090" formatCode="0.0%">
                  <c:v>9.863681415193154E-2</c:v>
                </c:pt>
                <c:pt idx="7091" formatCode="0.0%">
                  <c:v>9.9899280153522341E-2</c:v>
                </c:pt>
                <c:pt idx="7092" formatCode="0.0%">
                  <c:v>0.1052195712172138</c:v>
                </c:pt>
                <c:pt idx="7093" formatCode="0.0%">
                  <c:v>0.10659532661806066</c:v>
                </c:pt>
                <c:pt idx="7094" formatCode="0.0%">
                  <c:v>0.11712130272904503</c:v>
                </c:pt>
                <c:pt idx="7095" formatCode="0.0%">
                  <c:v>0.11626447936185086</c:v>
                </c:pt>
                <c:pt idx="7096" formatCode="0.0%">
                  <c:v>0.11903579263595385</c:v>
                </c:pt>
                <c:pt idx="7097" formatCode="0.0%">
                  <c:v>0.12752677646674401</c:v>
                </c:pt>
                <c:pt idx="7098" formatCode="0.0%">
                  <c:v>0.12792799703115462</c:v>
                </c:pt>
                <c:pt idx="7099" formatCode="0.0%">
                  <c:v>0.12372479064015689</c:v>
                </c:pt>
                <c:pt idx="7100" formatCode="0.0%">
                  <c:v>0.1138161819185594</c:v>
                </c:pt>
                <c:pt idx="7101" formatCode="0.0%">
                  <c:v>0.10832239891427539</c:v>
                </c:pt>
                <c:pt idx="7102" formatCode="0.0%">
                  <c:v>0.14529329082489414</c:v>
                </c:pt>
                <c:pt idx="7103" formatCode="0.0%">
                  <c:v>0.14599684888625802</c:v>
                </c:pt>
                <c:pt idx="7104" formatCode="0.0%">
                  <c:v>0.1499125204783702</c:v>
                </c:pt>
                <c:pt idx="7105" formatCode="0.0%">
                  <c:v>0.15151221839757584</c:v>
                </c:pt>
                <c:pt idx="7106" formatCode="0.0%">
                  <c:v>0.15138997970997251</c:v>
                </c:pt>
                <c:pt idx="7107" formatCode="0.0%">
                  <c:v>0.15154729647096932</c:v>
                </c:pt>
                <c:pt idx="7108" formatCode="0.0%">
                  <c:v>0.15599245310473545</c:v>
                </c:pt>
                <c:pt idx="7109" formatCode="0.0%">
                  <c:v>0.1589120524075151</c:v>
                </c:pt>
                <c:pt idx="7110" formatCode="0.0%">
                  <c:v>0.16730435435281055</c:v>
                </c:pt>
                <c:pt idx="7111" formatCode="0.0%">
                  <c:v>0.17539885901985089</c:v>
                </c:pt>
                <c:pt idx="7112" formatCode="0.0%">
                  <c:v>0.17145541035991635</c:v>
                </c:pt>
                <c:pt idx="7113" formatCode="0.0%">
                  <c:v>0.16975078605134447</c:v>
                </c:pt>
                <c:pt idx="7114" formatCode="0.0%">
                  <c:v>0.16402168163830785</c:v>
                </c:pt>
                <c:pt idx="7115" formatCode="0.0%">
                  <c:v>0.16388019876316395</c:v>
                </c:pt>
                <c:pt idx="7116" formatCode="0.0%">
                  <c:v>0.16086042296355604</c:v>
                </c:pt>
                <c:pt idx="7117" formatCode="0.0%">
                  <c:v>0.14934111346018794</c:v>
                </c:pt>
                <c:pt idx="7118" formatCode="0.0%">
                  <c:v>0.14849225679492459</c:v>
                </c:pt>
                <c:pt idx="7119" formatCode="0.0%">
                  <c:v>0.14374328425010807</c:v>
                </c:pt>
                <c:pt idx="7120" formatCode="0.0%">
                  <c:v>0.14524430031881547</c:v>
                </c:pt>
                <c:pt idx="7121" formatCode="0.0%">
                  <c:v>0.1366686839689345</c:v>
                </c:pt>
                <c:pt idx="7122" formatCode="0.0%">
                  <c:v>0.11672841868058124</c:v>
                </c:pt>
                <c:pt idx="7123" formatCode="0.0%">
                  <c:v>0.11676723962947988</c:v>
                </c:pt>
                <c:pt idx="7124" formatCode="0.0%">
                  <c:v>0.11584179814015101</c:v>
                </c:pt>
                <c:pt idx="7125" formatCode="0.0%">
                  <c:v>0.11491416810398407</c:v>
                </c:pt>
                <c:pt idx="7126" formatCode="0.0%">
                  <c:v>0.11756343245876427</c:v>
                </c:pt>
                <c:pt idx="7127" formatCode="0.0%">
                  <c:v>0.1185611437312669</c:v>
                </c:pt>
                <c:pt idx="7128" formatCode="0.0%">
                  <c:v>0.11722022738622266</c:v>
                </c:pt>
                <c:pt idx="7129" formatCode="0.0%">
                  <c:v>8.7718110700625448E-2</c:v>
                </c:pt>
                <c:pt idx="7130" formatCode="0.0%">
                  <c:v>8.1444106200230695E-2</c:v>
                </c:pt>
                <c:pt idx="7131" formatCode="0.0%">
                  <c:v>7.0096421937743042E-2</c:v>
                </c:pt>
                <c:pt idx="7132" formatCode="0.0%">
                  <c:v>7.1986151988887817E-2</c:v>
                </c:pt>
                <c:pt idx="7133" formatCode="0.0%">
                  <c:v>6.9872749180170168E-2</c:v>
                </c:pt>
                <c:pt idx="7134" formatCode="0.0%">
                  <c:v>7.2880203507721272E-2</c:v>
                </c:pt>
                <c:pt idx="7135" formatCode="0.0%">
                  <c:v>6.7700940648386151E-2</c:v>
                </c:pt>
                <c:pt idx="7136" formatCode="0.0%">
                  <c:v>6.8406755489340457E-2</c:v>
                </c:pt>
                <c:pt idx="7137" formatCode="0.0%">
                  <c:v>6.9034033987136756E-2</c:v>
                </c:pt>
                <c:pt idx="7138" formatCode="0.0%">
                  <c:v>6.7996672421593157E-2</c:v>
                </c:pt>
                <c:pt idx="7139" formatCode="0.0%">
                  <c:v>6.5681791506384563E-2</c:v>
                </c:pt>
                <c:pt idx="7140" formatCode="0.0%">
                  <c:v>6.1741576162434204E-2</c:v>
                </c:pt>
                <c:pt idx="7141" formatCode="0.0%">
                  <c:v>6.0295014934599413E-2</c:v>
                </c:pt>
                <c:pt idx="7142" formatCode="0.0%">
                  <c:v>5.8098565519777212E-2</c:v>
                </c:pt>
                <c:pt idx="7143" formatCode="0.0%">
                  <c:v>6.9218462152514482E-2</c:v>
                </c:pt>
                <c:pt idx="7144" formatCode="0.0%">
                  <c:v>6.7645376670230573E-2</c:v>
                </c:pt>
                <c:pt idx="7145" formatCode="0.0%">
                  <c:v>6.96851459893921E-2</c:v>
                </c:pt>
                <c:pt idx="7146" formatCode="0.0%">
                  <c:v>6.6581962960267582E-2</c:v>
                </c:pt>
                <c:pt idx="7147" formatCode="0.0%">
                  <c:v>6.1930854286081534E-2</c:v>
                </c:pt>
                <c:pt idx="7148" formatCode="0.0%">
                  <c:v>6.2403775080760997E-2</c:v>
                </c:pt>
                <c:pt idx="7149" formatCode="0.0%">
                  <c:v>8.7040105771654275E-2</c:v>
                </c:pt>
                <c:pt idx="7150" formatCode="0.0%">
                  <c:v>8.7146560985652557E-2</c:v>
                </c:pt>
                <c:pt idx="7151" formatCode="0.0%">
                  <c:v>8.7577705503328329E-2</c:v>
                </c:pt>
                <c:pt idx="7152" formatCode="0.0%">
                  <c:v>8.7080568388491514E-2</c:v>
                </c:pt>
                <c:pt idx="7153" formatCode="0.0%">
                  <c:v>8.8750131249460823E-2</c:v>
                </c:pt>
                <c:pt idx="7154" formatCode="0.0%">
                  <c:v>9.1086438197506808E-2</c:v>
                </c:pt>
                <c:pt idx="7155" formatCode="0.0%">
                  <c:v>9.3547577015246811E-2</c:v>
                </c:pt>
                <c:pt idx="7156" formatCode="0.0%">
                  <c:v>9.3889794956209943E-2</c:v>
                </c:pt>
                <c:pt idx="7157" formatCode="0.0%">
                  <c:v>9.4091769487199897E-2</c:v>
                </c:pt>
                <c:pt idx="7158" formatCode="0.0%">
                  <c:v>9.4044156142957455E-2</c:v>
                </c:pt>
                <c:pt idx="7159" formatCode="0.0%">
                  <c:v>0.10209713306601957</c:v>
                </c:pt>
                <c:pt idx="7160" formatCode="0.0%">
                  <c:v>0.10445399634170698</c:v>
                </c:pt>
                <c:pt idx="7161" formatCode="0.0%">
                  <c:v>0.10753127731835416</c:v>
                </c:pt>
                <c:pt idx="7162" formatCode="0.0%">
                  <c:v>0.11856200366721545</c:v>
                </c:pt>
                <c:pt idx="7163" formatCode="0.0%">
                  <c:v>0.11597100639154792</c:v>
                </c:pt>
                <c:pt idx="7164" formatCode="0.0%">
                  <c:v>0.11726896365853912</c:v>
                </c:pt>
                <c:pt idx="7165" formatCode="0.0%">
                  <c:v>0.11198593873594158</c:v>
                </c:pt>
                <c:pt idx="7166" formatCode="0.0%">
                  <c:v>0.11192959566995941</c:v>
                </c:pt>
                <c:pt idx="7167" formatCode="0.0%">
                  <c:v>0.10956339955755809</c:v>
                </c:pt>
                <c:pt idx="7168" formatCode="0.0%">
                  <c:v>0.12179218583418226</c:v>
                </c:pt>
                <c:pt idx="7169" formatCode="0.0%">
                  <c:v>0.11557266932296088</c:v>
                </c:pt>
                <c:pt idx="7170" formatCode="0.0%">
                  <c:v>0.11339813015334528</c:v>
                </c:pt>
                <c:pt idx="7171" formatCode="0.0%">
                  <c:v>0.11224482217293442</c:v>
                </c:pt>
                <c:pt idx="7172" formatCode="0.0%">
                  <c:v>0.11347881239542582</c:v>
                </c:pt>
                <c:pt idx="7173" formatCode="0.0%">
                  <c:v>0.11370377923147196</c:v>
                </c:pt>
                <c:pt idx="7174" formatCode="0.0%">
                  <c:v>0.10919110913875861</c:v>
                </c:pt>
                <c:pt idx="7175" formatCode="0.0%">
                  <c:v>0.10689899997096264</c:v>
                </c:pt>
                <c:pt idx="7176" formatCode="0.0%">
                  <c:v>0.10601124651002704</c:v>
                </c:pt>
                <c:pt idx="7177" formatCode="0.0%">
                  <c:v>0.10868063196503483</c:v>
                </c:pt>
                <c:pt idx="7178" formatCode="0.0%">
                  <c:v>0.10876817773108234</c:v>
                </c:pt>
                <c:pt idx="7179" formatCode="0.0%">
                  <c:v>0.10536071261555943</c:v>
                </c:pt>
                <c:pt idx="7180" formatCode="0.0%">
                  <c:v>0.1096459210056373</c:v>
                </c:pt>
                <c:pt idx="7181" formatCode="0.0%">
                  <c:v>0.1054032657946655</c:v>
                </c:pt>
                <c:pt idx="7182" formatCode="0.0%">
                  <c:v>9.9188025568265822E-2</c:v>
                </c:pt>
                <c:pt idx="7183" formatCode="0.0%">
                  <c:v>9.9522233239360686E-2</c:v>
                </c:pt>
                <c:pt idx="7184" formatCode="0.0%">
                  <c:v>0.10799520658186683</c:v>
                </c:pt>
                <c:pt idx="7185" formatCode="0.0%">
                  <c:v>0.10873961220740473</c:v>
                </c:pt>
                <c:pt idx="7186" formatCode="0.0%">
                  <c:v>0.10886917521939403</c:v>
                </c:pt>
                <c:pt idx="7187" formatCode="0.0%">
                  <c:v>0.10660445527896879</c:v>
                </c:pt>
                <c:pt idx="7188" formatCode="0.0%">
                  <c:v>0.10256272366701236</c:v>
                </c:pt>
                <c:pt idx="7189" formatCode="0.0%">
                  <c:v>0.12172411149755391</c:v>
                </c:pt>
                <c:pt idx="7190" formatCode="0.0%">
                  <c:v>0.1384220436009729</c:v>
                </c:pt>
                <c:pt idx="7191" formatCode="0.0%">
                  <c:v>0.13802982312568707</c:v>
                </c:pt>
                <c:pt idx="7192" formatCode="0.0%">
                  <c:v>0.13837796035603495</c:v>
                </c:pt>
                <c:pt idx="7193" formatCode="0.0%">
                  <c:v>0.13767785138833852</c:v>
                </c:pt>
                <c:pt idx="7194" formatCode="0.0%">
                  <c:v>0.13803337890866996</c:v>
                </c:pt>
                <c:pt idx="7195" formatCode="0.0%">
                  <c:v>0.14602818827790004</c:v>
                </c:pt>
                <c:pt idx="7196" formatCode="0.0%">
                  <c:v>0.14598486697472002</c:v>
                </c:pt>
                <c:pt idx="7197" formatCode="0.0%">
                  <c:v>0.14572724357154318</c:v>
                </c:pt>
                <c:pt idx="7198" formatCode="0.0%">
                  <c:v>0.14605684874525252</c:v>
                </c:pt>
                <c:pt idx="7199" formatCode="0.0%">
                  <c:v>0.14403155894466271</c:v>
                </c:pt>
                <c:pt idx="7200" formatCode="0.0%">
                  <c:v>0.14034388764610564</c:v>
                </c:pt>
                <c:pt idx="7201" formatCode="0.0%">
                  <c:v>0.14044681517496513</c:v>
                </c:pt>
                <c:pt idx="7202" formatCode="0.0%">
                  <c:v>0.1375256097452249</c:v>
                </c:pt>
                <c:pt idx="7203" formatCode="0.0%">
                  <c:v>0.13690049358705128</c:v>
                </c:pt>
                <c:pt idx="7204" formatCode="0.0%">
                  <c:v>0.12705591484103845</c:v>
                </c:pt>
                <c:pt idx="7205" formatCode="0.0%">
                  <c:v>0.12797440244003672</c:v>
                </c:pt>
                <c:pt idx="7206" formatCode="0.0%">
                  <c:v>0.12686413558673851</c:v>
                </c:pt>
                <c:pt idx="7207" formatCode="0.0%">
                  <c:v>0.12864218857092799</c:v>
                </c:pt>
                <c:pt idx="7208" formatCode="0.0%">
                  <c:v>0.11503259363324884</c:v>
                </c:pt>
                <c:pt idx="7209" formatCode="0.0%">
                  <c:v>9.7735225855358487E-2</c:v>
                </c:pt>
                <c:pt idx="7210" formatCode="0.0%">
                  <c:v>9.9524240448936555E-2</c:v>
                </c:pt>
                <c:pt idx="7211" formatCode="0.0%">
                  <c:v>0.12477581090834416</c:v>
                </c:pt>
                <c:pt idx="7212" formatCode="0.0%">
                  <c:v>0.12894240025800005</c:v>
                </c:pt>
                <c:pt idx="7213" formatCode="0.0%">
                  <c:v>0.13630168594282327</c:v>
                </c:pt>
                <c:pt idx="7214" formatCode="0.0%">
                  <c:v>0.14081753448306034</c:v>
                </c:pt>
                <c:pt idx="7215" formatCode="0.0%">
                  <c:v>0.13578585077149485</c:v>
                </c:pt>
                <c:pt idx="7216" formatCode="0.0%">
                  <c:v>0.13892469127511112</c:v>
                </c:pt>
                <c:pt idx="7217" formatCode="0.0%">
                  <c:v>0.13859853548775813</c:v>
                </c:pt>
                <c:pt idx="7218" formatCode="0.0%">
                  <c:v>0.13914890409085498</c:v>
                </c:pt>
                <c:pt idx="7219" formatCode="0.0%">
                  <c:v>0.13937467533065426</c:v>
                </c:pt>
                <c:pt idx="7220" formatCode="0.0%">
                  <c:v>0.13849959409361975</c:v>
                </c:pt>
                <c:pt idx="7221" formatCode="0.0%">
                  <c:v>0.13828909992301539</c:v>
                </c:pt>
                <c:pt idx="7222" formatCode="0.0%">
                  <c:v>0.14207506493819297</c:v>
                </c:pt>
                <c:pt idx="7223" formatCode="0.0%">
                  <c:v>0.14470839745650368</c:v>
                </c:pt>
                <c:pt idx="7224" formatCode="0.0%">
                  <c:v>0.14519781827008632</c:v>
                </c:pt>
                <c:pt idx="7225" formatCode="0.0%">
                  <c:v>0.15095186085083992</c:v>
                </c:pt>
                <c:pt idx="7226" formatCode="0.0%">
                  <c:v>0.15203150140526686</c:v>
                </c:pt>
                <c:pt idx="7227" formatCode="0.0%">
                  <c:v>0.14744704501329697</c:v>
                </c:pt>
                <c:pt idx="7228" formatCode="0.0%">
                  <c:v>0.15003235755777641</c:v>
                </c:pt>
                <c:pt idx="7229" formatCode="0.0%">
                  <c:v>0.14997749130619625</c:v>
                </c:pt>
                <c:pt idx="7230" formatCode="0.0%">
                  <c:v>0.15172515445220533</c:v>
                </c:pt>
                <c:pt idx="7231" formatCode="0.0%">
                  <c:v>0.15055501203160926</c:v>
                </c:pt>
                <c:pt idx="7232" formatCode="0.0%">
                  <c:v>0.14558934497859066</c:v>
                </c:pt>
                <c:pt idx="7233" formatCode="0.0%">
                  <c:v>0.14409578487048999</c:v>
                </c:pt>
                <c:pt idx="7234" formatCode="0.0%">
                  <c:v>0.14433823007940288</c:v>
                </c:pt>
                <c:pt idx="7235" formatCode="0.0%">
                  <c:v>0.1424088031797511</c:v>
                </c:pt>
                <c:pt idx="7236" formatCode="0.0%">
                  <c:v>0.14021409613542432</c:v>
                </c:pt>
                <c:pt idx="7237" formatCode="0.0%">
                  <c:v>0.14216364686992775</c:v>
                </c:pt>
                <c:pt idx="7238" formatCode="0.0%">
                  <c:v>0.14374901724721537</c:v>
                </c:pt>
                <c:pt idx="7239" formatCode="0.0%">
                  <c:v>0.14498539303062175</c:v>
                </c:pt>
                <c:pt idx="7240" formatCode="0.0%">
                  <c:v>0.14270663164924655</c:v>
                </c:pt>
                <c:pt idx="7241" formatCode="0.0%">
                  <c:v>0.14273342412673026</c:v>
                </c:pt>
                <c:pt idx="7242" formatCode="0.0%">
                  <c:v>0.13705525958690193</c:v>
                </c:pt>
                <c:pt idx="7243" formatCode="0.0%">
                  <c:v>0.13248273170055486</c:v>
                </c:pt>
                <c:pt idx="7244" formatCode="0.0%">
                  <c:v>0.13475200617108962</c:v>
                </c:pt>
                <c:pt idx="7245" formatCode="0.0%">
                  <c:v>0.1319702167507438</c:v>
                </c:pt>
                <c:pt idx="7246" formatCode="0.0%">
                  <c:v>0.12916856698477949</c:v>
                </c:pt>
                <c:pt idx="7247" formatCode="0.0%">
                  <c:v>0.1294577367502476</c:v>
                </c:pt>
                <c:pt idx="7248" formatCode="0.0%">
                  <c:v>0.1212653896781526</c:v>
                </c:pt>
                <c:pt idx="7249" formatCode="0.0%">
                  <c:v>0.12057273978217076</c:v>
                </c:pt>
                <c:pt idx="7250" formatCode="0.0%">
                  <c:v>0.11801500397756677</c:v>
                </c:pt>
                <c:pt idx="7251" formatCode="0.0%">
                  <c:v>0.10005420158387021</c:v>
                </c:pt>
                <c:pt idx="7252" formatCode="0.0%">
                  <c:v>9.9095746708331434E-2</c:v>
                </c:pt>
                <c:pt idx="7253" formatCode="0.0%">
                  <c:v>9.216393513298092E-2</c:v>
                </c:pt>
                <c:pt idx="7254" formatCode="0.0%">
                  <c:v>8.6599881506183446E-2</c:v>
                </c:pt>
                <c:pt idx="7255" formatCode="0.0%">
                  <c:v>8.4206771835482488E-2</c:v>
                </c:pt>
                <c:pt idx="7256" formatCode="0.0%">
                  <c:v>8.3482800675323057E-2</c:v>
                </c:pt>
                <c:pt idx="7257" formatCode="0.0%">
                  <c:v>8.0333782182669192E-2</c:v>
                </c:pt>
                <c:pt idx="7258" formatCode="0.0%">
                  <c:v>7.9636705934175114E-2</c:v>
                </c:pt>
                <c:pt idx="7259" formatCode="0.0%">
                  <c:v>8.9041096304620315E-2</c:v>
                </c:pt>
                <c:pt idx="7260" formatCode="0.0%">
                  <c:v>8.9129689006060664E-2</c:v>
                </c:pt>
                <c:pt idx="7261" formatCode="0.0%">
                  <c:v>8.9086161520436483E-2</c:v>
                </c:pt>
                <c:pt idx="7262" formatCode="0.0%">
                  <c:v>9.7690585937815669E-2</c:v>
                </c:pt>
                <c:pt idx="7263" formatCode="0.0%">
                  <c:v>9.8393879091954101E-2</c:v>
                </c:pt>
                <c:pt idx="7264" formatCode="0.0%">
                  <c:v>9.7724121531110708E-2</c:v>
                </c:pt>
                <c:pt idx="7265" formatCode="0.0%">
                  <c:v>9.9035675917138619E-2</c:v>
                </c:pt>
                <c:pt idx="7266" formatCode="0.0%">
                  <c:v>0.10051662195891628</c:v>
                </c:pt>
                <c:pt idx="7267" formatCode="0.0%">
                  <c:v>0.10111113742836639</c:v>
                </c:pt>
                <c:pt idx="7268" formatCode="0.0%">
                  <c:v>0.10026179261340708</c:v>
                </c:pt>
                <c:pt idx="7269" formatCode="0.0%">
                  <c:v>0.10223549398401521</c:v>
                </c:pt>
                <c:pt idx="7270" formatCode="0.0%">
                  <c:v>0.10023168131785305</c:v>
                </c:pt>
                <c:pt idx="7271" formatCode="0.0%">
                  <c:v>9.3308035859010818E-2</c:v>
                </c:pt>
                <c:pt idx="7272" formatCode="0.0%">
                  <c:v>9.2466809544783521E-2</c:v>
                </c:pt>
                <c:pt idx="7273" formatCode="0.0%">
                  <c:v>9.1820420162516028E-2</c:v>
                </c:pt>
                <c:pt idx="7274" formatCode="0.0%">
                  <c:v>0.10177790589058638</c:v>
                </c:pt>
                <c:pt idx="7275" formatCode="0.0%">
                  <c:v>0.10181630029960273</c:v>
                </c:pt>
                <c:pt idx="7276" formatCode="0.0%">
                  <c:v>0.10028471934673699</c:v>
                </c:pt>
                <c:pt idx="7277" formatCode="0.0%">
                  <c:v>0.10116633587000411</c:v>
                </c:pt>
                <c:pt idx="7278" formatCode="0.0%">
                  <c:v>0.1125798634508782</c:v>
                </c:pt>
                <c:pt idx="7279" formatCode="0.0%">
                  <c:v>0.1045616361017692</c:v>
                </c:pt>
                <c:pt idx="7280" formatCode="0.0%">
                  <c:v>0.12267522139505743</c:v>
                </c:pt>
                <c:pt idx="7281" formatCode="0.0%">
                  <c:v>0.12249054824288362</c:v>
                </c:pt>
                <c:pt idx="7282" formatCode="0.0%">
                  <c:v>0.12637673237489985</c:v>
                </c:pt>
                <c:pt idx="7283" formatCode="0.0%">
                  <c:v>0.12544107250436215</c:v>
                </c:pt>
                <c:pt idx="7284" formatCode="0.0%">
                  <c:v>0.12474657412497318</c:v>
                </c:pt>
                <c:pt idx="7285" formatCode="0.0%">
                  <c:v>0.12157669786301427</c:v>
                </c:pt>
                <c:pt idx="7286" formatCode="0.0%">
                  <c:v>0.12032172447721251</c:v>
                </c:pt>
                <c:pt idx="7287" formatCode="0.0%">
                  <c:v>0.11985111802734222</c:v>
                </c:pt>
                <c:pt idx="7288" formatCode="0.0%">
                  <c:v>0.11836639858927643</c:v>
                </c:pt>
                <c:pt idx="7289" formatCode="0.0%">
                  <c:v>0.11615837035715446</c:v>
                </c:pt>
                <c:pt idx="7290" formatCode="0.0%">
                  <c:v>0.11417387213234081</c:v>
                </c:pt>
                <c:pt idx="7291" formatCode="0.0%">
                  <c:v>0.12253907297059242</c:v>
                </c:pt>
                <c:pt idx="7292" formatCode="0.0%">
                  <c:v>0.12599163343013106</c:v>
                </c:pt>
                <c:pt idx="7293" formatCode="0.0%">
                  <c:v>0.12675768514042576</c:v>
                </c:pt>
                <c:pt idx="7294" formatCode="0.0%">
                  <c:v>0.11548231467499211</c:v>
                </c:pt>
                <c:pt idx="7295" formatCode="0.0%">
                  <c:v>0.1158177306440373</c:v>
                </c:pt>
                <c:pt idx="7296" formatCode="0.0%">
                  <c:v>0.11511657793493658</c:v>
                </c:pt>
                <c:pt idx="7297" formatCode="0.0%">
                  <c:v>0.11486564758099585</c:v>
                </c:pt>
                <c:pt idx="7298" formatCode="0.0%">
                  <c:v>9.3451225543838931E-2</c:v>
                </c:pt>
                <c:pt idx="7299" formatCode="0.0%">
                  <c:v>9.2750659539210523E-2</c:v>
                </c:pt>
                <c:pt idx="7300" formatCode="0.0%">
                  <c:v>7.8317128302062819E-2</c:v>
                </c:pt>
                <c:pt idx="7301" formatCode="0.0%">
                  <c:v>7.807579861828548E-2</c:v>
                </c:pt>
                <c:pt idx="7302" formatCode="0.0%">
                  <c:v>6.9328586671606629E-2</c:v>
                </c:pt>
                <c:pt idx="7303" formatCode="0.0%">
                  <c:v>7.0430659798837378E-2</c:v>
                </c:pt>
                <c:pt idx="7304" formatCode="0.0%">
                  <c:v>7.0474407633178415E-2</c:v>
                </c:pt>
                <c:pt idx="7305" formatCode="0.0%">
                  <c:v>6.9854060321955194E-2</c:v>
                </c:pt>
                <c:pt idx="7306" formatCode="0.0%">
                  <c:v>6.8573206609053167E-2</c:v>
                </c:pt>
                <c:pt idx="7307" formatCode="0.0%">
                  <c:v>6.9882678368249698E-2</c:v>
                </c:pt>
                <c:pt idx="7308" formatCode="0.0%">
                  <c:v>6.9777153024019226E-2</c:v>
                </c:pt>
                <c:pt idx="7309" formatCode="0.0%">
                  <c:v>7.0660478570244531E-2</c:v>
                </c:pt>
                <c:pt idx="7310" formatCode="0.0%">
                  <c:v>6.8961470915645959E-2</c:v>
                </c:pt>
                <c:pt idx="7311" formatCode="0.0%">
                  <c:v>5.8486746728675564E-2</c:v>
                </c:pt>
                <c:pt idx="7312" formatCode="0.0%">
                  <c:v>5.2602037618587887E-2</c:v>
                </c:pt>
                <c:pt idx="7313" formatCode="0.0%">
                  <c:v>5.5782769889676002E-2</c:v>
                </c:pt>
                <c:pt idx="7314" formatCode="0.0%">
                  <c:v>5.5902378449872794E-2</c:v>
                </c:pt>
                <c:pt idx="7315" formatCode="0.0%">
                  <c:v>5.5602043968495801E-2</c:v>
                </c:pt>
                <c:pt idx="7316" formatCode="0.0%">
                  <c:v>5.4158331410548557E-2</c:v>
                </c:pt>
                <c:pt idx="7317" formatCode="0.0%">
                  <c:v>4.8526776289669678E-2</c:v>
                </c:pt>
                <c:pt idx="7318" formatCode="0.0%">
                  <c:v>5.636396133553559E-2</c:v>
                </c:pt>
                <c:pt idx="7319" formatCode="0.0%">
                  <c:v>5.3906060385179179E-2</c:v>
                </c:pt>
                <c:pt idx="7320" formatCode="0.0%">
                  <c:v>5.4337566162514783E-2</c:v>
                </c:pt>
                <c:pt idx="7321" formatCode="0.0%">
                  <c:v>5.4232951006162211E-2</c:v>
                </c:pt>
                <c:pt idx="7322" formatCode="0.0%">
                  <c:v>5.1382149918453163E-2</c:v>
                </c:pt>
                <c:pt idx="7323" formatCode="0.0%">
                  <c:v>5.0101595211055332E-2</c:v>
                </c:pt>
                <c:pt idx="7324" formatCode="0.0%">
                  <c:v>5.0099658794044315E-2</c:v>
                </c:pt>
                <c:pt idx="7325" formatCode="0.0%">
                  <c:v>5.4550279363258285E-2</c:v>
                </c:pt>
                <c:pt idx="7326" formatCode="0.0%">
                  <c:v>5.3687655933871592E-2</c:v>
                </c:pt>
                <c:pt idx="7327" formatCode="0.0%">
                  <c:v>4.9748595151303171E-2</c:v>
                </c:pt>
                <c:pt idx="7328" formatCode="0.0%">
                  <c:v>4.9546646392277703E-2</c:v>
                </c:pt>
                <c:pt idx="7329" formatCode="0.0%">
                  <c:v>5.2579697956902934E-2</c:v>
                </c:pt>
                <c:pt idx="7330" formatCode="0.0%">
                  <c:v>5.3582269587739907E-2</c:v>
                </c:pt>
                <c:pt idx="7331" formatCode="0.0%">
                  <c:v>5.3730636712008534E-2</c:v>
                </c:pt>
                <c:pt idx="7332" formatCode="0.0%">
                  <c:v>5.388328031525548E-2</c:v>
                </c:pt>
                <c:pt idx="7333" formatCode="0.0%">
                  <c:v>5.3641824381673982E-2</c:v>
                </c:pt>
                <c:pt idx="7334" formatCode="0.0%">
                  <c:v>5.7995711746355254E-2</c:v>
                </c:pt>
                <c:pt idx="7335" formatCode="0.0%">
                  <c:v>5.6990339174879882E-2</c:v>
                </c:pt>
                <c:pt idx="7336" formatCode="0.0%">
                  <c:v>5.8337033471247884E-2</c:v>
                </c:pt>
                <c:pt idx="7337" formatCode="0.0%">
                  <c:v>5.9144128242918918E-2</c:v>
                </c:pt>
                <c:pt idx="7338" formatCode="0.0%">
                  <c:v>5.3606305685745967E-2</c:v>
                </c:pt>
                <c:pt idx="7339" formatCode="0.0%">
                  <c:v>5.2767689647468148E-2</c:v>
                </c:pt>
                <c:pt idx="7340" formatCode="0.0%">
                  <c:v>5.3311825501374734E-2</c:v>
                </c:pt>
                <c:pt idx="7341" formatCode="0.0%">
                  <c:v>5.5554860986725074E-2</c:v>
                </c:pt>
                <c:pt idx="7342" formatCode="0.0%">
                  <c:v>5.8555150138140118E-2</c:v>
                </c:pt>
                <c:pt idx="7343" formatCode="0.0%">
                  <c:v>5.8793548028164611E-2</c:v>
                </c:pt>
                <c:pt idx="7344" formatCode="0.0%">
                  <c:v>5.9191635867605605E-2</c:v>
                </c:pt>
                <c:pt idx="7345" formatCode="0.0%">
                  <c:v>5.6025581757782807E-2</c:v>
                </c:pt>
                <c:pt idx="7346" formatCode="0.0%">
                  <c:v>5.6057807207541846E-2</c:v>
                </c:pt>
                <c:pt idx="7347" formatCode="0.0%">
                  <c:v>5.5688897397474069E-2</c:v>
                </c:pt>
                <c:pt idx="7348" formatCode="0.0%">
                  <c:v>5.9418099544817034E-2</c:v>
                </c:pt>
                <c:pt idx="7349" formatCode="0.0%">
                  <c:v>5.6640251158730885E-2</c:v>
                </c:pt>
                <c:pt idx="7350" formatCode="0.0%">
                  <c:v>5.5536204663396836E-2</c:v>
                </c:pt>
                <c:pt idx="7351" formatCode="0.0%">
                  <c:v>6.6470832059707011E-2</c:v>
                </c:pt>
                <c:pt idx="7352" formatCode="0.0%">
                  <c:v>6.729368794861533E-2</c:v>
                </c:pt>
                <c:pt idx="7353" formatCode="0.0%">
                  <c:v>7.081631939912833E-2</c:v>
                </c:pt>
                <c:pt idx="7354" formatCode="0.0%">
                  <c:v>6.9351985219265055E-2</c:v>
                </c:pt>
                <c:pt idx="7355" formatCode="0.0%">
                  <c:v>6.9433516451968116E-2</c:v>
                </c:pt>
                <c:pt idx="7356" formatCode="0.0%">
                  <c:v>6.9641526891106073E-2</c:v>
                </c:pt>
                <c:pt idx="7357" formatCode="0.0%">
                  <c:v>6.81376903788833E-2</c:v>
                </c:pt>
                <c:pt idx="7358" formatCode="0.0%">
                  <c:v>7.0555861753864565E-2</c:v>
                </c:pt>
                <c:pt idx="7359" formatCode="0.0%">
                  <c:v>7.055755694522596E-2</c:v>
                </c:pt>
                <c:pt idx="7360" formatCode="0.0%">
                  <c:v>7.295931216422305E-2</c:v>
                </c:pt>
                <c:pt idx="7361" formatCode="0.0%">
                  <c:v>7.9873830368631021E-2</c:v>
                </c:pt>
                <c:pt idx="7362" formatCode="0.0%">
                  <c:v>7.7139850282822831E-2</c:v>
                </c:pt>
                <c:pt idx="7363" formatCode="0.0%">
                  <c:v>7.681147296535086E-2</c:v>
                </c:pt>
                <c:pt idx="7364" formatCode="0.0%">
                  <c:v>7.6248986538417426E-2</c:v>
                </c:pt>
                <c:pt idx="7365" formatCode="0.0%">
                  <c:v>7.6070169425802484E-2</c:v>
                </c:pt>
                <c:pt idx="7366" formatCode="0.0%">
                  <c:v>7.8122666494273074E-2</c:v>
                </c:pt>
                <c:pt idx="7367" formatCode="0.0%">
                  <c:v>8.2478653930954965E-2</c:v>
                </c:pt>
                <c:pt idx="7368" formatCode="0.0%">
                  <c:v>8.4265436232213012E-2</c:v>
                </c:pt>
                <c:pt idx="7369" formatCode="0.0%">
                  <c:v>8.7120510184550234E-2</c:v>
                </c:pt>
                <c:pt idx="7370" formatCode="0.0%">
                  <c:v>9.1302868003085763E-2</c:v>
                </c:pt>
                <c:pt idx="7371" formatCode="0.0%">
                  <c:v>8.9796202017859608E-2</c:v>
                </c:pt>
                <c:pt idx="7372" formatCode="0.0%">
                  <c:v>8.9602326265393675E-2</c:v>
                </c:pt>
                <c:pt idx="7373" formatCode="0.0%">
                  <c:v>8.4727225533783257E-2</c:v>
                </c:pt>
                <c:pt idx="7374" formatCode="0.0%">
                  <c:v>8.1536509955321329E-2</c:v>
                </c:pt>
                <c:pt idx="7375" formatCode="0.0%">
                  <c:v>8.1536509955321329E-2</c:v>
                </c:pt>
                <c:pt idx="7376" formatCode="0.0%">
                  <c:v>8.819480947380276E-2</c:v>
                </c:pt>
                <c:pt idx="7377" formatCode="0.0%">
                  <c:v>9.6292215670889858E-2</c:v>
                </c:pt>
                <c:pt idx="7378" formatCode="0.0%">
                  <c:v>9.4855817161961439E-2</c:v>
                </c:pt>
                <c:pt idx="7379" formatCode="0.0%">
                  <c:v>9.5519300482694011E-2</c:v>
                </c:pt>
                <c:pt idx="7380" formatCode="0.0%">
                  <c:v>9.4242475231853154E-2</c:v>
                </c:pt>
                <c:pt idx="7381" formatCode="0.0%">
                  <c:v>8.9089474258516474E-2</c:v>
                </c:pt>
                <c:pt idx="7382" formatCode="0.0%">
                  <c:v>9.0714870926811381E-2</c:v>
                </c:pt>
                <c:pt idx="7383" formatCode="0.0%">
                  <c:v>9.1584712185137501E-2</c:v>
                </c:pt>
                <c:pt idx="7384" formatCode="0.0%">
                  <c:v>9.1540777939483023E-2</c:v>
                </c:pt>
                <c:pt idx="7385" formatCode="0.0%">
                  <c:v>9.3982296731277865E-2</c:v>
                </c:pt>
                <c:pt idx="7386" formatCode="0.0%">
                  <c:v>9.5596915546189154E-2</c:v>
                </c:pt>
                <c:pt idx="7387" formatCode="0.0%">
                  <c:v>9.1953158110419764E-2</c:v>
                </c:pt>
                <c:pt idx="7388" formatCode="0.0%">
                  <c:v>8.8226360913171195E-2</c:v>
                </c:pt>
                <c:pt idx="7389" formatCode="0.0%">
                  <c:v>8.5218036501003736E-2</c:v>
                </c:pt>
                <c:pt idx="7390" formatCode="0.0%">
                  <c:v>7.7879939985672733E-2</c:v>
                </c:pt>
                <c:pt idx="7391" formatCode="0.0%">
                  <c:v>7.4593977496378722E-2</c:v>
                </c:pt>
                <c:pt idx="7392" formatCode="0.0%">
                  <c:v>7.4095742826842975E-2</c:v>
                </c:pt>
                <c:pt idx="7393" formatCode="0.0%">
                  <c:v>7.5639203506109892E-2</c:v>
                </c:pt>
                <c:pt idx="7394" formatCode="0.0%">
                  <c:v>8.7040241148192032E-2</c:v>
                </c:pt>
                <c:pt idx="7395" formatCode="0.0%">
                  <c:v>8.702338802562902E-2</c:v>
                </c:pt>
                <c:pt idx="7396" formatCode="0.0%">
                  <c:v>7.9712525337410009E-2</c:v>
                </c:pt>
                <c:pt idx="7397" formatCode="0.0%">
                  <c:v>6.7209753024421878E-2</c:v>
                </c:pt>
                <c:pt idx="7398" formatCode="0.0%">
                  <c:v>6.4244677832759584E-2</c:v>
                </c:pt>
                <c:pt idx="7399" formatCode="0.0%">
                  <c:v>6.6630762035334912E-2</c:v>
                </c:pt>
                <c:pt idx="7400" formatCode="0.0%">
                  <c:v>7.6803127737306548E-2</c:v>
                </c:pt>
                <c:pt idx="7401" formatCode="0.0%">
                  <c:v>7.8294975351425822E-2</c:v>
                </c:pt>
                <c:pt idx="7402" formatCode="0.0%">
                  <c:v>7.8058982626501849E-2</c:v>
                </c:pt>
                <c:pt idx="7403" formatCode="0.0%">
                  <c:v>7.4807487686942509E-2</c:v>
                </c:pt>
                <c:pt idx="7404" formatCode="0.0%">
                  <c:v>8.2256435604123213E-2</c:v>
                </c:pt>
                <c:pt idx="7405" formatCode="0.0%">
                  <c:v>8.2219103910445818E-2</c:v>
                </c:pt>
                <c:pt idx="7406" formatCode="0.0%">
                  <c:v>8.8422899751396333E-2</c:v>
                </c:pt>
                <c:pt idx="7407" formatCode="0.0%">
                  <c:v>8.9012846584752392E-2</c:v>
                </c:pt>
                <c:pt idx="7408" formatCode="0.0%">
                  <c:v>8.9473407232647822E-2</c:v>
                </c:pt>
                <c:pt idx="7409" formatCode="0.0%">
                  <c:v>0.10855463408317581</c:v>
                </c:pt>
                <c:pt idx="7410" formatCode="0.0%">
                  <c:v>0.11539600155053843</c:v>
                </c:pt>
                <c:pt idx="7411" formatCode="0.0%">
                  <c:v>0.1177471546739306</c:v>
                </c:pt>
                <c:pt idx="7412" formatCode="0.0%">
                  <c:v>0.11786317172061217</c:v>
                </c:pt>
                <c:pt idx="7413" formatCode="0.0%">
                  <c:v>0.1239292330665238</c:v>
                </c:pt>
                <c:pt idx="7414" formatCode="0.0%">
                  <c:v>0.12655762003488111</c:v>
                </c:pt>
                <c:pt idx="7415" formatCode="0.0%">
                  <c:v>0.14576926931095324</c:v>
                </c:pt>
                <c:pt idx="7416" formatCode="0.0%">
                  <c:v>0.14607262983495906</c:v>
                </c:pt>
                <c:pt idx="7417" formatCode="0.0%">
                  <c:v>0.14603103229667613</c:v>
                </c:pt>
                <c:pt idx="7418" formatCode="0.0%">
                  <c:v>0.16328981806137266</c:v>
                </c:pt>
                <c:pt idx="7419" formatCode="0.0%">
                  <c:v>0.1636331979115358</c:v>
                </c:pt>
                <c:pt idx="7420" formatCode="0.0%">
                  <c:v>0.16082019388119217</c:v>
                </c:pt>
                <c:pt idx="7421" formatCode="0.0%">
                  <c:v>0.15722243638557634</c:v>
                </c:pt>
                <c:pt idx="7422" formatCode="0.0%">
                  <c:v>0.15723863408514657</c:v>
                </c:pt>
                <c:pt idx="7423" formatCode="0.0%">
                  <c:v>0.15852304069515871</c:v>
                </c:pt>
                <c:pt idx="7424" formatCode="0.0%">
                  <c:v>0.15621595669109029</c:v>
                </c:pt>
                <c:pt idx="7425" formatCode="0.0%">
                  <c:v>0.16144443172284387</c:v>
                </c:pt>
                <c:pt idx="7426" formatCode="0.0%">
                  <c:v>0.16493749230015375</c:v>
                </c:pt>
                <c:pt idx="7427" formatCode="0.0%">
                  <c:v>0.16486482190577717</c:v>
                </c:pt>
                <c:pt idx="7428" formatCode="0.0%">
                  <c:v>0.1650642693268837</c:v>
                </c:pt>
                <c:pt idx="7429" formatCode="0.0%">
                  <c:v>0.14932925347221712</c:v>
                </c:pt>
                <c:pt idx="7430" formatCode="0.0%">
                  <c:v>0.14587806911414619</c:v>
                </c:pt>
                <c:pt idx="7431" formatCode="0.0%">
                  <c:v>0.14598946370116184</c:v>
                </c:pt>
                <c:pt idx="7432" formatCode="0.0%">
                  <c:v>0.15401388407374469</c:v>
                </c:pt>
                <c:pt idx="7433" formatCode="0.0%">
                  <c:v>0.16617367117980175</c:v>
                </c:pt>
                <c:pt idx="7434" formatCode="0.0%">
                  <c:v>0.16271640786587213</c:v>
                </c:pt>
                <c:pt idx="7435" formatCode="0.0%">
                  <c:v>0.15363353297327112</c:v>
                </c:pt>
                <c:pt idx="7436" formatCode="0.0%">
                  <c:v>0.15430193171690132</c:v>
                </c:pt>
                <c:pt idx="7437" formatCode="0.0%">
                  <c:v>0.15431101508026354</c:v>
                </c:pt>
                <c:pt idx="7438" formatCode="0.0%">
                  <c:v>0.13672927782196118</c:v>
                </c:pt>
                <c:pt idx="7439" formatCode="0.0%">
                  <c:v>0.13959440286362676</c:v>
                </c:pt>
                <c:pt idx="7440" formatCode="0.0%">
                  <c:v>0.14312646990993583</c:v>
                </c:pt>
                <c:pt idx="7441" formatCode="0.0%">
                  <c:v>0.14310736831414728</c:v>
                </c:pt>
                <c:pt idx="7442" formatCode="0.0%">
                  <c:v>0.14477262533802018</c:v>
                </c:pt>
                <c:pt idx="7443" formatCode="0.0%">
                  <c:v>0.14834267320686634</c:v>
                </c:pt>
                <c:pt idx="7444" formatCode="0.0%">
                  <c:v>0.1469034150999978</c:v>
                </c:pt>
                <c:pt idx="7445" formatCode="0.0%">
                  <c:v>0.14157536758430531</c:v>
                </c:pt>
                <c:pt idx="7446" formatCode="0.0%">
                  <c:v>0.15029092681861592</c:v>
                </c:pt>
                <c:pt idx="7447" formatCode="0.0%">
                  <c:v>0.15027593890248245</c:v>
                </c:pt>
                <c:pt idx="7448" formatCode="0.0%">
                  <c:v>0.15598117054933619</c:v>
                </c:pt>
                <c:pt idx="7449" formatCode="0.0%">
                  <c:v>0.16313062988364596</c:v>
                </c:pt>
                <c:pt idx="7450" formatCode="0.0%">
                  <c:v>0.16302568597784151</c:v>
                </c:pt>
                <c:pt idx="7451" formatCode="0.0%">
                  <c:v>0.16897707791872252</c:v>
                </c:pt>
                <c:pt idx="7452" formatCode="0.0%">
                  <c:v>0.16386578786770942</c:v>
                </c:pt>
                <c:pt idx="7453" formatCode="0.0%">
                  <c:v>0.17525443618667183</c:v>
                </c:pt>
                <c:pt idx="7454" formatCode="0.0%">
                  <c:v>0.17028919562982547</c:v>
                </c:pt>
                <c:pt idx="7455" formatCode="0.0%">
                  <c:v>0.24040335035098501</c:v>
                </c:pt>
                <c:pt idx="7456" formatCode="0.0%">
                  <c:v>0.23985840496425201</c:v>
                </c:pt>
                <c:pt idx="7457" formatCode="0.0%">
                  <c:v>0.2397781173710323</c:v>
                </c:pt>
                <c:pt idx="7458" formatCode="0.0%">
                  <c:v>0.23985623278728477</c:v>
                </c:pt>
                <c:pt idx="7459" formatCode="0.0%">
                  <c:v>0.23913919888659266</c:v>
                </c:pt>
                <c:pt idx="7460" formatCode="0.0%">
                  <c:v>0.239230678170127</c:v>
                </c:pt>
                <c:pt idx="7461" formatCode="0.0%">
                  <c:v>0.23923960061202565</c:v>
                </c:pt>
                <c:pt idx="7462" formatCode="0.0%">
                  <c:v>0.24275373197935754</c:v>
                </c:pt>
                <c:pt idx="7463" formatCode="0.0%">
                  <c:v>0.23951700138268486</c:v>
                </c:pt>
                <c:pt idx="7464" formatCode="0.0%">
                  <c:v>0.23933213213096927</c:v>
                </c:pt>
                <c:pt idx="7465" formatCode="0.0%">
                  <c:v>0.24074705567407348</c:v>
                </c:pt>
                <c:pt idx="7466" formatCode="0.0%">
                  <c:v>0.22822279327579059</c:v>
                </c:pt>
                <c:pt idx="7467" formatCode="0.0%">
                  <c:v>0.22823078791768725</c:v>
                </c:pt>
                <c:pt idx="7468" formatCode="0.0%">
                  <c:v>0.23092681836402934</c:v>
                </c:pt>
                <c:pt idx="7469" formatCode="0.0%">
                  <c:v>0.22628577704096109</c:v>
                </c:pt>
                <c:pt idx="7470" formatCode="0.0%">
                  <c:v>0.22532864051289242</c:v>
                </c:pt>
                <c:pt idx="7471" formatCode="0.0%">
                  <c:v>0.23611095831831774</c:v>
                </c:pt>
                <c:pt idx="7472" formatCode="0.0%">
                  <c:v>0.23624277898614865</c:v>
                </c:pt>
                <c:pt idx="7473" formatCode="0.0%">
                  <c:v>0.21072376453106587</c:v>
                </c:pt>
                <c:pt idx="7474" formatCode="0.0%">
                  <c:v>0.20991214785251944</c:v>
                </c:pt>
                <c:pt idx="7475" formatCode="0.0%">
                  <c:v>0.14631673748350807</c:v>
                </c:pt>
                <c:pt idx="7476" formatCode="0.0%">
                  <c:v>0.15046485032464441</c:v>
                </c:pt>
                <c:pt idx="7477" formatCode="0.0%">
                  <c:v>0.15216275740506555</c:v>
                </c:pt>
                <c:pt idx="7478" formatCode="0.0%">
                  <c:v>0.18043800996648932</c:v>
                </c:pt>
                <c:pt idx="7479" formatCode="0.0%">
                  <c:v>0.20659611173401082</c:v>
                </c:pt>
                <c:pt idx="7480" formatCode="0.0%">
                  <c:v>0.20845399691482849</c:v>
                </c:pt>
                <c:pt idx="7481" formatCode="0.0%">
                  <c:v>0.21116663275418124</c:v>
                </c:pt>
                <c:pt idx="7482" formatCode="0.0%">
                  <c:v>0.20301248096250232</c:v>
                </c:pt>
                <c:pt idx="7483" formatCode="0.0%">
                  <c:v>0.20297494971533875</c:v>
                </c:pt>
                <c:pt idx="7484" formatCode="0.0%">
                  <c:v>0.20308769434948976</c:v>
                </c:pt>
                <c:pt idx="7485" formatCode="0.0%">
                  <c:v>0.20354035360531453</c:v>
                </c:pt>
                <c:pt idx="7486" formatCode="0.0%">
                  <c:v>0.20174074646265569</c:v>
                </c:pt>
                <c:pt idx="7487" formatCode="0.0%">
                  <c:v>0.20467116388313286</c:v>
                </c:pt>
                <c:pt idx="7488" formatCode="0.0%">
                  <c:v>0.19703510547616673</c:v>
                </c:pt>
                <c:pt idx="7489" formatCode="0.0%">
                  <c:v>0.19683345987677575</c:v>
                </c:pt>
                <c:pt idx="7490" formatCode="0.0%">
                  <c:v>0.19653822568570678</c:v>
                </c:pt>
                <c:pt idx="7491" formatCode="0.0%">
                  <c:v>0.18736147637443248</c:v>
                </c:pt>
                <c:pt idx="7492" formatCode="0.0%">
                  <c:v>0.19540734398929707</c:v>
                </c:pt>
                <c:pt idx="7493" formatCode="0.0%">
                  <c:v>0.19452718373040259</c:v>
                </c:pt>
                <c:pt idx="7494" formatCode="0.0%">
                  <c:v>0.19825433122959499</c:v>
                </c:pt>
                <c:pt idx="7495" formatCode="0.0%">
                  <c:v>0.19283759459428942</c:v>
                </c:pt>
                <c:pt idx="7496" formatCode="0.0%">
                  <c:v>0.18864760768057173</c:v>
                </c:pt>
                <c:pt idx="7497" formatCode="0.0%">
                  <c:v>0.18578345956642273</c:v>
                </c:pt>
                <c:pt idx="7498" formatCode="0.0%">
                  <c:v>0.16561060328823521</c:v>
                </c:pt>
                <c:pt idx="7499" formatCode="0.0%">
                  <c:v>0.12624599489458468</c:v>
                </c:pt>
                <c:pt idx="7500" formatCode="0.0%">
                  <c:v>0.11664911700253187</c:v>
                </c:pt>
                <c:pt idx="7501" formatCode="0.0%">
                  <c:v>0.12290543932265487</c:v>
                </c:pt>
                <c:pt idx="7502" formatCode="0.0%">
                  <c:v>0.12797737974422763</c:v>
                </c:pt>
                <c:pt idx="7503" formatCode="0.0%">
                  <c:v>0.13695278421112686</c:v>
                </c:pt>
                <c:pt idx="7504" formatCode="0.0%">
                  <c:v>0.13762008461341443</c:v>
                </c:pt>
                <c:pt idx="7505" formatCode="0.0%">
                  <c:v>0.14018546747966612</c:v>
                </c:pt>
                <c:pt idx="7506" formatCode="0.0%">
                  <c:v>0.13599652575300739</c:v>
                </c:pt>
                <c:pt idx="7507" formatCode="0.0%">
                  <c:v>0.1338066391340885</c:v>
                </c:pt>
                <c:pt idx="7508" formatCode="0.0%">
                  <c:v>0.13803899738166189</c:v>
                </c:pt>
                <c:pt idx="7509" formatCode="0.0%">
                  <c:v>0.13843837274434595</c:v>
                </c:pt>
                <c:pt idx="7510" formatCode="0.0%">
                  <c:v>0.13844120000100049</c:v>
                </c:pt>
                <c:pt idx="7511" formatCode="0.0%">
                  <c:v>0.12906112781473303</c:v>
                </c:pt>
                <c:pt idx="7512" formatCode="0.0%">
                  <c:v>0.10857998218537884</c:v>
                </c:pt>
                <c:pt idx="7513" formatCode="0.0%">
                  <c:v>0.10806649675745185</c:v>
                </c:pt>
                <c:pt idx="7514" formatCode="0.0%">
                  <c:v>0.10448624233241986</c:v>
                </c:pt>
                <c:pt idx="7515" formatCode="0.0%">
                  <c:v>9.8455389719724257E-2</c:v>
                </c:pt>
                <c:pt idx="7516" formatCode="0.0%">
                  <c:v>9.9561147287272708E-2</c:v>
                </c:pt>
                <c:pt idx="7517" formatCode="0.0%">
                  <c:v>9.9652853240207367E-2</c:v>
                </c:pt>
                <c:pt idx="7518" formatCode="0.0%">
                  <c:v>9.8106160260935424E-2</c:v>
                </c:pt>
                <c:pt idx="7519" formatCode="0.0%">
                  <c:v>9.7643142935482236E-2</c:v>
                </c:pt>
                <c:pt idx="7520" formatCode="0.0%">
                  <c:v>9.3975614401468427E-2</c:v>
                </c:pt>
                <c:pt idx="7521" formatCode="0.0%">
                  <c:v>9.0416433073967434E-2</c:v>
                </c:pt>
                <c:pt idx="7522" formatCode="0.0%">
                  <c:v>9.0684361445307948E-2</c:v>
                </c:pt>
                <c:pt idx="7523" formatCode="0.0%">
                  <c:v>7.9569002107484202E-2</c:v>
                </c:pt>
                <c:pt idx="7524" formatCode="0.0%">
                  <c:v>8.0428407224812884E-2</c:v>
                </c:pt>
                <c:pt idx="7525" formatCode="0.0%">
                  <c:v>8.28876100873564E-2</c:v>
                </c:pt>
                <c:pt idx="7526" formatCode="0.0%">
                  <c:v>8.7573235563576379E-2</c:v>
                </c:pt>
                <c:pt idx="7527" formatCode="0.0%">
                  <c:v>8.4379614693383578E-2</c:v>
                </c:pt>
                <c:pt idx="7528" formatCode="0.0%">
                  <c:v>8.3460427744961166E-2</c:v>
                </c:pt>
                <c:pt idx="7529" formatCode="0.0%">
                  <c:v>8.7571391539281354E-2</c:v>
                </c:pt>
                <c:pt idx="7530" formatCode="0.0%">
                  <c:v>9.3716371904737111E-2</c:v>
                </c:pt>
                <c:pt idx="7531" formatCode="0.0%">
                  <c:v>9.1097873009331587E-2</c:v>
                </c:pt>
                <c:pt idx="7532" formatCode="0.0%">
                  <c:v>9.0866616600415201E-2</c:v>
                </c:pt>
                <c:pt idx="7533" formatCode="0.0%">
                  <c:v>9.7064023894969348E-2</c:v>
                </c:pt>
                <c:pt idx="7534" formatCode="0.0%">
                  <c:v>9.648656972825119E-2</c:v>
                </c:pt>
                <c:pt idx="7535" formatCode="0.0%">
                  <c:v>9.6614349561708779E-2</c:v>
                </c:pt>
                <c:pt idx="7536" formatCode="0.0%">
                  <c:v>9.6255547833879268E-2</c:v>
                </c:pt>
                <c:pt idx="7537" formatCode="0.0%">
                  <c:v>9.7166318672788646E-2</c:v>
                </c:pt>
                <c:pt idx="7538" formatCode="0.0%">
                  <c:v>9.120346528399699E-2</c:v>
                </c:pt>
                <c:pt idx="7539" formatCode="0.0%">
                  <c:v>9.2474462407958161E-2</c:v>
                </c:pt>
                <c:pt idx="7540" formatCode="0.0%">
                  <c:v>9.2144536038519256E-2</c:v>
                </c:pt>
                <c:pt idx="7541" formatCode="0.0%">
                  <c:v>9.3987450610593271E-2</c:v>
                </c:pt>
                <c:pt idx="7542" formatCode="0.0%">
                  <c:v>9.462643283535882E-2</c:v>
                </c:pt>
                <c:pt idx="7543" formatCode="0.0%">
                  <c:v>9.6221569779152166E-2</c:v>
                </c:pt>
                <c:pt idx="7544" formatCode="0.0%">
                  <c:v>9.4965517747165246E-2</c:v>
                </c:pt>
                <c:pt idx="7545" formatCode="0.0%">
                  <c:v>8.9092328537822688E-2</c:v>
                </c:pt>
                <c:pt idx="7546" formatCode="0.0%">
                  <c:v>8.8192690636488894E-2</c:v>
                </c:pt>
                <c:pt idx="7547" formatCode="0.0%">
                  <c:v>0.10024566935852411</c:v>
                </c:pt>
                <c:pt idx="7548" formatCode="0.0%">
                  <c:v>9.4934413955741814E-2</c:v>
                </c:pt>
                <c:pt idx="7549" formatCode="0.0%">
                  <c:v>9.2313987897573765E-2</c:v>
                </c:pt>
                <c:pt idx="7550" formatCode="0.0%">
                  <c:v>8.7065926469104701E-2</c:v>
                </c:pt>
                <c:pt idx="7551" formatCode="0.0%">
                  <c:v>8.5472913151259683E-2</c:v>
                </c:pt>
                <c:pt idx="7552" formatCode="0.0%">
                  <c:v>8.5315067501610539E-2</c:v>
                </c:pt>
                <c:pt idx="7553" formatCode="0.0%">
                  <c:v>8.1935425904950232E-2</c:v>
                </c:pt>
                <c:pt idx="7554" formatCode="0.0%">
                  <c:v>8.372323257740423E-2</c:v>
                </c:pt>
                <c:pt idx="7555" formatCode="0.0%">
                  <c:v>8.5342548261541487E-2</c:v>
                </c:pt>
                <c:pt idx="7556" formatCode="0.0%">
                  <c:v>8.6267873046057791E-2</c:v>
                </c:pt>
                <c:pt idx="7557" formatCode="0.0%">
                  <c:v>8.2312517613273337E-2</c:v>
                </c:pt>
                <c:pt idx="7558" formatCode="0.0%">
                  <c:v>8.4434572573730826E-2</c:v>
                </c:pt>
                <c:pt idx="7559" formatCode="0.0%">
                  <c:v>7.9843082636523496E-2</c:v>
                </c:pt>
                <c:pt idx="7560" formatCode="0.0%">
                  <c:v>8.1513356362232642E-2</c:v>
                </c:pt>
                <c:pt idx="7561" formatCode="0.0%">
                  <c:v>8.1123598648611017E-2</c:v>
                </c:pt>
                <c:pt idx="7562" formatCode="0.0%">
                  <c:v>7.8225173676932921E-2</c:v>
                </c:pt>
                <c:pt idx="7563" formatCode="0.0%">
                  <c:v>7.7897487124375803E-2</c:v>
                </c:pt>
                <c:pt idx="7564" formatCode="0.0%">
                  <c:v>7.6354009293723893E-2</c:v>
                </c:pt>
                <c:pt idx="7565" formatCode="0.0%">
                  <c:v>7.681984504933656E-2</c:v>
                </c:pt>
                <c:pt idx="7566" formatCode="0.0%">
                  <c:v>8.209827302399382E-2</c:v>
                </c:pt>
                <c:pt idx="7567" formatCode="0.0%">
                  <c:v>6.7936617393144674E-2</c:v>
                </c:pt>
                <c:pt idx="7568" formatCode="0.0%">
                  <c:v>6.8167091367219823E-2</c:v>
                </c:pt>
                <c:pt idx="7569" formatCode="0.0%">
                  <c:v>7.2636262061287607E-2</c:v>
                </c:pt>
                <c:pt idx="7570" formatCode="0.0%">
                  <c:v>6.6811579584177924E-2</c:v>
                </c:pt>
                <c:pt idx="7571" formatCode="0.0%">
                  <c:v>6.7061867361542835E-2</c:v>
                </c:pt>
                <c:pt idx="7572" formatCode="0.0%">
                  <c:v>6.6978545087356331E-2</c:v>
                </c:pt>
                <c:pt idx="7573" formatCode="0.0%">
                  <c:v>7.0895704763907011E-2</c:v>
                </c:pt>
                <c:pt idx="7574" formatCode="0.0%">
                  <c:v>7.5892012441622914E-2</c:v>
                </c:pt>
                <c:pt idx="7575" formatCode="0.0%">
                  <c:v>8.024135740684421E-2</c:v>
                </c:pt>
                <c:pt idx="7576" formatCode="0.0%">
                  <c:v>7.945179512636999E-2</c:v>
                </c:pt>
                <c:pt idx="7577" formatCode="0.0%">
                  <c:v>8.7986698852269063E-2</c:v>
                </c:pt>
                <c:pt idx="7578" formatCode="0.0%">
                  <c:v>8.6117704983784432E-2</c:v>
                </c:pt>
                <c:pt idx="7579" formatCode="0.0%">
                  <c:v>8.6182215676788451E-2</c:v>
                </c:pt>
                <c:pt idx="7580" formatCode="0.0%">
                  <c:v>8.5169345415916489E-2</c:v>
                </c:pt>
                <c:pt idx="7581" formatCode="0.0%">
                  <c:v>8.7922102748955469E-2</c:v>
                </c:pt>
                <c:pt idx="7582" formatCode="0.0%">
                  <c:v>8.7696484505277963E-2</c:v>
                </c:pt>
                <c:pt idx="7583" formatCode="0.0%">
                  <c:v>8.9207471952416531E-2</c:v>
                </c:pt>
                <c:pt idx="7584" formatCode="0.0%">
                  <c:v>9.1160778593750019E-2</c:v>
                </c:pt>
                <c:pt idx="7585" formatCode="0.0%">
                  <c:v>9.4522179369966833E-2</c:v>
                </c:pt>
                <c:pt idx="7586" formatCode="0.0%">
                  <c:v>8.7343320130528354E-2</c:v>
                </c:pt>
                <c:pt idx="7587" formatCode="0.0%">
                  <c:v>8.5240532769575772E-2</c:v>
                </c:pt>
                <c:pt idx="7588" formatCode="0.0%">
                  <c:v>8.2044112056651408E-2</c:v>
                </c:pt>
                <c:pt idx="7589" formatCode="0.0%">
                  <c:v>8.0855449013651728E-2</c:v>
                </c:pt>
                <c:pt idx="7590" formatCode="0.0%">
                  <c:v>8.212501597948052E-2</c:v>
                </c:pt>
                <c:pt idx="7591" formatCode="0.0%">
                  <c:v>8.2088031713817511E-2</c:v>
                </c:pt>
                <c:pt idx="7592" formatCode="0.0%">
                  <c:v>8.2331339744116203E-2</c:v>
                </c:pt>
                <c:pt idx="7593" formatCode="0.0%">
                  <c:v>8.6234483605407364E-2</c:v>
                </c:pt>
                <c:pt idx="7594" formatCode="0.0%">
                  <c:v>8.2313158319532939E-2</c:v>
                </c:pt>
                <c:pt idx="7595" formatCode="0.0%">
                  <c:v>8.8640114775102918E-2</c:v>
                </c:pt>
                <c:pt idx="7596" formatCode="0.0%">
                  <c:v>8.9345290844295877E-2</c:v>
                </c:pt>
                <c:pt idx="7597" formatCode="0.0%">
                  <c:v>8.1909188103635455E-2</c:v>
                </c:pt>
                <c:pt idx="7598" formatCode="0.0%">
                  <c:v>8.1103859079688062E-2</c:v>
                </c:pt>
                <c:pt idx="7599" formatCode="0.0%">
                  <c:v>8.4970368220522605E-2</c:v>
                </c:pt>
                <c:pt idx="7600" formatCode="0.0%">
                  <c:v>8.5311677785996867E-2</c:v>
                </c:pt>
                <c:pt idx="7601" formatCode="0.0%">
                  <c:v>8.2897499099672478E-2</c:v>
                </c:pt>
                <c:pt idx="7602" formatCode="0.0%">
                  <c:v>8.1473261315858123E-2</c:v>
                </c:pt>
                <c:pt idx="7603" formatCode="0.0%">
                  <c:v>8.0335118714369089E-2</c:v>
                </c:pt>
                <c:pt idx="7604" formatCode="0.0%">
                  <c:v>7.779633386387938E-2</c:v>
                </c:pt>
                <c:pt idx="7605" formatCode="0.0%">
                  <c:v>6.9740683732941205E-2</c:v>
                </c:pt>
                <c:pt idx="7606" formatCode="0.0%">
                  <c:v>7.1713387848401131E-2</c:v>
                </c:pt>
                <c:pt idx="7607" formatCode="0.0%">
                  <c:v>7.27141034345129E-2</c:v>
                </c:pt>
                <c:pt idx="7608" formatCode="0.0%">
                  <c:v>7.3131876380897937E-2</c:v>
                </c:pt>
                <c:pt idx="7609" formatCode="0.0%">
                  <c:v>7.1396823262033213E-2</c:v>
                </c:pt>
                <c:pt idx="7610" formatCode="0.0%">
                  <c:v>7.0861663775074302E-2</c:v>
                </c:pt>
                <c:pt idx="7611" formatCode="0.0%">
                  <c:v>7.0980715598777083E-2</c:v>
                </c:pt>
                <c:pt idx="7612" formatCode="0.0%">
                  <c:v>7.1435656195845326E-2</c:v>
                </c:pt>
                <c:pt idx="7613" formatCode="0.0%">
                  <c:v>6.8226767324030838E-2</c:v>
                </c:pt>
                <c:pt idx="7614" formatCode="0.0%">
                  <c:v>6.6791215617533331E-2</c:v>
                </c:pt>
                <c:pt idx="7615" formatCode="0.0%">
                  <c:v>4.9941788674856144E-2</c:v>
                </c:pt>
                <c:pt idx="7616" formatCode="0.0%">
                  <c:v>5.0837541253064868E-2</c:v>
                </c:pt>
                <c:pt idx="7617" formatCode="0.0%">
                  <c:v>5.08583259719207E-2</c:v>
                </c:pt>
                <c:pt idx="7618" formatCode="0.0%">
                  <c:v>5.4735391048887333E-2</c:v>
                </c:pt>
                <c:pt idx="7619" formatCode="0.0%">
                  <c:v>5.5290496572856444E-2</c:v>
                </c:pt>
                <c:pt idx="7620" formatCode="0.0%">
                  <c:v>8.4536461903243293E-2</c:v>
                </c:pt>
                <c:pt idx="7621" formatCode="0.0%">
                  <c:v>8.4599753094155558E-2</c:v>
                </c:pt>
                <c:pt idx="7622" formatCode="0.0%">
                  <c:v>8.6196320629273182E-2</c:v>
                </c:pt>
                <c:pt idx="7623" formatCode="0.0%">
                  <c:v>8.771914463881049E-2</c:v>
                </c:pt>
                <c:pt idx="7624" formatCode="0.0%">
                  <c:v>8.754210139392847E-2</c:v>
                </c:pt>
                <c:pt idx="7625" formatCode="0.0%">
                  <c:v>8.8543217728975013E-2</c:v>
                </c:pt>
                <c:pt idx="7626" formatCode="0.0%">
                  <c:v>8.7058817452068574E-2</c:v>
                </c:pt>
                <c:pt idx="7627" formatCode="0.0%">
                  <c:v>8.9101730070770699E-2</c:v>
                </c:pt>
                <c:pt idx="7628" formatCode="0.0%">
                  <c:v>8.8671427597474983E-2</c:v>
                </c:pt>
                <c:pt idx="7629" formatCode="0.0%">
                  <c:v>8.8671481719205289E-2</c:v>
                </c:pt>
                <c:pt idx="7630" formatCode="0.0%">
                  <c:v>8.9077149303988537E-2</c:v>
                </c:pt>
                <c:pt idx="7631" formatCode="0.0%">
                  <c:v>8.9380805356274406E-2</c:v>
                </c:pt>
                <c:pt idx="7632" formatCode="0.0%">
                  <c:v>9.1395678164066615E-2</c:v>
                </c:pt>
                <c:pt idx="7633" formatCode="0.0%">
                  <c:v>9.2057939572155412E-2</c:v>
                </c:pt>
                <c:pt idx="7634" formatCode="0.0%">
                  <c:v>9.2585150767435245E-2</c:v>
                </c:pt>
                <c:pt idx="7635" formatCode="0.0%">
                  <c:v>9.3141644265890208E-2</c:v>
                </c:pt>
                <c:pt idx="7636" formatCode="0.0%">
                  <c:v>0.10323550731911871</c:v>
                </c:pt>
                <c:pt idx="7637" formatCode="0.0%">
                  <c:v>0.10246758829349271</c:v>
                </c:pt>
                <c:pt idx="7638" formatCode="0.0%">
                  <c:v>0.10109873690286428</c:v>
                </c:pt>
                <c:pt idx="7639" formatCode="0.0%">
                  <c:v>9.8872609629019212E-2</c:v>
                </c:pt>
                <c:pt idx="7640" formatCode="0.0%">
                  <c:v>7.8526899151770316E-2</c:v>
                </c:pt>
                <c:pt idx="7641" formatCode="0.0%">
                  <c:v>8.6510647128219584E-2</c:v>
                </c:pt>
                <c:pt idx="7642" formatCode="0.0%">
                  <c:v>8.4305208081971589E-2</c:v>
                </c:pt>
                <c:pt idx="7643" formatCode="0.0%">
                  <c:v>8.20161563232015E-2</c:v>
                </c:pt>
                <c:pt idx="7644" formatCode="0.0%">
                  <c:v>8.2848310207744691E-2</c:v>
                </c:pt>
                <c:pt idx="7645" formatCode="0.0%">
                  <c:v>8.4039299768226133E-2</c:v>
                </c:pt>
                <c:pt idx="7646" formatCode="0.0%">
                  <c:v>8.4117171811126795E-2</c:v>
                </c:pt>
                <c:pt idx="7647" formatCode="0.0%">
                  <c:v>8.4848569897779655E-2</c:v>
                </c:pt>
                <c:pt idx="7648" formatCode="0.0%">
                  <c:v>8.482251653333138E-2</c:v>
                </c:pt>
                <c:pt idx="7649" formatCode="0.0%">
                  <c:v>8.4727865547789064E-2</c:v>
                </c:pt>
                <c:pt idx="7650" formatCode="0.0%">
                  <c:v>8.6011019025869079E-2</c:v>
                </c:pt>
                <c:pt idx="7651" formatCode="0.0%">
                  <c:v>8.9749140420615506E-2</c:v>
                </c:pt>
                <c:pt idx="7652" formatCode="0.0%">
                  <c:v>8.8864279529500823E-2</c:v>
                </c:pt>
                <c:pt idx="7653" formatCode="0.0%">
                  <c:v>9.1787260151449043E-2</c:v>
                </c:pt>
                <c:pt idx="7654" formatCode="0.0%">
                  <c:v>9.2849016656920469E-2</c:v>
                </c:pt>
                <c:pt idx="7655" formatCode="0.0%">
                  <c:v>9.2456547761098226E-2</c:v>
                </c:pt>
                <c:pt idx="7656" formatCode="0.0%">
                  <c:v>7.2833183577424299E-2</c:v>
                </c:pt>
                <c:pt idx="7657" formatCode="0.0%">
                  <c:v>8.4675906465921574E-2</c:v>
                </c:pt>
                <c:pt idx="7658" formatCode="0.0%">
                  <c:v>8.4765192256054625E-2</c:v>
                </c:pt>
                <c:pt idx="7659" formatCode="0.0%">
                  <c:v>8.3547423341404303E-2</c:v>
                </c:pt>
                <c:pt idx="7660" formatCode="0.0%">
                  <c:v>9.1821963777121193E-2</c:v>
                </c:pt>
                <c:pt idx="7661" formatCode="0.0%">
                  <c:v>8.7213254603608764E-2</c:v>
                </c:pt>
                <c:pt idx="7662" formatCode="0.0%">
                  <c:v>8.7209507130935143E-2</c:v>
                </c:pt>
                <c:pt idx="7663" formatCode="0.0%">
                  <c:v>8.7125786827683807E-2</c:v>
                </c:pt>
                <c:pt idx="7664" formatCode="0.0%">
                  <c:v>8.7991232721445503E-2</c:v>
                </c:pt>
                <c:pt idx="7665" formatCode="0.0%">
                  <c:v>8.5420982331672946E-2</c:v>
                </c:pt>
                <c:pt idx="7666" formatCode="0.0%">
                  <c:v>8.4685220823244867E-2</c:v>
                </c:pt>
                <c:pt idx="7667" formatCode="0.0%">
                  <c:v>8.3341972625416788E-2</c:v>
                </c:pt>
                <c:pt idx="7668" formatCode="0.0%">
                  <c:v>8.3114080563852208E-2</c:v>
                </c:pt>
                <c:pt idx="7669" formatCode="0.0%">
                  <c:v>8.5696009174000456E-2</c:v>
                </c:pt>
                <c:pt idx="7670" formatCode="0.0%">
                  <c:v>8.3088716009572461E-2</c:v>
                </c:pt>
                <c:pt idx="7671" formatCode="0.0%">
                  <c:v>7.813093909371556E-2</c:v>
                </c:pt>
                <c:pt idx="7672" formatCode="0.0%">
                  <c:v>7.7645589507452623E-2</c:v>
                </c:pt>
                <c:pt idx="7673" formatCode="0.0%">
                  <c:v>7.4213061547004758E-2</c:v>
                </c:pt>
                <c:pt idx="7674" formatCode="0.0%">
                  <c:v>7.1763084186844101E-2</c:v>
                </c:pt>
                <c:pt idx="7675" formatCode="0.0%">
                  <c:v>6.9668697584263112E-2</c:v>
                </c:pt>
                <c:pt idx="7676" formatCode="0.0%">
                  <c:v>7.3182880483707829E-2</c:v>
                </c:pt>
                <c:pt idx="7677" formatCode="0.0%">
                  <c:v>6.5121514766600358E-2</c:v>
                </c:pt>
                <c:pt idx="7678" formatCode="0.0%">
                  <c:v>6.8691942210134735E-2</c:v>
                </c:pt>
                <c:pt idx="7679" formatCode="0.0%">
                  <c:v>6.9393653391274152E-2</c:v>
                </c:pt>
                <c:pt idx="7680" formatCode="0.0%">
                  <c:v>6.6104047073827249E-2</c:v>
                </c:pt>
                <c:pt idx="7681" formatCode="0.0%">
                  <c:v>6.370210875982292E-2</c:v>
                </c:pt>
                <c:pt idx="7682" formatCode="0.0%">
                  <c:v>6.4358292863415184E-2</c:v>
                </c:pt>
                <c:pt idx="7683" formatCode="0.0%">
                  <c:v>6.9055429347292821E-2</c:v>
                </c:pt>
                <c:pt idx="7684" formatCode="0.0%">
                  <c:v>6.9027530274753363E-2</c:v>
                </c:pt>
                <c:pt idx="7685" formatCode="0.0%">
                  <c:v>7.2093314574297351E-2</c:v>
                </c:pt>
                <c:pt idx="7686" formatCode="0.0%">
                  <c:v>7.4724003574630646E-2</c:v>
                </c:pt>
                <c:pt idx="7687" formatCode="0.0%">
                  <c:v>7.510564059973622E-2</c:v>
                </c:pt>
                <c:pt idx="7688" formatCode="0.0%">
                  <c:v>7.8043433344190158E-2</c:v>
                </c:pt>
                <c:pt idx="7689" formatCode="0.0%">
                  <c:v>7.362176771861198E-2</c:v>
                </c:pt>
                <c:pt idx="7690" formatCode="0.0%">
                  <c:v>7.4015632513611387E-2</c:v>
                </c:pt>
                <c:pt idx="7691" formatCode="0.0%">
                  <c:v>7.3408928456139264E-2</c:v>
                </c:pt>
                <c:pt idx="7692" formatCode="0.0%">
                  <c:v>7.4268444274485992E-2</c:v>
                </c:pt>
                <c:pt idx="7693" formatCode="0.0%">
                  <c:v>7.3382218209266353E-2</c:v>
                </c:pt>
                <c:pt idx="7694" formatCode="0.0%">
                  <c:v>7.1375958013388877E-2</c:v>
                </c:pt>
                <c:pt idx="7695" formatCode="0.0%">
                  <c:v>7.2524966075853972E-2</c:v>
                </c:pt>
                <c:pt idx="7696" formatCode="0.0%">
                  <c:v>7.1754817742039997E-2</c:v>
                </c:pt>
                <c:pt idx="7697" formatCode="0.0%">
                  <c:v>6.8710073839671273E-2</c:v>
                </c:pt>
                <c:pt idx="7698" formatCode="0.0%">
                  <c:v>6.7739530426900341E-2</c:v>
                </c:pt>
                <c:pt idx="7699" formatCode="0.0%">
                  <c:v>6.6944362417473369E-2</c:v>
                </c:pt>
                <c:pt idx="7700" formatCode="0.0%">
                  <c:v>6.3499210644140311E-2</c:v>
                </c:pt>
                <c:pt idx="7701" formatCode="0.0%">
                  <c:v>6.8896881657515216E-2</c:v>
                </c:pt>
                <c:pt idx="7702" formatCode="0.0%">
                  <c:v>8.746973296568844E-2</c:v>
                </c:pt>
                <c:pt idx="7703" formatCode="0.0%">
                  <c:v>8.6448948028345379E-2</c:v>
                </c:pt>
                <c:pt idx="7704" formatCode="0.0%">
                  <c:v>8.9955843868215729E-2</c:v>
                </c:pt>
                <c:pt idx="7705" formatCode="0.0%">
                  <c:v>8.9642505379240761E-2</c:v>
                </c:pt>
                <c:pt idx="7706" formatCode="0.0%">
                  <c:v>8.7715944099941434E-2</c:v>
                </c:pt>
                <c:pt idx="7707" formatCode="0.0%">
                  <c:v>8.9249809078020798E-2</c:v>
                </c:pt>
                <c:pt idx="7708" formatCode="0.0%">
                  <c:v>8.7744496058639238E-2</c:v>
                </c:pt>
                <c:pt idx="7709" formatCode="0.0%">
                  <c:v>8.9181872946583168E-2</c:v>
                </c:pt>
                <c:pt idx="7710" formatCode="0.0%">
                  <c:v>9.3661427571929162E-2</c:v>
                </c:pt>
                <c:pt idx="7711" formatCode="0.0%">
                  <c:v>9.3642461373377672E-2</c:v>
                </c:pt>
                <c:pt idx="7712" formatCode="0.0%">
                  <c:v>0.10078124323533519</c:v>
                </c:pt>
                <c:pt idx="7713" formatCode="0.0%">
                  <c:v>0.10032839522094705</c:v>
                </c:pt>
                <c:pt idx="7714" formatCode="0.0%">
                  <c:v>9.9747488295165193E-2</c:v>
                </c:pt>
                <c:pt idx="7715" formatCode="0.0%">
                  <c:v>9.8768500356113328E-2</c:v>
                </c:pt>
                <c:pt idx="7716" formatCode="0.0%">
                  <c:v>0.10164202864462912</c:v>
                </c:pt>
                <c:pt idx="7717" formatCode="0.0%">
                  <c:v>0.10464081937054892</c:v>
                </c:pt>
                <c:pt idx="7718" formatCode="0.0%">
                  <c:v>0.10601111480746225</c:v>
                </c:pt>
                <c:pt idx="7719" formatCode="0.0%">
                  <c:v>0.10554624240004946</c:v>
                </c:pt>
                <c:pt idx="7720" formatCode="0.0%">
                  <c:v>0.10756080155013324</c:v>
                </c:pt>
                <c:pt idx="7721" formatCode="0.0%">
                  <c:v>0.10300493957235664</c:v>
                </c:pt>
                <c:pt idx="7722" formatCode="0.0%">
                  <c:v>8.9435991727035008E-2</c:v>
                </c:pt>
                <c:pt idx="7723" formatCode="0.0%">
                  <c:v>8.8171297450349906E-2</c:v>
                </c:pt>
                <c:pt idx="7724" formatCode="0.0%">
                  <c:v>8.2934566508755012E-2</c:v>
                </c:pt>
                <c:pt idx="7725" formatCode="0.0%">
                  <c:v>8.171956500073238E-2</c:v>
                </c:pt>
                <c:pt idx="7726" formatCode="0.0%">
                  <c:v>8.1472076967880711E-2</c:v>
                </c:pt>
                <c:pt idx="7727" formatCode="0.0%">
                  <c:v>7.8890106205503741E-2</c:v>
                </c:pt>
                <c:pt idx="7728" formatCode="0.0%">
                  <c:v>8.8212927678102473E-2</c:v>
                </c:pt>
                <c:pt idx="7729" formatCode="0.0%">
                  <c:v>0.13237244616652888</c:v>
                </c:pt>
                <c:pt idx="7730" formatCode="0.0%">
                  <c:v>0.13113985315865162</c:v>
                </c:pt>
                <c:pt idx="7731" formatCode="0.0%">
                  <c:v>0.14339275787976155</c:v>
                </c:pt>
                <c:pt idx="7732" formatCode="0.0%">
                  <c:v>0.14313192609291214</c:v>
                </c:pt>
                <c:pt idx="7733" formatCode="0.0%">
                  <c:v>0.14346334647291412</c:v>
                </c:pt>
                <c:pt idx="7734" formatCode="0.0%">
                  <c:v>0.1449066309670439</c:v>
                </c:pt>
                <c:pt idx="7735" formatCode="0.0%">
                  <c:v>0.14436236840815519</c:v>
                </c:pt>
                <c:pt idx="7736" formatCode="0.0%">
                  <c:v>0.14112078628709501</c:v>
                </c:pt>
                <c:pt idx="7737" formatCode="0.0%">
                  <c:v>0.13842790110777295</c:v>
                </c:pt>
                <c:pt idx="7738" formatCode="0.0%">
                  <c:v>0.13779922530937178</c:v>
                </c:pt>
                <c:pt idx="7739" formatCode="0.0%">
                  <c:v>0.13768219585262237</c:v>
                </c:pt>
                <c:pt idx="7740" formatCode="0.0%">
                  <c:v>0.14156528352283096</c:v>
                </c:pt>
                <c:pt idx="7741" formatCode="0.0%">
                  <c:v>0.14179821141507923</c:v>
                </c:pt>
                <c:pt idx="7742" formatCode="0.0%">
                  <c:v>0.14121559234205305</c:v>
                </c:pt>
                <c:pt idx="7743" formatCode="0.0%">
                  <c:v>0.14051606819254858</c:v>
                </c:pt>
                <c:pt idx="7744" formatCode="0.0%">
                  <c:v>0.14077562226865326</c:v>
                </c:pt>
                <c:pt idx="7745" formatCode="0.0%">
                  <c:v>0.14214210028659477</c:v>
                </c:pt>
                <c:pt idx="7746" formatCode="0.0%">
                  <c:v>0.14268287080696526</c:v>
                </c:pt>
                <c:pt idx="7747" formatCode="0.0%">
                  <c:v>0.14291327004257764</c:v>
                </c:pt>
                <c:pt idx="7748" formatCode="0.0%">
                  <c:v>0.14041851574744632</c:v>
                </c:pt>
                <c:pt idx="7749" formatCode="0.0%">
                  <c:v>0.10043336714111958</c:v>
                </c:pt>
                <c:pt idx="7750" formatCode="0.0%">
                  <c:v>0.10270364561920772</c:v>
                </c:pt>
                <c:pt idx="7751" formatCode="0.0%">
                  <c:v>9.4112498550664281E-2</c:v>
                </c:pt>
                <c:pt idx="7752" formatCode="0.0%">
                  <c:v>8.8769127023104785E-2</c:v>
                </c:pt>
                <c:pt idx="7753" formatCode="0.0%">
                  <c:v>8.9131920454260077E-2</c:v>
                </c:pt>
                <c:pt idx="7754" formatCode="0.0%">
                  <c:v>8.5691006259594679E-2</c:v>
                </c:pt>
                <c:pt idx="7755" formatCode="0.0%">
                  <c:v>8.5617274462721396E-2</c:v>
                </c:pt>
                <c:pt idx="7756" formatCode="0.0%">
                  <c:v>8.6449063757361694E-2</c:v>
                </c:pt>
                <c:pt idx="7757" formatCode="0.0%">
                  <c:v>0.10149894829654744</c:v>
                </c:pt>
                <c:pt idx="7758" formatCode="0.0%">
                  <c:v>0.10434944033540061</c:v>
                </c:pt>
                <c:pt idx="7759" formatCode="0.0%">
                  <c:v>0.10477383885164319</c:v>
                </c:pt>
                <c:pt idx="7760" formatCode="0.0%">
                  <c:v>9.9075556636605402E-2</c:v>
                </c:pt>
                <c:pt idx="7761" formatCode="0.0%">
                  <c:v>0.10179098498402096</c:v>
                </c:pt>
                <c:pt idx="7762" formatCode="0.0%">
                  <c:v>0.10047882275449257</c:v>
                </c:pt>
                <c:pt idx="7763" formatCode="0.0%">
                  <c:v>0.10061249697690658</c:v>
                </c:pt>
                <c:pt idx="7764" formatCode="0.0%">
                  <c:v>0.10086051651004321</c:v>
                </c:pt>
                <c:pt idx="7765" formatCode="0.0%">
                  <c:v>0.10055415340473063</c:v>
                </c:pt>
                <c:pt idx="7766" formatCode="0.0%">
                  <c:v>0.1001005102445123</c:v>
                </c:pt>
                <c:pt idx="7767" formatCode="0.0%">
                  <c:v>0.10059083002964496</c:v>
                </c:pt>
                <c:pt idx="7768" formatCode="0.0%">
                  <c:v>9.6281067135795095E-2</c:v>
                </c:pt>
                <c:pt idx="7769" formatCode="0.0%">
                  <c:v>9.2392416288050228E-2</c:v>
                </c:pt>
                <c:pt idx="7770" formatCode="0.0%">
                  <c:v>8.6291858902175445E-2</c:v>
                </c:pt>
                <c:pt idx="7771" formatCode="0.0%">
                  <c:v>7.7718086652763405E-2</c:v>
                </c:pt>
                <c:pt idx="7772" formatCode="0.0%">
                  <c:v>8.809762765543333E-2</c:v>
                </c:pt>
                <c:pt idx="7773" formatCode="0.0%">
                  <c:v>8.623713678101759E-2</c:v>
                </c:pt>
                <c:pt idx="7774" formatCode="0.0%">
                  <c:v>8.6124291904674785E-2</c:v>
                </c:pt>
                <c:pt idx="7775" formatCode="0.0%">
                  <c:v>8.5772444436419751E-2</c:v>
                </c:pt>
                <c:pt idx="7776" formatCode="0.0%">
                  <c:v>8.5907878122453041E-2</c:v>
                </c:pt>
                <c:pt idx="7777" formatCode="0.0%">
                  <c:v>7.3997460735541865E-2</c:v>
                </c:pt>
                <c:pt idx="7778" formatCode="0.0%">
                  <c:v>6.7425403675080972E-2</c:v>
                </c:pt>
                <c:pt idx="7779" formatCode="0.0%">
                  <c:v>6.6839694241802763E-2</c:v>
                </c:pt>
                <c:pt idx="7780" formatCode="0.0%">
                  <c:v>8.1629349857352235E-2</c:v>
                </c:pt>
                <c:pt idx="7781" formatCode="0.0%">
                  <c:v>9.7619453420329877E-2</c:v>
                </c:pt>
                <c:pt idx="7782" formatCode="0.0%">
                  <c:v>9.6820036851883479E-2</c:v>
                </c:pt>
                <c:pt idx="7783" formatCode="0.0%">
                  <c:v>9.672945855039855E-2</c:v>
                </c:pt>
                <c:pt idx="7784" formatCode="0.0%">
                  <c:v>0.1023022939134271</c:v>
                </c:pt>
                <c:pt idx="7785" formatCode="0.0%">
                  <c:v>0.10266361014851941</c:v>
                </c:pt>
                <c:pt idx="7786" formatCode="0.0%">
                  <c:v>0.10289155672818029</c:v>
                </c:pt>
                <c:pt idx="7787" formatCode="0.0%">
                  <c:v>0.10140392795239939</c:v>
                </c:pt>
                <c:pt idx="7788" formatCode="0.0%">
                  <c:v>0.10852930757349502</c:v>
                </c:pt>
                <c:pt idx="7789" formatCode="0.0%">
                  <c:v>0.11404151287511248</c:v>
                </c:pt>
                <c:pt idx="7790" formatCode="0.0%">
                  <c:v>0.1132202288686377</c:v>
                </c:pt>
                <c:pt idx="7791" formatCode="0.0%">
                  <c:v>0.11411807845681</c:v>
                </c:pt>
                <c:pt idx="7792" formatCode="0.0%">
                  <c:v>0.10707492448023526</c:v>
                </c:pt>
                <c:pt idx="7793" formatCode="0.0%">
                  <c:v>0.10712955385000389</c:v>
                </c:pt>
                <c:pt idx="7794" formatCode="0.0%">
                  <c:v>0.10814639763277557</c:v>
                </c:pt>
                <c:pt idx="7795" formatCode="0.0%">
                  <c:v>0.11152664663677565</c:v>
                </c:pt>
                <c:pt idx="7796" formatCode="0.0%">
                  <c:v>0.11156150453611796</c:v>
                </c:pt>
                <c:pt idx="7797" formatCode="0.0%">
                  <c:v>0.1100223071228936</c:v>
                </c:pt>
                <c:pt idx="7798" formatCode="0.0%">
                  <c:v>0.10959616294577103</c:v>
                </c:pt>
                <c:pt idx="7799" formatCode="0.0%">
                  <c:v>0.10439574802914314</c:v>
                </c:pt>
                <c:pt idx="7800" formatCode="0.0%">
                  <c:v>8.4940243064373311E-2</c:v>
                </c:pt>
                <c:pt idx="7801" formatCode="0.0%">
                  <c:v>7.3967826430595407E-2</c:v>
                </c:pt>
                <c:pt idx="7802" formatCode="0.0%">
                  <c:v>7.4354548145011773E-2</c:v>
                </c:pt>
                <c:pt idx="7803" formatCode="0.0%">
                  <c:v>6.7393646164938037E-2</c:v>
                </c:pt>
                <c:pt idx="7804" formatCode="0.0%">
                  <c:v>7.9114950073201282E-2</c:v>
                </c:pt>
                <c:pt idx="7805" formatCode="0.0%">
                  <c:v>8.2598634888847527E-2</c:v>
                </c:pt>
                <c:pt idx="7806" formatCode="0.0%">
                  <c:v>8.1353360657233184E-2</c:v>
                </c:pt>
                <c:pt idx="7807" formatCode="0.0%">
                  <c:v>8.1579146758962523E-2</c:v>
                </c:pt>
                <c:pt idx="7808" formatCode="0.0%">
                  <c:v>7.6154908003386798E-2</c:v>
                </c:pt>
                <c:pt idx="7809" formatCode="0.0%">
                  <c:v>7.891394529003759E-2</c:v>
                </c:pt>
                <c:pt idx="7810" formatCode="0.0%">
                  <c:v>7.894212500092912E-2</c:v>
                </c:pt>
                <c:pt idx="7811" formatCode="0.0%">
                  <c:v>7.7271901970275003E-2</c:v>
                </c:pt>
                <c:pt idx="7812" formatCode="0.0%">
                  <c:v>7.7710630684342308E-2</c:v>
                </c:pt>
                <c:pt idx="7813" formatCode="0.0%">
                  <c:v>8.0421063631491416E-2</c:v>
                </c:pt>
                <c:pt idx="7814" formatCode="0.0%">
                  <c:v>7.7527155735851672E-2</c:v>
                </c:pt>
                <c:pt idx="7815" formatCode="0.0%">
                  <c:v>7.1320245046021788E-2</c:v>
                </c:pt>
                <c:pt idx="7816" formatCode="0.0%">
                  <c:v>7.412204379873881E-2</c:v>
                </c:pt>
                <c:pt idx="7817" formatCode="0.0%">
                  <c:v>7.9407274271578066E-2</c:v>
                </c:pt>
                <c:pt idx="7818" formatCode="0.0%">
                  <c:v>7.8598597325943501E-2</c:v>
                </c:pt>
                <c:pt idx="7819" formatCode="0.0%">
                  <c:v>7.8938507754176157E-2</c:v>
                </c:pt>
                <c:pt idx="7820" formatCode="0.0%">
                  <c:v>8.0306491472822372E-2</c:v>
                </c:pt>
                <c:pt idx="7821" formatCode="0.0%">
                  <c:v>8.0277473604900118E-2</c:v>
                </c:pt>
                <c:pt idx="7822" formatCode="0.0%">
                  <c:v>7.8560560906668089E-2</c:v>
                </c:pt>
                <c:pt idx="7823" formatCode="0.0%">
                  <c:v>7.9712085145843117E-2</c:v>
                </c:pt>
                <c:pt idx="7824" formatCode="0.0%">
                  <c:v>7.1058546613144299E-2</c:v>
                </c:pt>
                <c:pt idx="7825" formatCode="0.0%">
                  <c:v>6.6846499447186514E-2</c:v>
                </c:pt>
                <c:pt idx="7826" formatCode="0.0%">
                  <c:v>7.149939440984597E-2</c:v>
                </c:pt>
                <c:pt idx="7827" formatCode="0.0%">
                  <c:v>7.5981964936126703E-2</c:v>
                </c:pt>
                <c:pt idx="7828" formatCode="0.0%">
                  <c:v>7.6652773628844373E-2</c:v>
                </c:pt>
                <c:pt idx="7829" formatCode="0.0%">
                  <c:v>6.6084558253304379E-2</c:v>
                </c:pt>
                <c:pt idx="7830" formatCode="0.0%">
                  <c:v>7.270091699020774E-2</c:v>
                </c:pt>
                <c:pt idx="7831" formatCode="0.0%">
                  <c:v>7.3206961274626253E-2</c:v>
                </c:pt>
                <c:pt idx="7832" formatCode="0.0%">
                  <c:v>7.3683793483483695E-2</c:v>
                </c:pt>
                <c:pt idx="7833" formatCode="0.0%">
                  <c:v>6.8186499423885771E-2</c:v>
                </c:pt>
                <c:pt idx="7834" formatCode="0.0%">
                  <c:v>7.1118333316572607E-2</c:v>
                </c:pt>
                <c:pt idx="7835" formatCode="0.0%">
                  <c:v>7.3781588436592035E-2</c:v>
                </c:pt>
                <c:pt idx="7836" formatCode="0.0%">
                  <c:v>7.3353261309164364E-2</c:v>
                </c:pt>
                <c:pt idx="7837" formatCode="0.0%">
                  <c:v>6.9311585938987494E-2</c:v>
                </c:pt>
                <c:pt idx="7838" formatCode="0.0%">
                  <c:v>6.9080656447839589E-2</c:v>
                </c:pt>
                <c:pt idx="7839" formatCode="0.0%">
                  <c:v>6.8179015562083473E-2</c:v>
                </c:pt>
                <c:pt idx="7840" formatCode="0.0%">
                  <c:v>6.5943221702787672E-2</c:v>
                </c:pt>
                <c:pt idx="7841" formatCode="0.0%">
                  <c:v>8.2434319752206706E-2</c:v>
                </c:pt>
                <c:pt idx="7842" formatCode="0.0%">
                  <c:v>8.6186510345635917E-2</c:v>
                </c:pt>
                <c:pt idx="7843" formatCode="0.0%">
                  <c:v>8.6392120957954968E-2</c:v>
                </c:pt>
                <c:pt idx="7844" formatCode="0.0%">
                  <c:v>8.5161653365985315E-2</c:v>
                </c:pt>
                <c:pt idx="7845" formatCode="0.0%">
                  <c:v>8.5887323927619705E-2</c:v>
                </c:pt>
                <c:pt idx="7846" formatCode="0.0%">
                  <c:v>8.4487981882138519E-2</c:v>
                </c:pt>
                <c:pt idx="7847" formatCode="0.0%">
                  <c:v>8.0725615186034036E-2</c:v>
                </c:pt>
                <c:pt idx="7848" formatCode="0.0%">
                  <c:v>7.9260595374555015E-2</c:v>
                </c:pt>
                <c:pt idx="7849" formatCode="0.0%">
                  <c:v>7.982851138343372E-2</c:v>
                </c:pt>
                <c:pt idx="7850" formatCode="0.0%">
                  <c:v>7.7406678692067063E-2</c:v>
                </c:pt>
                <c:pt idx="7851" formatCode="0.0%">
                  <c:v>7.6825051353484858E-2</c:v>
                </c:pt>
                <c:pt idx="7852" formatCode="0.0%">
                  <c:v>7.4560651074855572E-2</c:v>
                </c:pt>
                <c:pt idx="7853" formatCode="0.0%">
                  <c:v>7.4473101282259632E-2</c:v>
                </c:pt>
                <c:pt idx="7854" formatCode="0.0%">
                  <c:v>7.3362246228760336E-2</c:v>
                </c:pt>
                <c:pt idx="7855" formatCode="0.0%">
                  <c:v>7.1885942429889077E-2</c:v>
                </c:pt>
                <c:pt idx="7856" formatCode="0.0%">
                  <c:v>7.2159427359934511E-2</c:v>
                </c:pt>
                <c:pt idx="7857" formatCode="0.0%">
                  <c:v>7.3731921545431664E-2</c:v>
                </c:pt>
                <c:pt idx="7858" formatCode="0.0%">
                  <c:v>7.3929518756858645E-2</c:v>
                </c:pt>
                <c:pt idx="7859" formatCode="0.0%">
                  <c:v>7.8678508879679365E-2</c:v>
                </c:pt>
                <c:pt idx="7860" formatCode="0.0%">
                  <c:v>7.7962994149445922E-2</c:v>
                </c:pt>
                <c:pt idx="7861" formatCode="0.0%">
                  <c:v>7.353375418291927E-2</c:v>
                </c:pt>
                <c:pt idx="7862" formatCode="0.0%">
                  <c:v>6.9165097587427213E-2</c:v>
                </c:pt>
                <c:pt idx="7863" formatCode="0.0%">
                  <c:v>8.1945711502659752E-2</c:v>
                </c:pt>
                <c:pt idx="7864" formatCode="0.0%">
                  <c:v>8.4476992817410418E-2</c:v>
                </c:pt>
                <c:pt idx="7865" formatCode="0.0%">
                  <c:v>9.890697213689234E-2</c:v>
                </c:pt>
                <c:pt idx="7866" formatCode="0.0%">
                  <c:v>9.5093579723191615E-2</c:v>
                </c:pt>
                <c:pt idx="7867" formatCode="0.0%">
                  <c:v>9.4649531115497704E-2</c:v>
                </c:pt>
                <c:pt idx="7868" formatCode="0.0%">
                  <c:v>9.5637184492735394E-2</c:v>
                </c:pt>
                <c:pt idx="7869" formatCode="0.0%">
                  <c:v>9.7163810848865939E-2</c:v>
                </c:pt>
                <c:pt idx="7870" formatCode="0.0%">
                  <c:v>0.10397228374676748</c:v>
                </c:pt>
                <c:pt idx="7871" formatCode="0.0%">
                  <c:v>0.10377552708591452</c:v>
                </c:pt>
                <c:pt idx="7872" formatCode="0.0%">
                  <c:v>0.10298154742021319</c:v>
                </c:pt>
                <c:pt idx="7873" formatCode="0.0%">
                  <c:v>0.10287787681767614</c:v>
                </c:pt>
                <c:pt idx="7874" formatCode="0.0%">
                  <c:v>0.10288047885048815</c:v>
                </c:pt>
                <c:pt idx="7875" formatCode="0.0%">
                  <c:v>0.10465455416991547</c:v>
                </c:pt>
                <c:pt idx="7876" formatCode="0.0%">
                  <c:v>0.10602497195306447</c:v>
                </c:pt>
                <c:pt idx="7877" formatCode="0.0%">
                  <c:v>0.1056105604741826</c:v>
                </c:pt>
                <c:pt idx="7878" formatCode="0.0%">
                  <c:v>0.10873106288411306</c:v>
                </c:pt>
                <c:pt idx="7879" formatCode="0.0%">
                  <c:v>0.1060264311908224</c:v>
                </c:pt>
                <c:pt idx="7880" formatCode="0.0%">
                  <c:v>0.11005832743548702</c:v>
                </c:pt>
                <c:pt idx="7881" formatCode="0.0%">
                  <c:v>0.1026174897066059</c:v>
                </c:pt>
                <c:pt idx="7882" formatCode="0.0%">
                  <c:v>0.10309924198272456</c:v>
                </c:pt>
                <c:pt idx="7883" formatCode="0.0%">
                  <c:v>8.74840144032943E-2</c:v>
                </c:pt>
                <c:pt idx="7884" formatCode="0.0%">
                  <c:v>8.0051971521224813E-2</c:v>
                </c:pt>
                <c:pt idx="7885" formatCode="0.0%">
                  <c:v>6.878946037845661E-2</c:v>
                </c:pt>
                <c:pt idx="7886" formatCode="0.0%">
                  <c:v>6.969175229097016E-2</c:v>
                </c:pt>
                <c:pt idx="7887" formatCode="0.0%">
                  <c:v>7.9088142598908756E-2</c:v>
                </c:pt>
                <c:pt idx="7888" formatCode="0.0%">
                  <c:v>7.5184669013690142E-2</c:v>
                </c:pt>
                <c:pt idx="7889" formatCode="0.0%">
                  <c:v>6.6123359901875178E-2</c:v>
                </c:pt>
                <c:pt idx="7890" formatCode="0.0%">
                  <c:v>6.3981747918513618E-2</c:v>
                </c:pt>
                <c:pt idx="7891" formatCode="0.0%">
                  <c:v>6.6503152454157111E-2</c:v>
                </c:pt>
                <c:pt idx="7892" formatCode="0.0%">
                  <c:v>7.0497120043953504E-2</c:v>
                </c:pt>
                <c:pt idx="7893" formatCode="0.0%">
                  <c:v>7.4336739141958943E-2</c:v>
                </c:pt>
                <c:pt idx="7894" formatCode="0.0%">
                  <c:v>7.4050918424957354E-2</c:v>
                </c:pt>
                <c:pt idx="7895" formatCode="0.0%">
                  <c:v>7.3318180432586394E-2</c:v>
                </c:pt>
                <c:pt idx="7896" formatCode="0.0%">
                  <c:v>7.2429571553557198E-2</c:v>
                </c:pt>
                <c:pt idx="7897" formatCode="0.0%">
                  <c:v>7.3637104507105547E-2</c:v>
                </c:pt>
                <c:pt idx="7898" formatCode="0.0%">
                  <c:v>7.2338705300102044E-2</c:v>
                </c:pt>
                <c:pt idx="7899" formatCode="0.0%">
                  <c:v>7.3292872533848905E-2</c:v>
                </c:pt>
                <c:pt idx="7900" formatCode="0.0%">
                  <c:v>6.9942319287494475E-2</c:v>
                </c:pt>
                <c:pt idx="7901" formatCode="0.0%">
                  <c:v>6.8433104875594883E-2</c:v>
                </c:pt>
                <c:pt idx="7902" formatCode="0.0%">
                  <c:v>6.6241645060999513E-2</c:v>
                </c:pt>
                <c:pt idx="7903" formatCode="0.0%">
                  <c:v>6.3905578024254089E-2</c:v>
                </c:pt>
                <c:pt idx="7904" formatCode="0.0%">
                  <c:v>6.6958767003296324E-2</c:v>
                </c:pt>
                <c:pt idx="7905" formatCode="0.0%">
                  <c:v>6.6957682408081781E-2</c:v>
                </c:pt>
                <c:pt idx="7906" formatCode="0.0%">
                  <c:v>7.0615692316103679E-2</c:v>
                </c:pt>
                <c:pt idx="7907" formatCode="0.0%">
                  <c:v>9.9202385337117865E-2</c:v>
                </c:pt>
                <c:pt idx="7908" formatCode="0.0%">
                  <c:v>0.11018346969645064</c:v>
                </c:pt>
                <c:pt idx="7909" formatCode="0.0%">
                  <c:v>0.11041458278121609</c:v>
                </c:pt>
                <c:pt idx="7910" formatCode="0.0%">
                  <c:v>0.11007632372812758</c:v>
                </c:pt>
                <c:pt idx="7911" formatCode="0.0%">
                  <c:v>0.10963228916031373</c:v>
                </c:pt>
                <c:pt idx="7912" formatCode="0.0%">
                  <c:v>0.10846426504629225</c:v>
                </c:pt>
                <c:pt idx="7913" formatCode="0.0%">
                  <c:v>0.10893950692819636</c:v>
                </c:pt>
                <c:pt idx="7914" formatCode="0.0%">
                  <c:v>0.10940612946689492</c:v>
                </c:pt>
                <c:pt idx="7915" formatCode="0.0%">
                  <c:v>0.12312336938658792</c:v>
                </c:pt>
                <c:pt idx="7916" formatCode="0.0%">
                  <c:v>0.12313889775483745</c:v>
                </c:pt>
                <c:pt idx="7917" formatCode="0.0%">
                  <c:v>0.12098403103070239</c:v>
                </c:pt>
                <c:pt idx="7918" formatCode="0.0%">
                  <c:v>0.1195030132399989</c:v>
                </c:pt>
                <c:pt idx="7919" formatCode="0.0%">
                  <c:v>0.11774391955996968</c:v>
                </c:pt>
                <c:pt idx="7920" formatCode="0.0%">
                  <c:v>0.12386973590196901</c:v>
                </c:pt>
                <c:pt idx="7921" formatCode="0.0%">
                  <c:v>0.12398276782166381</c:v>
                </c:pt>
                <c:pt idx="7922" formatCode="0.0%">
                  <c:v>0.12344401032061518</c:v>
                </c:pt>
                <c:pt idx="7923" formatCode="0.0%">
                  <c:v>0.12992280115166527</c:v>
                </c:pt>
                <c:pt idx="7924" formatCode="0.0%">
                  <c:v>0.12941391591489534</c:v>
                </c:pt>
                <c:pt idx="7925" formatCode="0.0%">
                  <c:v>0.13428551334267713</c:v>
                </c:pt>
                <c:pt idx="7926" formatCode="0.0%">
                  <c:v>0.13505578700103621</c:v>
                </c:pt>
                <c:pt idx="7927" formatCode="0.0%">
                  <c:v>0.12359089434542463</c:v>
                </c:pt>
                <c:pt idx="7928" formatCode="0.0%">
                  <c:v>0.11400417082727383</c:v>
                </c:pt>
                <c:pt idx="7929" formatCode="0.0%">
                  <c:v>0.11465226406684549</c:v>
                </c:pt>
                <c:pt idx="7930" formatCode="0.0%">
                  <c:v>0.11930696680676087</c:v>
                </c:pt>
                <c:pt idx="7931" formatCode="0.0%">
                  <c:v>0.12011756017679219</c:v>
                </c:pt>
                <c:pt idx="7932" formatCode="0.0%">
                  <c:v>0.12075044879825829</c:v>
                </c:pt>
                <c:pt idx="7933" formatCode="0.0%">
                  <c:v>0.11805258031712795</c:v>
                </c:pt>
                <c:pt idx="7934" formatCode="0.0%">
                  <c:v>0.11781830561249169</c:v>
                </c:pt>
                <c:pt idx="7935" formatCode="0.0%">
                  <c:v>0.10117285630948189</c:v>
                </c:pt>
                <c:pt idx="7936" formatCode="0.0%">
                  <c:v>0.10959601342148065</c:v>
                </c:pt>
                <c:pt idx="7937" formatCode="0.0%">
                  <c:v>0.10964636946062951</c:v>
                </c:pt>
                <c:pt idx="7938" formatCode="0.0%">
                  <c:v>0.12156429080258686</c:v>
                </c:pt>
                <c:pt idx="7939" formatCode="0.0%">
                  <c:v>0.13998773326974959</c:v>
                </c:pt>
                <c:pt idx="7940" formatCode="0.0%">
                  <c:v>0.13327032838534306</c:v>
                </c:pt>
                <c:pt idx="7941" formatCode="0.0%">
                  <c:v>0.13780436439568688</c:v>
                </c:pt>
                <c:pt idx="7942" formatCode="0.0%">
                  <c:v>0.14032331525007077</c:v>
                </c:pt>
                <c:pt idx="7943" formatCode="0.0%">
                  <c:v>0.13909097910209425</c:v>
                </c:pt>
                <c:pt idx="7944" formatCode="0.0%">
                  <c:v>0.13914316542252519</c:v>
                </c:pt>
                <c:pt idx="7945" formatCode="0.0%">
                  <c:v>0.13603061288460397</c:v>
                </c:pt>
                <c:pt idx="7946" formatCode="0.0%">
                  <c:v>0.13434685490022455</c:v>
                </c:pt>
                <c:pt idx="7947" formatCode="0.0%">
                  <c:v>0.1249092522167627</c:v>
                </c:pt>
                <c:pt idx="7948" formatCode="0.0%">
                  <c:v>0.12275856943438089</c:v>
                </c:pt>
                <c:pt idx="7949" formatCode="0.0%">
                  <c:v>0.12162081385362183</c:v>
                </c:pt>
                <c:pt idx="7950" formatCode="0.0%">
                  <c:v>0.11915103675299175</c:v>
                </c:pt>
                <c:pt idx="7951" formatCode="0.0%">
                  <c:v>0.11793866583178124</c:v>
                </c:pt>
                <c:pt idx="7952" formatCode="0.0%">
                  <c:v>0.11659125924798681</c:v>
                </c:pt>
                <c:pt idx="7953" formatCode="0.0%">
                  <c:v>0.1202605865397037</c:v>
                </c:pt>
                <c:pt idx="7954" formatCode="0.0%">
                  <c:v>0.11885203598714565</c:v>
                </c:pt>
                <c:pt idx="7955" formatCode="0.0%">
                  <c:v>0.11951570841219691</c:v>
                </c:pt>
                <c:pt idx="7956" formatCode="0.0%">
                  <c:v>0.10725110470280297</c:v>
                </c:pt>
                <c:pt idx="7957" formatCode="0.0%">
                  <c:v>0.10990450655934936</c:v>
                </c:pt>
                <c:pt idx="7958" formatCode="0.0%">
                  <c:v>0.10254265445165897</c:v>
                </c:pt>
                <c:pt idx="7959" formatCode="0.0%">
                  <c:v>8.8940858040667523E-2</c:v>
                </c:pt>
                <c:pt idx="7960" formatCode="0.0%">
                  <c:v>9.6614021188982449E-2</c:v>
                </c:pt>
                <c:pt idx="7961" formatCode="0.0%">
                  <c:v>9.5939085862182041E-2</c:v>
                </c:pt>
                <c:pt idx="7962" formatCode="0.0%">
                  <c:v>9.8098550634590553E-2</c:v>
                </c:pt>
                <c:pt idx="7963" formatCode="0.0%">
                  <c:v>8.9184573476026277E-2</c:v>
                </c:pt>
                <c:pt idx="7964" formatCode="0.0%">
                  <c:v>8.9289644115170236E-2</c:v>
                </c:pt>
                <c:pt idx="7965" formatCode="0.0%">
                  <c:v>8.8148340375230866E-2</c:v>
                </c:pt>
                <c:pt idx="7966" formatCode="0.0%">
                  <c:v>8.8374330726022229E-2</c:v>
                </c:pt>
                <c:pt idx="7967" formatCode="0.0%">
                  <c:v>8.8879200626735738E-2</c:v>
                </c:pt>
                <c:pt idx="7968" formatCode="0.0%">
                  <c:v>8.8310706430010738E-2</c:v>
                </c:pt>
                <c:pt idx="7969" formatCode="0.0%">
                  <c:v>8.9147591239556748E-2</c:v>
                </c:pt>
                <c:pt idx="7970" formatCode="0.0%">
                  <c:v>8.8968378609549245E-2</c:v>
                </c:pt>
                <c:pt idx="7971" formatCode="0.0%">
                  <c:v>8.6871878822463194E-2</c:v>
                </c:pt>
                <c:pt idx="7972" formatCode="0.0%">
                  <c:v>8.6178130644522233E-2</c:v>
                </c:pt>
                <c:pt idx="7973" formatCode="0.0%">
                  <c:v>8.360646295240215E-2</c:v>
                </c:pt>
                <c:pt idx="7974" formatCode="0.0%">
                  <c:v>8.5707854403882747E-2</c:v>
                </c:pt>
                <c:pt idx="7975" formatCode="0.0%">
                  <c:v>8.8761851605646369E-2</c:v>
                </c:pt>
                <c:pt idx="7976" formatCode="0.0%">
                  <c:v>8.7987828336759208E-2</c:v>
                </c:pt>
                <c:pt idx="7977" formatCode="0.0%">
                  <c:v>9.3991235124003036E-2</c:v>
                </c:pt>
                <c:pt idx="7978" formatCode="0.0%">
                  <c:v>9.3731122708712394E-2</c:v>
                </c:pt>
                <c:pt idx="7979" formatCode="0.0%">
                  <c:v>8.5778990812729022E-2</c:v>
                </c:pt>
                <c:pt idx="7980" formatCode="0.0%">
                  <c:v>7.8957248392078003E-2</c:v>
                </c:pt>
                <c:pt idx="7981" formatCode="0.0%">
                  <c:v>7.7177278049486236E-2</c:v>
                </c:pt>
                <c:pt idx="7982" formatCode="0.0%">
                  <c:v>7.1332726359770754E-2</c:v>
                </c:pt>
                <c:pt idx="7983" formatCode="0.0%">
                  <c:v>7.3082195116358564E-2</c:v>
                </c:pt>
                <c:pt idx="7984" formatCode="0.0%">
                  <c:v>8.0741905793110497E-2</c:v>
                </c:pt>
                <c:pt idx="7985" formatCode="0.0%">
                  <c:v>8.385161560480045E-2</c:v>
                </c:pt>
                <c:pt idx="7986" formatCode="0.0%">
                  <c:v>8.3757921263075935E-2</c:v>
                </c:pt>
                <c:pt idx="7987" formatCode="0.0%">
                  <c:v>8.2721011390051308E-2</c:v>
                </c:pt>
                <c:pt idx="7988" formatCode="0.0%">
                  <c:v>8.2761153293470127E-2</c:v>
                </c:pt>
                <c:pt idx="7989" formatCode="0.0%">
                  <c:v>8.1729639058123124E-2</c:v>
                </c:pt>
                <c:pt idx="7990" formatCode="0.0%">
                  <c:v>8.3007741760147469E-2</c:v>
                </c:pt>
                <c:pt idx="7991" formatCode="0.0%">
                  <c:v>8.7356732514186727E-2</c:v>
                </c:pt>
                <c:pt idx="7992" formatCode="0.0%">
                  <c:v>8.7276346239051603E-2</c:v>
                </c:pt>
                <c:pt idx="7993" formatCode="0.0%">
                  <c:v>8.4618018393986166E-2</c:v>
                </c:pt>
                <c:pt idx="7994" formatCode="0.0%">
                  <c:v>8.0427215807351446E-2</c:v>
                </c:pt>
                <c:pt idx="7995" formatCode="0.0%">
                  <c:v>6.6374779643102857E-2</c:v>
                </c:pt>
                <c:pt idx="7996" formatCode="0.0%">
                  <c:v>6.6464704053743523E-2</c:v>
                </c:pt>
                <c:pt idx="7997" formatCode="0.0%">
                  <c:v>5.9785966756215773E-2</c:v>
                </c:pt>
                <c:pt idx="7998" formatCode="0.0%">
                  <c:v>6.0009029765213801E-2</c:v>
                </c:pt>
                <c:pt idx="7999" formatCode="0.0%">
                  <c:v>5.9798846540835046E-2</c:v>
                </c:pt>
                <c:pt idx="8000" formatCode="0.0%">
                  <c:v>6.1182028040866303E-2</c:v>
                </c:pt>
                <c:pt idx="8001" formatCode="0.0%">
                  <c:v>6.2420748817682892E-2</c:v>
                </c:pt>
                <c:pt idx="8002" formatCode="0.0%">
                  <c:v>6.2465910871983027E-2</c:v>
                </c:pt>
                <c:pt idx="8003" formatCode="0.0%">
                  <c:v>6.1562322139741235E-2</c:v>
                </c:pt>
                <c:pt idx="8004" formatCode="0.0%">
                  <c:v>5.4507467792092222E-2</c:v>
                </c:pt>
                <c:pt idx="8005" formatCode="0.0%">
                  <c:v>5.5650909399537235E-2</c:v>
                </c:pt>
                <c:pt idx="8006" formatCode="0.0%">
                  <c:v>5.489795312894908E-2</c:v>
                </c:pt>
                <c:pt idx="8007" formatCode="0.0%">
                  <c:v>5.4791794682160312E-2</c:v>
                </c:pt>
                <c:pt idx="8008" formatCode="0.0%">
                  <c:v>6.009510084056386E-2</c:v>
                </c:pt>
                <c:pt idx="8009" formatCode="0.0%">
                  <c:v>6.3233987645348003E-2</c:v>
                </c:pt>
                <c:pt idx="8010" formatCode="0.0%">
                  <c:v>6.6329958176036735E-2</c:v>
                </c:pt>
                <c:pt idx="8011" formatCode="0.0%">
                  <c:v>6.3130325490124137E-2</c:v>
                </c:pt>
                <c:pt idx="8012" formatCode="0.0%">
                  <c:v>7.7706347992654759E-2</c:v>
                </c:pt>
                <c:pt idx="8013" formatCode="0.0%">
                  <c:v>8.020947518670879E-2</c:v>
                </c:pt>
                <c:pt idx="8014" formatCode="0.0%">
                  <c:v>8.1400299782607044E-2</c:v>
                </c:pt>
                <c:pt idx="8015" formatCode="0.0%">
                  <c:v>8.4152811059241717E-2</c:v>
                </c:pt>
                <c:pt idx="8016" formatCode="0.0%">
                  <c:v>8.3938577474435491E-2</c:v>
                </c:pt>
                <c:pt idx="8017" formatCode="0.0%">
                  <c:v>8.846265960595838E-2</c:v>
                </c:pt>
                <c:pt idx="8018" formatCode="0.0%">
                  <c:v>9.2537546858710712E-2</c:v>
                </c:pt>
                <c:pt idx="8019" formatCode="0.0%">
                  <c:v>9.1916982740276085E-2</c:v>
                </c:pt>
                <c:pt idx="8020" formatCode="0.0%">
                  <c:v>9.318811065426115E-2</c:v>
                </c:pt>
                <c:pt idx="8021" formatCode="0.0%">
                  <c:v>9.4436550507486686E-2</c:v>
                </c:pt>
                <c:pt idx="8022" formatCode="0.0%">
                  <c:v>9.9456010318448723E-2</c:v>
                </c:pt>
                <c:pt idx="8023" formatCode="0.0%">
                  <c:v>0.1000155422948155</c:v>
                </c:pt>
                <c:pt idx="8024" formatCode="0.0%">
                  <c:v>9.6290500809134066E-2</c:v>
                </c:pt>
                <c:pt idx="8025" formatCode="0.0%">
                  <c:v>9.2679089423413741E-2</c:v>
                </c:pt>
                <c:pt idx="8026" formatCode="0.0%">
                  <c:v>9.3044833392266407E-2</c:v>
                </c:pt>
                <c:pt idx="8027" formatCode="0.0%">
                  <c:v>9.8685003689645556E-2</c:v>
                </c:pt>
                <c:pt idx="8028" formatCode="0.0%">
                  <c:v>0.11225785063250951</c:v>
                </c:pt>
                <c:pt idx="8029" formatCode="0.0%">
                  <c:v>0.11406953896230872</c:v>
                </c:pt>
                <c:pt idx="8030" formatCode="0.0%">
                  <c:v>0.11331280087660524</c:v>
                </c:pt>
                <c:pt idx="8031" formatCode="0.0%">
                  <c:v>0.11358532576171095</c:v>
                </c:pt>
                <c:pt idx="8032" formatCode="0.0%">
                  <c:v>0.11307095945558983</c:v>
                </c:pt>
                <c:pt idx="8033" formatCode="0.0%">
                  <c:v>0.12053908704818098</c:v>
                </c:pt>
                <c:pt idx="8034" formatCode="0.0%">
                  <c:v>0.1207927792914055</c:v>
                </c:pt>
                <c:pt idx="8035" formatCode="0.0%">
                  <c:v>0.11770168158563318</c:v>
                </c:pt>
                <c:pt idx="8036" formatCode="0.0%">
                  <c:v>0.12074372550734254</c:v>
                </c:pt>
                <c:pt idx="8037" formatCode="0.0%">
                  <c:v>0.11921172116110823</c:v>
                </c:pt>
                <c:pt idx="8038" formatCode="0.0%">
                  <c:v>0.11702644574405346</c:v>
                </c:pt>
                <c:pt idx="8039" formatCode="0.0%">
                  <c:v>0.12006375810693252</c:v>
                </c:pt>
                <c:pt idx="8040" formatCode="0.0%">
                  <c:v>0.13176585826280091</c:v>
                </c:pt>
                <c:pt idx="8041" formatCode="0.0%">
                  <c:v>0.13494301265367858</c:v>
                </c:pt>
                <c:pt idx="8042" formatCode="0.0%">
                  <c:v>0.13131362104944172</c:v>
                </c:pt>
                <c:pt idx="8043" formatCode="0.0%">
                  <c:v>0.13142288245220762</c:v>
                </c:pt>
                <c:pt idx="8044" formatCode="0.0%">
                  <c:v>0.13220042128134873</c:v>
                </c:pt>
                <c:pt idx="8045" formatCode="0.0%">
                  <c:v>0.12798608137211601</c:v>
                </c:pt>
                <c:pt idx="8046" formatCode="0.0%">
                  <c:v>0.12321987068998903</c:v>
                </c:pt>
                <c:pt idx="8047" formatCode="0.0%">
                  <c:v>0.12151887236173781</c:v>
                </c:pt>
                <c:pt idx="8048" formatCode="0.0%">
                  <c:v>0.10967113107303396</c:v>
                </c:pt>
                <c:pt idx="8049" formatCode="0.0%">
                  <c:v>0.11770933005171424</c:v>
                </c:pt>
                <c:pt idx="8050" formatCode="0.0%">
                  <c:v>0.1180098709205154</c:v>
                </c:pt>
                <c:pt idx="8051" formatCode="0.0%">
                  <c:v>0.12130526987030088</c:v>
                </c:pt>
                <c:pt idx="8052" formatCode="0.0%">
                  <c:v>0.11963910271529558</c:v>
                </c:pt>
                <c:pt idx="8053" formatCode="0.0%">
                  <c:v>0.12123987321965514</c:v>
                </c:pt>
                <c:pt idx="8054" formatCode="0.0%">
                  <c:v>0.12031652242344636</c:v>
                </c:pt>
                <c:pt idx="8055" formatCode="0.0%">
                  <c:v>0.12344779079485582</c:v>
                </c:pt>
                <c:pt idx="8056" formatCode="0.0%">
                  <c:v>0.12181170848399522</c:v>
                </c:pt>
                <c:pt idx="8057" formatCode="0.0%">
                  <c:v>0.12452242609789647</c:v>
                </c:pt>
                <c:pt idx="8058" formatCode="0.0%">
                  <c:v>0.12276430682549674</c:v>
                </c:pt>
                <c:pt idx="8059" formatCode="0.0%">
                  <c:v>0.12133788247940237</c:v>
                </c:pt>
                <c:pt idx="8060" formatCode="0.0%">
                  <c:v>0.10972338872386052</c:v>
                </c:pt>
                <c:pt idx="8061" formatCode="0.0%">
                  <c:v>0.1052544313080747</c:v>
                </c:pt>
                <c:pt idx="8062" formatCode="0.0%">
                  <c:v>0.10541543353619347</c:v>
                </c:pt>
                <c:pt idx="8063" formatCode="0.0%">
                  <c:v>0.10910698635285125</c:v>
                </c:pt>
                <c:pt idx="8064" formatCode="0.0%">
                  <c:v>0.10952193746359093</c:v>
                </c:pt>
                <c:pt idx="8065" formatCode="0.0%">
                  <c:v>0.10846832343218742</c:v>
                </c:pt>
                <c:pt idx="8066" formatCode="0.0%">
                  <c:v>0.10868419760414832</c:v>
                </c:pt>
                <c:pt idx="8067" formatCode="0.0%">
                  <c:v>0.10858873189683345</c:v>
                </c:pt>
                <c:pt idx="8068" formatCode="0.0%">
                  <c:v>0.10590730757546546</c:v>
                </c:pt>
                <c:pt idx="8069" formatCode="0.0%">
                  <c:v>9.2290675448370524E-2</c:v>
                </c:pt>
                <c:pt idx="8070" formatCode="0.0%">
                  <c:v>9.0903150907301458E-2</c:v>
                </c:pt>
                <c:pt idx="8071" formatCode="0.0%">
                  <c:v>8.1277369698023696E-2</c:v>
                </c:pt>
                <c:pt idx="8072" formatCode="0.0%">
                  <c:v>7.0104727962245317E-2</c:v>
                </c:pt>
                <c:pt idx="8073" formatCode="0.0%">
                  <c:v>7.1399156515669499E-2</c:v>
                </c:pt>
                <c:pt idx="8074" formatCode="0.0%">
                  <c:v>6.815356633507183E-2</c:v>
                </c:pt>
                <c:pt idx="8075" formatCode="0.0%">
                  <c:v>6.7278784669775077E-2</c:v>
                </c:pt>
                <c:pt idx="8076" formatCode="0.0%">
                  <c:v>7.041738549877212E-2</c:v>
                </c:pt>
                <c:pt idx="8077" formatCode="0.0%">
                  <c:v>6.6804421246827325E-2</c:v>
                </c:pt>
                <c:pt idx="8078" formatCode="0.0%">
                  <c:v>6.5196045446738529E-2</c:v>
                </c:pt>
                <c:pt idx="8079" formatCode="0.0%">
                  <c:v>6.4581201837472901E-2</c:v>
                </c:pt>
                <c:pt idx="8080" formatCode="0.0%">
                  <c:v>6.4779262889587477E-2</c:v>
                </c:pt>
                <c:pt idx="8081" formatCode="0.0%">
                  <c:v>7.3176821675579332E-2</c:v>
                </c:pt>
                <c:pt idx="8082" formatCode="0.0%">
                  <c:v>8.6077773768710508E-2</c:v>
                </c:pt>
                <c:pt idx="8083" formatCode="0.0%">
                  <c:v>8.1454208678310838E-2</c:v>
                </c:pt>
                <c:pt idx="8084" formatCode="0.0%">
                  <c:v>8.0325309730858524E-2</c:v>
                </c:pt>
                <c:pt idx="8085" formatCode="0.0%">
                  <c:v>8.7271758488340234E-2</c:v>
                </c:pt>
                <c:pt idx="8086" formatCode="0.0%">
                  <c:v>8.8450174541363086E-2</c:v>
                </c:pt>
                <c:pt idx="8087" formatCode="0.0%">
                  <c:v>8.8447380661167765E-2</c:v>
                </c:pt>
                <c:pt idx="8088" formatCode="0.0%">
                  <c:v>9.2914338691840764E-2</c:v>
                </c:pt>
                <c:pt idx="8089" formatCode="0.0%">
                  <c:v>9.1708273651419453E-2</c:v>
                </c:pt>
                <c:pt idx="8090" formatCode="0.0%">
                  <c:v>9.2026239862892378E-2</c:v>
                </c:pt>
                <c:pt idx="8091" formatCode="0.0%">
                  <c:v>0.10425983672528817</c:v>
                </c:pt>
                <c:pt idx="8092" formatCode="0.0%">
                  <c:v>0.10276027840740073</c:v>
                </c:pt>
                <c:pt idx="8093" formatCode="0.0%">
                  <c:v>9.2452949409330368E-2</c:v>
                </c:pt>
                <c:pt idx="8094" formatCode="0.0%">
                  <c:v>9.2258117368195336E-2</c:v>
                </c:pt>
                <c:pt idx="8095" formatCode="0.0%">
                  <c:v>9.2634343376697931E-2</c:v>
                </c:pt>
                <c:pt idx="8096" formatCode="0.0%">
                  <c:v>9.4333513219991699E-2</c:v>
                </c:pt>
                <c:pt idx="8097" formatCode="0.0%">
                  <c:v>9.4587510908913888E-2</c:v>
                </c:pt>
                <c:pt idx="8098" formatCode="0.0%">
                  <c:v>9.7409868076182987E-2</c:v>
                </c:pt>
                <c:pt idx="8099" formatCode="0.0%">
                  <c:v>0.10239006693760012</c:v>
                </c:pt>
                <c:pt idx="8100" formatCode="0.0%">
                  <c:v>0.10138425367841271</c:v>
                </c:pt>
                <c:pt idx="8101" formatCode="0.0%">
                  <c:v>9.935450625050482E-2</c:v>
                </c:pt>
                <c:pt idx="8102" formatCode="0.0%">
                  <c:v>8.9103805608360842E-2</c:v>
                </c:pt>
                <c:pt idx="8103" formatCode="0.0%">
                  <c:v>8.9935568149901182E-2</c:v>
                </c:pt>
                <c:pt idx="8104" formatCode="0.0%">
                  <c:v>8.9586236367535863E-2</c:v>
                </c:pt>
                <c:pt idx="8105" formatCode="0.0%">
                  <c:v>8.086389107986984E-2</c:v>
                </c:pt>
                <c:pt idx="8106" formatCode="0.0%">
                  <c:v>8.0581609855768316E-2</c:v>
                </c:pt>
                <c:pt idx="8107" formatCode="0.0%">
                  <c:v>8.0657115594377271E-2</c:v>
                </c:pt>
                <c:pt idx="8108" formatCode="0.0%">
                  <c:v>7.2747450477159983E-2</c:v>
                </c:pt>
                <c:pt idx="8109" formatCode="0.0%">
                  <c:v>7.0798819953935069E-2</c:v>
                </c:pt>
                <c:pt idx="8110" formatCode="0.0%">
                  <c:v>6.7557204990031899E-2</c:v>
                </c:pt>
                <c:pt idx="8111" formatCode="0.0%">
                  <c:v>5.2731187110004324E-2</c:v>
                </c:pt>
                <c:pt idx="8112" formatCode="0.0%">
                  <c:v>5.3088645631352141E-2</c:v>
                </c:pt>
                <c:pt idx="8113" formatCode="0.0%">
                  <c:v>5.0691851536639167E-2</c:v>
                </c:pt>
                <c:pt idx="8114" formatCode="0.0%">
                  <c:v>6.1243877399980023E-2</c:v>
                </c:pt>
                <c:pt idx="8115" formatCode="0.0%">
                  <c:v>6.6642266205207246E-2</c:v>
                </c:pt>
                <c:pt idx="8116" formatCode="0.0%">
                  <c:v>5.9720600358088294E-2</c:v>
                </c:pt>
                <c:pt idx="8117" formatCode="0.0%">
                  <c:v>5.9861544830609674E-2</c:v>
                </c:pt>
                <c:pt idx="8118" formatCode="0.0%">
                  <c:v>6.0614432071701384E-2</c:v>
                </c:pt>
                <c:pt idx="8119" formatCode="0.0%">
                  <c:v>5.7652781443855411E-2</c:v>
                </c:pt>
                <c:pt idx="8120" formatCode="0.0%">
                  <c:v>5.8035329504412592E-2</c:v>
                </c:pt>
                <c:pt idx="8121" formatCode="0.0%">
                  <c:v>6.464342272198724E-2</c:v>
                </c:pt>
                <c:pt idx="8122" formatCode="0.0%">
                  <c:v>6.5104410695911843E-2</c:v>
                </c:pt>
                <c:pt idx="8123" formatCode="0.0%">
                  <c:v>6.5161499296545231E-2</c:v>
                </c:pt>
                <c:pt idx="8124" formatCode="0.0%">
                  <c:v>6.885777053180217E-2</c:v>
                </c:pt>
                <c:pt idx="8125" formatCode="0.0%">
                  <c:v>6.8693005590803227E-2</c:v>
                </c:pt>
                <c:pt idx="8126" formatCode="0.0%">
                  <c:v>6.8419227035571892E-2</c:v>
                </c:pt>
                <c:pt idx="8127" formatCode="0.0%">
                  <c:v>6.9427168372783635E-2</c:v>
                </c:pt>
                <c:pt idx="8128" formatCode="0.0%">
                  <c:v>6.9334223819130986E-2</c:v>
                </c:pt>
                <c:pt idx="8129" formatCode="0.0%">
                  <c:v>7.4638852047391527E-2</c:v>
                </c:pt>
                <c:pt idx="8130" formatCode="0.0%">
                  <c:v>8.013741565116235E-2</c:v>
                </c:pt>
                <c:pt idx="8131" formatCode="0.0%">
                  <c:v>8.021212061526177E-2</c:v>
                </c:pt>
                <c:pt idx="8132" formatCode="0.0%">
                  <c:v>7.932399134847995E-2</c:v>
                </c:pt>
                <c:pt idx="8133" formatCode="0.0%">
                  <c:v>7.9482497487161477E-2</c:v>
                </c:pt>
                <c:pt idx="8134" formatCode="0.0%">
                  <c:v>6.824138426463662E-2</c:v>
                </c:pt>
                <c:pt idx="8135" formatCode="0.0%">
                  <c:v>5.877120454651396E-2</c:v>
                </c:pt>
                <c:pt idx="8136" formatCode="0.0%">
                  <c:v>5.4224434657208283E-2</c:v>
                </c:pt>
                <c:pt idx="8137" formatCode="0.0%">
                  <c:v>5.4585702052957256E-2</c:v>
                </c:pt>
                <c:pt idx="8138" formatCode="0.0%">
                  <c:v>6.2180501830089899E-2</c:v>
                </c:pt>
                <c:pt idx="8139" formatCode="0.0%">
                  <c:v>7.131975559053888E-2</c:v>
                </c:pt>
                <c:pt idx="8140" formatCode="0.0%">
                  <c:v>7.1432369668874118E-2</c:v>
                </c:pt>
                <c:pt idx="8141" formatCode="0.0%">
                  <c:v>6.986793746580848E-2</c:v>
                </c:pt>
                <c:pt idx="8142" formatCode="0.0%">
                  <c:v>6.986767548062317E-2</c:v>
                </c:pt>
                <c:pt idx="8143" formatCode="0.0%">
                  <c:v>7.205937912370225E-2</c:v>
                </c:pt>
                <c:pt idx="8144" formatCode="0.0%">
                  <c:v>7.1129306590154623E-2</c:v>
                </c:pt>
                <c:pt idx="8145" formatCode="0.0%">
                  <c:v>7.1120154274166653E-2</c:v>
                </c:pt>
                <c:pt idx="8146" formatCode="0.0%">
                  <c:v>7.4418470862280192E-2</c:v>
                </c:pt>
                <c:pt idx="8147" formatCode="0.0%">
                  <c:v>7.1080169761308043E-2</c:v>
                </c:pt>
                <c:pt idx="8148" formatCode="0.0%">
                  <c:v>7.3884281051829814E-2</c:v>
                </c:pt>
                <c:pt idx="8149" formatCode="0.0%">
                  <c:v>7.9800141571673172E-2</c:v>
                </c:pt>
                <c:pt idx="8150" formatCode="0.0%">
                  <c:v>7.9417729426697975E-2</c:v>
                </c:pt>
                <c:pt idx="8151" formatCode="0.0%">
                  <c:v>8.6462646368306251E-2</c:v>
                </c:pt>
                <c:pt idx="8152" formatCode="0.0%">
                  <c:v>0.11011006265438635</c:v>
                </c:pt>
                <c:pt idx="8153" formatCode="0.0%">
                  <c:v>0.10942234751050418</c:v>
                </c:pt>
                <c:pt idx="8154" formatCode="0.0%">
                  <c:v>0.11256210627859771</c:v>
                </c:pt>
                <c:pt idx="8155" formatCode="0.0%">
                  <c:v>0.11346594072922933</c:v>
                </c:pt>
                <c:pt idx="8156" formatCode="0.0%">
                  <c:v>0.11188948508065712</c:v>
                </c:pt>
                <c:pt idx="8157" formatCode="0.0%">
                  <c:v>0.11890954159772256</c:v>
                </c:pt>
                <c:pt idx="8158" formatCode="0.0%">
                  <c:v>0.11623955647874425</c:v>
                </c:pt>
                <c:pt idx="8159" formatCode="0.0%">
                  <c:v>0.11270862849743674</c:v>
                </c:pt>
                <c:pt idx="8160" formatCode="0.0%">
                  <c:v>0.11343747103115412</c:v>
                </c:pt>
                <c:pt idx="8161" formatCode="0.0%">
                  <c:v>0.11422146347790317</c:v>
                </c:pt>
                <c:pt idx="8162" formatCode="0.0%">
                  <c:v>0.11642230110995759</c:v>
                </c:pt>
                <c:pt idx="8163" formatCode="0.0%">
                  <c:v>0.11378759169181922</c:v>
                </c:pt>
                <c:pt idx="8164" formatCode="0.0%">
                  <c:v>0.11381288856892528</c:v>
                </c:pt>
                <c:pt idx="8165" formatCode="0.0%">
                  <c:v>0.11348530333885821</c:v>
                </c:pt>
                <c:pt idx="8166" formatCode="0.0%">
                  <c:v>0.10702672689990443</c:v>
                </c:pt>
                <c:pt idx="8167" formatCode="0.0%">
                  <c:v>0.10241158146831068</c:v>
                </c:pt>
                <c:pt idx="8168" formatCode="0.0%">
                  <c:v>9.2149175200673505E-2</c:v>
                </c:pt>
                <c:pt idx="8169" formatCode="0.0%">
                  <c:v>9.4813023606723321E-2</c:v>
                </c:pt>
                <c:pt idx="8170" formatCode="0.0%">
                  <c:v>8.8774213964386187E-2</c:v>
                </c:pt>
                <c:pt idx="8171" formatCode="0.0%">
                  <c:v>9.2186458783040617E-2</c:v>
                </c:pt>
                <c:pt idx="8172" formatCode="0.0%">
                  <c:v>7.7764562545613841E-2</c:v>
                </c:pt>
                <c:pt idx="8173" formatCode="0.0%">
                  <c:v>7.9345434898442507E-2</c:v>
                </c:pt>
                <c:pt idx="8174" formatCode="0.0%">
                  <c:v>8.2388641493746154E-2</c:v>
                </c:pt>
                <c:pt idx="8175" formatCode="0.0%">
                  <c:v>7.7558029578507159E-2</c:v>
                </c:pt>
                <c:pt idx="8176" formatCode="0.0%">
                  <c:v>7.7458788671148665E-2</c:v>
                </c:pt>
                <c:pt idx="8177" formatCode="0.0%">
                  <c:v>7.2304343135516716E-2</c:v>
                </c:pt>
                <c:pt idx="8178" formatCode="0.0%">
                  <c:v>8.1138361225940661E-2</c:v>
                </c:pt>
                <c:pt idx="8179" formatCode="0.0%">
                  <c:v>9.168350875566697E-2</c:v>
                </c:pt>
                <c:pt idx="8180" formatCode="0.0%">
                  <c:v>9.0387286702929739E-2</c:v>
                </c:pt>
                <c:pt idx="8181" formatCode="0.0%">
                  <c:v>9.2639618733835458E-2</c:v>
                </c:pt>
                <c:pt idx="8182" formatCode="0.0%">
                  <c:v>9.1166356113283609E-2</c:v>
                </c:pt>
                <c:pt idx="8183" formatCode="0.0%">
                  <c:v>9.1405017206033182E-2</c:v>
                </c:pt>
                <c:pt idx="8184" formatCode="0.0%">
                  <c:v>9.3481532597881181E-2</c:v>
                </c:pt>
                <c:pt idx="8185" formatCode="0.0%">
                  <c:v>9.3168112287738164E-2</c:v>
                </c:pt>
                <c:pt idx="8186" formatCode="0.0%">
                  <c:v>9.31218868925201E-2</c:v>
                </c:pt>
                <c:pt idx="8187" formatCode="0.0%">
                  <c:v>0.11814866878411495</c:v>
                </c:pt>
                <c:pt idx="8188" formatCode="0.0%">
                  <c:v>0.11790595782507364</c:v>
                </c:pt>
                <c:pt idx="8189" formatCode="0.0%">
                  <c:v>0.11872979098845717</c:v>
                </c:pt>
                <c:pt idx="8190" formatCode="0.0%">
                  <c:v>0.11456802259018013</c:v>
                </c:pt>
                <c:pt idx="8191" formatCode="0.0%">
                  <c:v>0.11594832406355385</c:v>
                </c:pt>
                <c:pt idx="8192" formatCode="0.0%">
                  <c:v>0.12378541138923366</c:v>
                </c:pt>
                <c:pt idx="8193" formatCode="0.0%">
                  <c:v>0.12387238463144935</c:v>
                </c:pt>
                <c:pt idx="8194" formatCode="0.0%">
                  <c:v>0.12280835626125043</c:v>
                </c:pt>
                <c:pt idx="8195" formatCode="0.0%">
                  <c:v>0.12318927895626333</c:v>
                </c:pt>
                <c:pt idx="8196" formatCode="0.0%">
                  <c:v>0.14255328422165986</c:v>
                </c:pt>
                <c:pt idx="8197" formatCode="0.0%">
                  <c:v>0.14242432127365287</c:v>
                </c:pt>
                <c:pt idx="8198" formatCode="0.0%">
                  <c:v>0.14152868195842436</c:v>
                </c:pt>
                <c:pt idx="8199" formatCode="0.0%">
                  <c:v>0.14194751964371513</c:v>
                </c:pt>
                <c:pt idx="8200" formatCode="0.0%">
                  <c:v>0.14498495398883049</c:v>
                </c:pt>
                <c:pt idx="8201" formatCode="0.0%">
                  <c:v>0.14434863150664495</c:v>
                </c:pt>
                <c:pt idx="8202" formatCode="0.0%">
                  <c:v>0.14409788716082136</c:v>
                </c:pt>
                <c:pt idx="8203" formatCode="0.0%">
                  <c:v>0.14419938903499374</c:v>
                </c:pt>
                <c:pt idx="8204" formatCode="0.0%">
                  <c:v>0.14270277805458439</c:v>
                </c:pt>
                <c:pt idx="8205" formatCode="0.0%">
                  <c:v>0.14567344789394543</c:v>
                </c:pt>
                <c:pt idx="8206" formatCode="0.0%">
                  <c:v>0.1470369989455847</c:v>
                </c:pt>
                <c:pt idx="8207" formatCode="0.0%">
                  <c:v>0.12145999306352107</c:v>
                </c:pt>
                <c:pt idx="8208" formatCode="0.0%">
                  <c:v>0.12291325080492753</c:v>
                </c:pt>
                <c:pt idx="8209" formatCode="0.0%">
                  <c:v>0.11723744891375325</c:v>
                </c:pt>
                <c:pt idx="8210" formatCode="0.0%">
                  <c:v>0.1191812471013836</c:v>
                </c:pt>
                <c:pt idx="8211" formatCode="0.0%">
                  <c:v>0.12071472584986372</c:v>
                </c:pt>
                <c:pt idx="8212" formatCode="0.0%">
                  <c:v>0.11472180071702465</c:v>
                </c:pt>
                <c:pt idx="8213" formatCode="0.0%">
                  <c:v>0.1174549429094754</c:v>
                </c:pt>
                <c:pt idx="8214" formatCode="0.0%">
                  <c:v>0.12447947224173053</c:v>
                </c:pt>
                <c:pt idx="8215" formatCode="0.0%">
                  <c:v>0.12945365109330767</c:v>
                </c:pt>
                <c:pt idx="8216" formatCode="0.0%">
                  <c:v>0.11567221250022773</c:v>
                </c:pt>
                <c:pt idx="8217" formatCode="0.0%">
                  <c:v>0.11517650066281002</c:v>
                </c:pt>
                <c:pt idx="8218" formatCode="0.0%">
                  <c:v>0.11750508675523835</c:v>
                </c:pt>
                <c:pt idx="8219" formatCode="0.0%">
                  <c:v>0.11603652128144248</c:v>
                </c:pt>
                <c:pt idx="8220" formatCode="0.0%">
                  <c:v>0.11490240190701012</c:v>
                </c:pt>
                <c:pt idx="8221" formatCode="0.0%">
                  <c:v>0.11699999424904281</c:v>
                </c:pt>
                <c:pt idx="8222" formatCode="0.0%">
                  <c:v>0.11742040233061501</c:v>
                </c:pt>
                <c:pt idx="8223" formatCode="0.0%">
                  <c:v>0.11805107140162212</c:v>
                </c:pt>
                <c:pt idx="8224" formatCode="0.0%">
                  <c:v>0.12624602589388551</c:v>
                </c:pt>
                <c:pt idx="8225" formatCode="0.0%">
                  <c:v>0.12617410813437077</c:v>
                </c:pt>
                <c:pt idx="8226" formatCode="0.0%">
                  <c:v>0.12701895998164986</c:v>
                </c:pt>
                <c:pt idx="8227" formatCode="0.0%">
                  <c:v>0.12617310663921941</c:v>
                </c:pt>
                <c:pt idx="8228" formatCode="0.0%">
                  <c:v>0.12459813700633256</c:v>
                </c:pt>
                <c:pt idx="8229" formatCode="0.0%">
                  <c:v>0.12491396607866539</c:v>
                </c:pt>
                <c:pt idx="8230" formatCode="0.0%">
                  <c:v>0.12144752725120385</c:v>
                </c:pt>
                <c:pt idx="8231" formatCode="0.0%">
                  <c:v>0.11307933558015101</c:v>
                </c:pt>
                <c:pt idx="8232" formatCode="0.0%">
                  <c:v>0.1030320496337763</c:v>
                </c:pt>
                <c:pt idx="8233" formatCode="0.0%">
                  <c:v>9.5652865633733583E-2</c:v>
                </c:pt>
                <c:pt idx="8234" formatCode="0.0%">
                  <c:v>8.7133653096447869E-2</c:v>
                </c:pt>
                <c:pt idx="8235" formatCode="0.0%">
                  <c:v>8.3365816264176815E-2</c:v>
                </c:pt>
                <c:pt idx="8236" formatCode="0.0%">
                  <c:v>8.3035125999550097E-2</c:v>
                </c:pt>
                <c:pt idx="8237" formatCode="0.0%">
                  <c:v>8.6725286992867162E-2</c:v>
                </c:pt>
                <c:pt idx="8238" formatCode="0.0%">
                  <c:v>8.3661957675405296E-2</c:v>
                </c:pt>
                <c:pt idx="8239" formatCode="0.0%">
                  <c:v>8.2387968932249908E-2</c:v>
                </c:pt>
                <c:pt idx="8240" formatCode="0.0%">
                  <c:v>8.2152123558371856E-2</c:v>
                </c:pt>
                <c:pt idx="8241" formatCode="0.0%">
                  <c:v>7.7324068586303557E-2</c:v>
                </c:pt>
                <c:pt idx="8242" formatCode="0.0%">
                  <c:v>8.348465234309721E-2</c:v>
                </c:pt>
                <c:pt idx="8243" formatCode="0.0%">
                  <c:v>8.2654779725122238E-2</c:v>
                </c:pt>
                <c:pt idx="8244" formatCode="0.0%">
                  <c:v>7.3192304321706161E-2</c:v>
                </c:pt>
                <c:pt idx="8245" formatCode="0.0%">
                  <c:v>7.1356979195272008E-2</c:v>
                </c:pt>
                <c:pt idx="8246" formatCode="0.0%">
                  <c:v>6.7913389363721738E-2</c:v>
                </c:pt>
                <c:pt idx="8247" formatCode="0.0%">
                  <c:v>6.7372862909230585E-2</c:v>
                </c:pt>
                <c:pt idx="8248" formatCode="0.0%">
                  <c:v>6.7918421649081351E-2</c:v>
                </c:pt>
                <c:pt idx="8249" formatCode="0.0%">
                  <c:v>7.2499718498069854E-2</c:v>
                </c:pt>
                <c:pt idx="8250" formatCode="0.0%">
                  <c:v>7.194159870491644E-2</c:v>
                </c:pt>
                <c:pt idx="8251" formatCode="0.0%">
                  <c:v>7.2167102166813032E-2</c:v>
                </c:pt>
                <c:pt idx="8252" formatCode="0.0%">
                  <c:v>7.3902260442347656E-2</c:v>
                </c:pt>
                <c:pt idx="8253" formatCode="0.0%">
                  <c:v>7.5538462449048563E-2</c:v>
                </c:pt>
                <c:pt idx="8254" formatCode="0.0%">
                  <c:v>7.3657965763916367E-2</c:v>
                </c:pt>
                <c:pt idx="8255" formatCode="0.0%">
                  <c:v>7.28366693174399E-2</c:v>
                </c:pt>
                <c:pt idx="8256" formatCode="0.0%">
                  <c:v>7.1277831141235523E-2</c:v>
                </c:pt>
                <c:pt idx="8257" formatCode="0.0%">
                  <c:v>6.7045160075473079E-2</c:v>
                </c:pt>
                <c:pt idx="8258" formatCode="0.0%">
                  <c:v>6.2665403173054218E-2</c:v>
                </c:pt>
                <c:pt idx="8259" formatCode="0.0%">
                  <c:v>7.5424831027612799E-2</c:v>
                </c:pt>
                <c:pt idx="8260" formatCode="0.0%">
                  <c:v>8.4866802088485266E-2</c:v>
                </c:pt>
                <c:pt idx="8261" formatCode="0.0%">
                  <c:v>8.492600382759008E-2</c:v>
                </c:pt>
                <c:pt idx="8262" formatCode="0.0%">
                  <c:v>8.1786039940723462E-2</c:v>
                </c:pt>
                <c:pt idx="8263" formatCode="0.0%">
                  <c:v>8.2715049425211476E-2</c:v>
                </c:pt>
                <c:pt idx="8264" formatCode="0.0%">
                  <c:v>7.9054770253568274E-2</c:v>
                </c:pt>
                <c:pt idx="8265" formatCode="0.0%">
                  <c:v>7.8923529287607333E-2</c:v>
                </c:pt>
                <c:pt idx="8266" formatCode="0.0%">
                  <c:v>7.8816227813339843E-2</c:v>
                </c:pt>
                <c:pt idx="8267" formatCode="0.0%">
                  <c:v>7.8604028335502882E-2</c:v>
                </c:pt>
                <c:pt idx="8268" formatCode="0.0%">
                  <c:v>7.6905400729721365E-2</c:v>
                </c:pt>
                <c:pt idx="8269" formatCode="0.0%">
                  <c:v>7.6032041506142761E-2</c:v>
                </c:pt>
                <c:pt idx="8270" formatCode="0.0%">
                  <c:v>7.6315288269256779E-2</c:v>
                </c:pt>
                <c:pt idx="8271" formatCode="0.0%">
                  <c:v>7.5607952897637568E-2</c:v>
                </c:pt>
                <c:pt idx="8272" formatCode="0.0%">
                  <c:v>7.2632935622362824E-2</c:v>
                </c:pt>
                <c:pt idx="8273" formatCode="0.0%">
                  <c:v>7.1251571319400048E-2</c:v>
                </c:pt>
                <c:pt idx="8274" formatCode="0.0%">
                  <c:v>7.1003135930947286E-2</c:v>
                </c:pt>
                <c:pt idx="8275" formatCode="0.0%">
                  <c:v>7.1018592267856298E-2</c:v>
                </c:pt>
                <c:pt idx="8276" formatCode="0.0%">
                  <c:v>7.0722500142953559E-2</c:v>
                </c:pt>
                <c:pt idx="8277" formatCode="0.0%">
                  <c:v>7.5602173405420456E-2</c:v>
                </c:pt>
                <c:pt idx="8278" formatCode="0.0%">
                  <c:v>8.1968642529765004E-2</c:v>
                </c:pt>
                <c:pt idx="8279" formatCode="0.0%">
                  <c:v>7.1605730153626035E-2</c:v>
                </c:pt>
                <c:pt idx="8280" formatCode="0.0%">
                  <c:v>6.0968902340379293E-2</c:v>
                </c:pt>
                <c:pt idx="8281" formatCode="0.0%">
                  <c:v>6.2196767672624796E-2</c:v>
                </c:pt>
                <c:pt idx="8282" formatCode="0.0%">
                  <c:v>6.1953386583142901E-2</c:v>
                </c:pt>
                <c:pt idx="8283" formatCode="0.0%">
                  <c:v>7.1473645981315295E-2</c:v>
                </c:pt>
                <c:pt idx="8284" formatCode="0.0%">
                  <c:v>7.3016388171931151E-2</c:v>
                </c:pt>
                <c:pt idx="8285" formatCode="0.0%">
                  <c:v>7.6924893688644511E-2</c:v>
                </c:pt>
                <c:pt idx="8286" formatCode="0.0%">
                  <c:v>7.9395769367140961E-2</c:v>
                </c:pt>
                <c:pt idx="8287" formatCode="0.0%">
                  <c:v>8.7238624492093908E-2</c:v>
                </c:pt>
                <c:pt idx="8288" formatCode="0.0%">
                  <c:v>9.0974134281521138E-2</c:v>
                </c:pt>
                <c:pt idx="8289" formatCode="0.0%">
                  <c:v>8.9336666065732748E-2</c:v>
                </c:pt>
                <c:pt idx="8290" formatCode="0.0%">
                  <c:v>9.1294532246905494E-2</c:v>
                </c:pt>
                <c:pt idx="8291" formatCode="0.0%">
                  <c:v>9.2528864602470021E-2</c:v>
                </c:pt>
                <c:pt idx="8292" formatCode="0.0%">
                  <c:v>9.4283426582974839E-2</c:v>
                </c:pt>
                <c:pt idx="8293" formatCode="0.0%">
                  <c:v>9.3509152702453191E-2</c:v>
                </c:pt>
                <c:pt idx="8294" formatCode="0.0%">
                  <c:v>9.3497643668931957E-2</c:v>
                </c:pt>
                <c:pt idx="8295" formatCode="0.0%">
                  <c:v>9.3794209597901093E-2</c:v>
                </c:pt>
                <c:pt idx="8296" formatCode="0.0%">
                  <c:v>9.4147206231656358E-2</c:v>
                </c:pt>
                <c:pt idx="8297" formatCode="0.0%">
                  <c:v>9.1257245099524667E-2</c:v>
                </c:pt>
                <c:pt idx="8298" formatCode="0.0%">
                  <c:v>8.3015844272644149E-2</c:v>
                </c:pt>
                <c:pt idx="8299" formatCode="0.0%">
                  <c:v>8.1674296387666434E-2</c:v>
                </c:pt>
                <c:pt idx="8300" formatCode="0.0%">
                  <c:v>8.3792356042926369E-2</c:v>
                </c:pt>
                <c:pt idx="8301" formatCode="0.0%">
                  <c:v>8.1781340120500132E-2</c:v>
                </c:pt>
                <c:pt idx="8302" formatCode="0.0%">
                  <c:v>8.1206974390532219E-2</c:v>
                </c:pt>
                <c:pt idx="8303" formatCode="0.0%">
                  <c:v>8.381128977052181E-2</c:v>
                </c:pt>
                <c:pt idx="8304" formatCode="0.0%">
                  <c:v>8.3286014548461809E-2</c:v>
                </c:pt>
                <c:pt idx="8305" formatCode="0.0%">
                  <c:v>7.8280377193047271E-2</c:v>
                </c:pt>
                <c:pt idx="8306" formatCode="0.0%">
                  <c:v>7.6976310975530399E-2</c:v>
                </c:pt>
                <c:pt idx="8307" formatCode="0.0%">
                  <c:v>6.8266147640380054E-2</c:v>
                </c:pt>
                <c:pt idx="8308" formatCode="0.0%">
                  <c:v>6.6275580699091605E-2</c:v>
                </c:pt>
                <c:pt idx="8309" formatCode="0.0%">
                  <c:v>6.5725811585888472E-2</c:v>
                </c:pt>
                <c:pt idx="8310" formatCode="0.0%">
                  <c:v>6.827485326625822E-2</c:v>
                </c:pt>
                <c:pt idx="8311" formatCode="0.0%">
                  <c:v>6.8222752842459766E-2</c:v>
                </c:pt>
                <c:pt idx="8312" formatCode="0.0%">
                  <c:v>6.5945231988209688E-2</c:v>
                </c:pt>
                <c:pt idx="8313" formatCode="0.0%">
                  <c:v>6.7230203327582103E-2</c:v>
                </c:pt>
                <c:pt idx="8314" formatCode="0.0%">
                  <c:v>6.7691239232615039E-2</c:v>
                </c:pt>
                <c:pt idx="8315" formatCode="0.0%">
                  <c:v>6.9109616377916641E-2</c:v>
                </c:pt>
                <c:pt idx="8316" formatCode="0.0%">
                  <c:v>6.9375470872177922E-2</c:v>
                </c:pt>
                <c:pt idx="8317" formatCode="0.0%">
                  <c:v>6.5973784834486709E-2</c:v>
                </c:pt>
                <c:pt idx="8318" formatCode="0.0%">
                  <c:v>6.5777714438675944E-2</c:v>
                </c:pt>
                <c:pt idx="8319" formatCode="0.0%">
                  <c:v>7.1185337399358756E-2</c:v>
                </c:pt>
                <c:pt idx="8320" formatCode="0.0%">
                  <c:v>6.8346803659466868E-2</c:v>
                </c:pt>
                <c:pt idx="8321" formatCode="0.0%">
                  <c:v>7.3132479634413439E-2</c:v>
                </c:pt>
                <c:pt idx="8322" formatCode="0.0%">
                  <c:v>7.3134730279403704E-2</c:v>
                </c:pt>
                <c:pt idx="8323" formatCode="0.0%">
                  <c:v>6.4430449459963429E-2</c:v>
                </c:pt>
                <c:pt idx="8324" formatCode="0.0%">
                  <c:v>6.4028641383343757E-2</c:v>
                </c:pt>
                <c:pt idx="8325" formatCode="0.0%">
                  <c:v>6.5233333013647851E-2</c:v>
                </c:pt>
                <c:pt idx="8326" formatCode="0.0%">
                  <c:v>6.8801405398320692E-2</c:v>
                </c:pt>
                <c:pt idx="8327" formatCode="0.0%">
                  <c:v>6.8863480204178346E-2</c:v>
                </c:pt>
                <c:pt idx="8328" formatCode="0.0%">
                  <c:v>6.9198115880873573E-2</c:v>
                </c:pt>
                <c:pt idx="8329" formatCode="0.0%">
                  <c:v>6.9945735402187639E-2</c:v>
                </c:pt>
                <c:pt idx="8330" formatCode="0.0%">
                  <c:v>6.3333384553167435E-2</c:v>
                </c:pt>
                <c:pt idx="8331" formatCode="0.0%">
                  <c:v>6.2231285536253025E-2</c:v>
                </c:pt>
                <c:pt idx="8332" formatCode="0.0%">
                  <c:v>6.8845521622138847E-2</c:v>
                </c:pt>
                <c:pt idx="8333" formatCode="0.0%">
                  <c:v>7.2500928528824143E-2</c:v>
                </c:pt>
                <c:pt idx="8334" formatCode="0.0%">
                  <c:v>7.234977897504008E-2</c:v>
                </c:pt>
                <c:pt idx="8335" formatCode="0.0%">
                  <c:v>7.1452296266021564E-2</c:v>
                </c:pt>
                <c:pt idx="8336" formatCode="0.0%">
                  <c:v>0.1057546390701299</c:v>
                </c:pt>
                <c:pt idx="8337" formatCode="0.0%">
                  <c:v>0.11653591852495822</c:v>
                </c:pt>
                <c:pt idx="8338" formatCode="0.0%">
                  <c:v>0.11704153396335182</c:v>
                </c:pt>
                <c:pt idx="8339" formatCode="0.0%">
                  <c:v>0.11373325446879513</c:v>
                </c:pt>
                <c:pt idx="8340" formatCode="0.0%">
                  <c:v>0.1139564308431395</c:v>
                </c:pt>
                <c:pt idx="8341" formatCode="0.0%">
                  <c:v>0.1101001300515836</c:v>
                </c:pt>
                <c:pt idx="8342" formatCode="0.0%">
                  <c:v>0.113245172395875</c:v>
                </c:pt>
                <c:pt idx="8343" formatCode="0.0%">
                  <c:v>0.11624131633549895</c:v>
                </c:pt>
                <c:pt idx="8344" formatCode="0.0%">
                  <c:v>0.11670913655802337</c:v>
                </c:pt>
                <c:pt idx="8345" formatCode="0.0%">
                  <c:v>0.11542183813022479</c:v>
                </c:pt>
                <c:pt idx="8346" formatCode="0.0%">
                  <c:v>0.11145313349757913</c:v>
                </c:pt>
                <c:pt idx="8347" formatCode="0.0%">
                  <c:v>0.11138747985751191</c:v>
                </c:pt>
                <c:pt idx="8348" formatCode="0.0%">
                  <c:v>0.11014229086801754</c:v>
                </c:pt>
                <c:pt idx="8349" formatCode="0.0%">
                  <c:v>0.11010876014928757</c:v>
                </c:pt>
                <c:pt idx="8350" formatCode="0.0%">
                  <c:v>0.10999933898829328</c:v>
                </c:pt>
                <c:pt idx="8351" formatCode="0.0%">
                  <c:v>0.11063783007907231</c:v>
                </c:pt>
                <c:pt idx="8352" formatCode="0.0%">
                  <c:v>0.10780109679690401</c:v>
                </c:pt>
                <c:pt idx="8353" formatCode="0.0%">
                  <c:v>0.10574667638774299</c:v>
                </c:pt>
                <c:pt idx="8354" formatCode="0.0%">
                  <c:v>0.10871758502296326</c:v>
                </c:pt>
                <c:pt idx="8355" formatCode="0.0%">
                  <c:v>0.10913863459616044</c:v>
                </c:pt>
                <c:pt idx="8356" formatCode="0.0%">
                  <c:v>7.7247599900270289E-2</c:v>
                </c:pt>
                <c:pt idx="8357" formatCode="0.0%">
                  <c:v>6.4288709833364543E-2</c:v>
                </c:pt>
                <c:pt idx="8358" formatCode="0.0%">
                  <c:v>6.84250230279696E-2</c:v>
                </c:pt>
                <c:pt idx="8359" formatCode="0.0%">
                  <c:v>6.983561478406955E-2</c:v>
                </c:pt>
                <c:pt idx="8360" formatCode="0.0%">
                  <c:v>7.2079438432882531E-2</c:v>
                </c:pt>
                <c:pt idx="8361" formatCode="0.0%">
                  <c:v>7.1284110462670608E-2</c:v>
                </c:pt>
                <c:pt idx="8362" formatCode="0.0%">
                  <c:v>6.7553164841182553E-2</c:v>
                </c:pt>
                <c:pt idx="8363" formatCode="0.0%">
                  <c:v>6.1987701854461209E-2</c:v>
                </c:pt>
                <c:pt idx="8364" formatCode="0.0%">
                  <c:v>6.3134867798962019E-2</c:v>
                </c:pt>
                <c:pt idx="8365" formatCode="0.0%">
                  <c:v>6.4140915655669359E-2</c:v>
                </c:pt>
                <c:pt idx="8366" formatCode="0.0%">
                  <c:v>6.5392429877189115E-2</c:v>
                </c:pt>
                <c:pt idx="8367" formatCode="0.0%">
                  <c:v>6.5345092837175475E-2</c:v>
                </c:pt>
                <c:pt idx="8368" formatCode="0.0%">
                  <c:v>6.5238686048036537E-2</c:v>
                </c:pt>
                <c:pt idx="8369" formatCode="0.0%">
                  <c:v>7.097800911798921E-2</c:v>
                </c:pt>
                <c:pt idx="8370" formatCode="0.0%">
                  <c:v>7.3109135037716044E-2</c:v>
                </c:pt>
                <c:pt idx="8371" formatCode="0.0%">
                  <c:v>7.0484611061944633E-2</c:v>
                </c:pt>
                <c:pt idx="8372" formatCode="0.0%">
                  <c:v>6.9702366928349038E-2</c:v>
                </c:pt>
                <c:pt idx="8373" formatCode="0.0%">
                  <c:v>7.0253902982837374E-2</c:v>
                </c:pt>
                <c:pt idx="8374" formatCode="0.0%">
                  <c:v>7.3803504916086948E-2</c:v>
                </c:pt>
                <c:pt idx="8375" formatCode="0.0%">
                  <c:v>8.0315680057823621E-2</c:v>
                </c:pt>
                <c:pt idx="8376" formatCode="0.0%">
                  <c:v>7.8519985138889192E-2</c:v>
                </c:pt>
                <c:pt idx="8377" formatCode="0.0%">
                  <c:v>7.8866262138525253E-2</c:v>
                </c:pt>
                <c:pt idx="8378" formatCode="0.0%">
                  <c:v>7.8752885792985602E-2</c:v>
                </c:pt>
                <c:pt idx="8379" formatCode="0.0%">
                  <c:v>8.5626766766734655E-2</c:v>
                </c:pt>
                <c:pt idx="8380" formatCode="0.0%">
                  <c:v>8.1074917344069131E-2</c:v>
                </c:pt>
                <c:pt idx="8381" formatCode="0.0%">
                  <c:v>8.102170690864266E-2</c:v>
                </c:pt>
                <c:pt idx="8382" formatCode="0.0%">
                  <c:v>8.0846292555143071E-2</c:v>
                </c:pt>
                <c:pt idx="8383" formatCode="0.0%">
                  <c:v>8.0415805442626623E-2</c:v>
                </c:pt>
                <c:pt idx="8384" formatCode="0.0%">
                  <c:v>8.524924220928036E-2</c:v>
                </c:pt>
                <c:pt idx="8385" formatCode="0.0%">
                  <c:v>8.9429789045785718E-2</c:v>
                </c:pt>
                <c:pt idx="8386" formatCode="0.0%">
                  <c:v>8.9704319593931214E-2</c:v>
                </c:pt>
                <c:pt idx="8387" formatCode="0.0%">
                  <c:v>8.9614453648155387E-2</c:v>
                </c:pt>
                <c:pt idx="8388" formatCode="0.0%">
                  <c:v>8.9595568661043359E-2</c:v>
                </c:pt>
                <c:pt idx="8389" formatCode="0.0%">
                  <c:v>8.5735679964033681E-2</c:v>
                </c:pt>
                <c:pt idx="8390" formatCode="0.0%">
                  <c:v>8.6007191324208518E-2</c:v>
                </c:pt>
                <c:pt idx="8391" formatCode="0.0%">
                  <c:v>8.8328082718924728E-2</c:v>
                </c:pt>
                <c:pt idx="8392" formatCode="0.0%">
                  <c:v>9.0914524270541697E-2</c:v>
                </c:pt>
                <c:pt idx="8393" formatCode="0.0%">
                  <c:v>9.0635453129710011E-2</c:v>
                </c:pt>
                <c:pt idx="8394" formatCode="0.0%">
                  <c:v>8.694068362125458E-2</c:v>
                </c:pt>
                <c:pt idx="8395" formatCode="0.0%">
                  <c:v>8.2309783105170148E-2</c:v>
                </c:pt>
                <c:pt idx="8396" formatCode="0.0%">
                  <c:v>8.2326627478810935E-2</c:v>
                </c:pt>
                <c:pt idx="8397" formatCode="0.0%">
                  <c:v>8.183462007384075E-2</c:v>
                </c:pt>
                <c:pt idx="8398" formatCode="0.0%">
                  <c:v>8.0450373964369257E-2</c:v>
                </c:pt>
                <c:pt idx="8399" formatCode="0.0%">
                  <c:v>7.2783536629414058E-2</c:v>
                </c:pt>
                <c:pt idx="8400" formatCode="0.0%">
                  <c:v>7.9021688245587654E-2</c:v>
                </c:pt>
                <c:pt idx="8401" formatCode="0.0%">
                  <c:v>8.7498236217341332E-2</c:v>
                </c:pt>
                <c:pt idx="8402" formatCode="0.0%">
                  <c:v>8.6949430868839717E-2</c:v>
                </c:pt>
                <c:pt idx="8403" formatCode="0.0%">
                  <c:v>8.7006512127950117E-2</c:v>
                </c:pt>
                <c:pt idx="8404" formatCode="0.0%">
                  <c:v>8.7358555659529075E-2</c:v>
                </c:pt>
                <c:pt idx="8405" formatCode="0.0%">
                  <c:v>8.9854403352006423E-2</c:v>
                </c:pt>
                <c:pt idx="8406" formatCode="0.0%">
                  <c:v>9.0917814684042586E-2</c:v>
                </c:pt>
                <c:pt idx="8407" formatCode="0.0%">
                  <c:v>9.6152006617253621E-2</c:v>
                </c:pt>
                <c:pt idx="8408" formatCode="0.0%">
                  <c:v>9.8299037902329189E-2</c:v>
                </c:pt>
                <c:pt idx="8409" formatCode="0.0%">
                  <c:v>9.8102533963746866E-2</c:v>
                </c:pt>
                <c:pt idx="8410" formatCode="0.0%">
                  <c:v>9.4958297452297544E-2</c:v>
                </c:pt>
                <c:pt idx="8411" formatCode="0.0%">
                  <c:v>8.9010687447617962E-2</c:v>
                </c:pt>
                <c:pt idx="8412" formatCode="0.0%">
                  <c:v>8.7681825036541136E-2</c:v>
                </c:pt>
                <c:pt idx="8413" formatCode="0.0%">
                  <c:v>8.4403007411845504E-2</c:v>
                </c:pt>
                <c:pt idx="8414" formatCode="0.0%">
                  <c:v>8.0892324838117174E-2</c:v>
                </c:pt>
                <c:pt idx="8415" formatCode="0.0%">
                  <c:v>8.0518402624833368E-2</c:v>
                </c:pt>
                <c:pt idx="8416" formatCode="0.0%">
                  <c:v>8.0920910075785335E-2</c:v>
                </c:pt>
                <c:pt idx="8417" formatCode="0.0%">
                  <c:v>8.0916068210946532E-2</c:v>
                </c:pt>
                <c:pt idx="8418" formatCode="0.0%">
                  <c:v>8.0441945533405057E-2</c:v>
                </c:pt>
                <c:pt idx="8419" formatCode="0.0%">
                  <c:v>8.0171805214155123E-2</c:v>
                </c:pt>
                <c:pt idx="8420" formatCode="0.0%">
                  <c:v>8.2057676320745121E-2</c:v>
                </c:pt>
                <c:pt idx="8421" formatCode="0.0%">
                  <c:v>7.6918588054041642E-2</c:v>
                </c:pt>
                <c:pt idx="8422" formatCode="0.0%">
                  <c:v>7.6884709105530497E-2</c:v>
                </c:pt>
                <c:pt idx="8423" formatCode="0.0%">
                  <c:v>7.6890543139279899E-2</c:v>
                </c:pt>
                <c:pt idx="8424" formatCode="0.0%">
                  <c:v>7.0746361113495887E-2</c:v>
                </c:pt>
                <c:pt idx="8425" formatCode="0.0%">
                  <c:v>6.7462134231844093E-2</c:v>
                </c:pt>
                <c:pt idx="8426" formatCode="0.0%">
                  <c:v>6.638657059177562E-2</c:v>
                </c:pt>
                <c:pt idx="8427" formatCode="0.0%">
                  <c:v>5.6122036411955657E-2</c:v>
                </c:pt>
                <c:pt idx="8428" formatCode="0.0%">
                  <c:v>5.4938089269584246E-2</c:v>
                </c:pt>
                <c:pt idx="8429" formatCode="0.0%">
                  <c:v>6.0162063002860602E-2</c:v>
                </c:pt>
                <c:pt idx="8430" formatCode="0.0%">
                  <c:v>6.0336571710026612E-2</c:v>
                </c:pt>
                <c:pt idx="8431" formatCode="0.0%">
                  <c:v>6.4788131998603907E-2</c:v>
                </c:pt>
                <c:pt idx="8432" formatCode="0.0%">
                  <c:v>7.1560341882955528E-2</c:v>
                </c:pt>
                <c:pt idx="8433" formatCode="0.0%">
                  <c:v>7.8799262434150752E-2</c:v>
                </c:pt>
                <c:pt idx="8434" formatCode="0.0%">
                  <c:v>7.8169438680565723E-2</c:v>
                </c:pt>
                <c:pt idx="8435" formatCode="0.0%">
                  <c:v>8.1894091752961889E-2</c:v>
                </c:pt>
                <c:pt idx="8436" formatCode="0.0%">
                  <c:v>7.9426875891124293E-2</c:v>
                </c:pt>
                <c:pt idx="8437" formatCode="0.0%">
                  <c:v>8.1504043636067447E-2</c:v>
                </c:pt>
                <c:pt idx="8438" formatCode="0.0%">
                  <c:v>8.4510677446576435E-2</c:v>
                </c:pt>
                <c:pt idx="8439" formatCode="0.0%">
                  <c:v>8.6618559828879588E-2</c:v>
                </c:pt>
                <c:pt idx="8440" formatCode="0.0%">
                  <c:v>8.4121686348467853E-2</c:v>
                </c:pt>
                <c:pt idx="8441" formatCode="0.0%">
                  <c:v>8.2976825021434067E-2</c:v>
                </c:pt>
                <c:pt idx="8442" formatCode="0.0%">
                  <c:v>9.5748503865112813E-2</c:v>
                </c:pt>
                <c:pt idx="8443" formatCode="0.0%">
                  <c:v>9.5678741544599072E-2</c:v>
                </c:pt>
                <c:pt idx="8444" formatCode="0.0%">
                  <c:v>0.10445093059547579</c:v>
                </c:pt>
                <c:pt idx="8445" formatCode="0.0%">
                  <c:v>0.10344357392242093</c:v>
                </c:pt>
                <c:pt idx="8446" formatCode="0.0%">
                  <c:v>0.10263320585935079</c:v>
                </c:pt>
                <c:pt idx="8447" formatCode="0.0%">
                  <c:v>0.1023017679518981</c:v>
                </c:pt>
                <c:pt idx="8448" formatCode="0.0%">
                  <c:v>0.10193854173845261</c:v>
                </c:pt>
                <c:pt idx="8449" formatCode="0.0%">
                  <c:v>0.10130592955454853</c:v>
                </c:pt>
                <c:pt idx="8450" formatCode="0.0%">
                  <c:v>0.10691466914158501</c:v>
                </c:pt>
                <c:pt idx="8451" formatCode="0.0%">
                  <c:v>0.10469687193506878</c:v>
                </c:pt>
                <c:pt idx="8452" formatCode="0.0%">
                  <c:v>9.9279911316554295E-2</c:v>
                </c:pt>
                <c:pt idx="8453" formatCode="0.0%">
                  <c:v>9.3048482327351648E-2</c:v>
                </c:pt>
                <c:pt idx="8454" formatCode="0.0%">
                  <c:v>9.3062836099167726E-2</c:v>
                </c:pt>
                <c:pt idx="8455" formatCode="0.0%">
                  <c:v>8.9118423090182794E-2</c:v>
                </c:pt>
                <c:pt idx="8456" formatCode="0.0%">
                  <c:v>8.9312592406725039E-2</c:v>
                </c:pt>
                <c:pt idx="8457" formatCode="0.0%">
                  <c:v>8.6475787279259766E-2</c:v>
                </c:pt>
                <c:pt idx="8458" formatCode="0.0%">
                  <c:v>8.0622313038300877E-2</c:v>
                </c:pt>
                <c:pt idx="8459" formatCode="0.0%">
                  <c:v>8.1110417593143538E-2</c:v>
                </c:pt>
                <c:pt idx="8460" formatCode="0.0%">
                  <c:v>8.1599392430981271E-2</c:v>
                </c:pt>
                <c:pt idx="8461" formatCode="0.0%">
                  <c:v>7.9393796220605259E-2</c:v>
                </c:pt>
                <c:pt idx="8462" formatCode="0.0%">
                  <c:v>6.1240176899497227E-2</c:v>
                </c:pt>
                <c:pt idx="8463" formatCode="0.0%">
                  <c:v>6.1866955834582738E-2</c:v>
                </c:pt>
                <c:pt idx="8464" formatCode="0.0%">
                  <c:v>5.4411121693984238E-2</c:v>
                </c:pt>
                <c:pt idx="8465" formatCode="0.0%">
                  <c:v>5.441884688830758E-2</c:v>
                </c:pt>
                <c:pt idx="8466" formatCode="0.0%">
                  <c:v>5.5428627487176564E-2</c:v>
                </c:pt>
                <c:pt idx="8467" formatCode="0.0%">
                  <c:v>5.5384679553762278E-2</c:v>
                </c:pt>
                <c:pt idx="8468" formatCode="0.0%">
                  <c:v>5.5259246648834116E-2</c:v>
                </c:pt>
                <c:pt idx="8469" formatCode="0.0%">
                  <c:v>5.1582474518342386E-2</c:v>
                </c:pt>
                <c:pt idx="8470" formatCode="0.0%">
                  <c:v>4.6267593967069878E-2</c:v>
                </c:pt>
                <c:pt idx="8471" formatCode="0.0%">
                  <c:v>4.8184955991855891E-2</c:v>
                </c:pt>
                <c:pt idx="8472" formatCode="0.0%">
                  <c:v>5.322615663636996E-2</c:v>
                </c:pt>
                <c:pt idx="8473" formatCode="0.0%">
                  <c:v>6.5407795996279661E-2</c:v>
                </c:pt>
                <c:pt idx="8474" formatCode="0.0%">
                  <c:v>6.6420180286597172E-2</c:v>
                </c:pt>
                <c:pt idx="8475" formatCode="0.0%">
                  <c:v>6.6473263060630755E-2</c:v>
                </c:pt>
                <c:pt idx="8476" formatCode="0.0%">
                  <c:v>6.4921918905875689E-2</c:v>
                </c:pt>
                <c:pt idx="8477" formatCode="0.0%">
                  <c:v>6.2874846598613143E-2</c:v>
                </c:pt>
                <c:pt idx="8478" formatCode="0.0%">
                  <c:v>6.2956981345305044E-2</c:v>
                </c:pt>
                <c:pt idx="8479" formatCode="0.0%">
                  <c:v>6.3473089450587702E-2</c:v>
                </c:pt>
                <c:pt idx="8480" formatCode="0.0%">
                  <c:v>6.3908408959800614E-2</c:v>
                </c:pt>
                <c:pt idx="8481" formatCode="0.0%">
                  <c:v>6.3635555138409391E-2</c:v>
                </c:pt>
                <c:pt idx="8482" formatCode="0.0%">
                  <c:v>5.564097237333572E-2</c:v>
                </c:pt>
                <c:pt idx="8483" formatCode="0.0%">
                  <c:v>5.5585586797673815E-2</c:v>
                </c:pt>
                <c:pt idx="8484" formatCode="0.0%">
                  <c:v>5.4756292503871935E-2</c:v>
                </c:pt>
                <c:pt idx="8485" formatCode="0.0%">
                  <c:v>5.5343960422167007E-2</c:v>
                </c:pt>
                <c:pt idx="8486" formatCode="0.0%">
                  <c:v>5.4996284466863402E-2</c:v>
                </c:pt>
                <c:pt idx="8487" formatCode="0.0%">
                  <c:v>5.5956660743632397E-2</c:v>
                </c:pt>
                <c:pt idx="8488" formatCode="0.0%">
                  <c:v>6.2121094988510976E-2</c:v>
                </c:pt>
                <c:pt idx="8489" formatCode="0.0%">
                  <c:v>6.3642263462991677E-2</c:v>
                </c:pt>
                <c:pt idx="8490" formatCode="0.0%">
                  <c:v>7.15735324840307E-2</c:v>
                </c:pt>
                <c:pt idx="8491" formatCode="0.0%">
                  <c:v>7.1404567387484283E-2</c:v>
                </c:pt>
                <c:pt idx="8492" formatCode="0.0%">
                  <c:v>6.7822318033343945E-2</c:v>
                </c:pt>
                <c:pt idx="8493" formatCode="0.0%">
                  <c:v>5.7138636885519768E-2</c:v>
                </c:pt>
                <c:pt idx="8494" formatCode="0.0%">
                  <c:v>5.8440778873967855E-2</c:v>
                </c:pt>
                <c:pt idx="8495" formatCode="0.0%">
                  <c:v>5.8947008236713963E-2</c:v>
                </c:pt>
                <c:pt idx="8496" formatCode="0.0%">
                  <c:v>5.9260650797595606E-2</c:v>
                </c:pt>
                <c:pt idx="8497" formatCode="0.0%">
                  <c:v>5.7368396163964809E-2</c:v>
                </c:pt>
                <c:pt idx="8498" formatCode="0.0%">
                  <c:v>6.4370711563617219E-2</c:v>
                </c:pt>
                <c:pt idx="8499" formatCode="0.0%">
                  <c:v>6.428240442785943E-2</c:v>
                </c:pt>
                <c:pt idx="8500" formatCode="0.0%">
                  <c:v>6.5648103650123316E-2</c:v>
                </c:pt>
                <c:pt idx="8501" formatCode="0.0%">
                  <c:v>7.0052451082849007E-2</c:v>
                </c:pt>
                <c:pt idx="8502" formatCode="0.0%">
                  <c:v>7.0144392085040058E-2</c:v>
                </c:pt>
                <c:pt idx="8503" formatCode="0.0%">
                  <c:v>7.1036189396603472E-2</c:v>
                </c:pt>
                <c:pt idx="8504" formatCode="0.0%">
                  <c:v>7.0581713334940385E-2</c:v>
                </c:pt>
                <c:pt idx="8505" formatCode="0.0%">
                  <c:v>7.0967956966426105E-2</c:v>
                </c:pt>
                <c:pt idx="8506" formatCode="0.0%">
                  <c:v>7.8316388493212902E-2</c:v>
                </c:pt>
                <c:pt idx="8507" formatCode="0.0%">
                  <c:v>7.8309768123135101E-2</c:v>
                </c:pt>
                <c:pt idx="8508" formatCode="0.0%">
                  <c:v>7.6168965052217555E-2</c:v>
                </c:pt>
                <c:pt idx="8509" formatCode="0.0%">
                  <c:v>8.161103817971771E-2</c:v>
                </c:pt>
                <c:pt idx="8510" formatCode="0.0%">
                  <c:v>6.9712431590639515E-2</c:v>
                </c:pt>
                <c:pt idx="8511" formatCode="0.0%">
                  <c:v>7.3213982502798744E-2</c:v>
                </c:pt>
                <c:pt idx="8512" formatCode="0.0%">
                  <c:v>8.6249381443116252E-2</c:v>
                </c:pt>
                <c:pt idx="8513" formatCode="0.0%">
                  <c:v>8.8619090239976925E-2</c:v>
                </c:pt>
                <c:pt idx="8514" formatCode="0.0%">
                  <c:v>8.566164084202707E-2</c:v>
                </c:pt>
                <c:pt idx="8515" formatCode="0.0%">
                  <c:v>8.1706069593425773E-2</c:v>
                </c:pt>
                <c:pt idx="8516" formatCode="0.0%">
                  <c:v>8.4497978631986922E-2</c:v>
                </c:pt>
                <c:pt idx="8517" formatCode="0.0%">
                  <c:v>8.6918678599360089E-2</c:v>
                </c:pt>
                <c:pt idx="8518" formatCode="0.0%">
                  <c:v>8.4406567981417061E-2</c:v>
                </c:pt>
                <c:pt idx="8519" formatCode="0.0%">
                  <c:v>8.5132566805211779E-2</c:v>
                </c:pt>
                <c:pt idx="8520" formatCode="0.0%">
                  <c:v>9.066460034461922E-2</c:v>
                </c:pt>
                <c:pt idx="8521" formatCode="0.0%">
                  <c:v>8.9806647380829843E-2</c:v>
                </c:pt>
                <c:pt idx="8522" formatCode="0.0%">
                  <c:v>9.3479730790065704E-2</c:v>
                </c:pt>
                <c:pt idx="8523" formatCode="0.0%">
                  <c:v>9.3599425395350017E-2</c:v>
                </c:pt>
                <c:pt idx="8524" formatCode="0.0%">
                  <c:v>9.5650645956742053E-2</c:v>
                </c:pt>
                <c:pt idx="8525" formatCode="0.0%">
                  <c:v>9.5679156172599339E-2</c:v>
                </c:pt>
                <c:pt idx="8526" formatCode="0.0%">
                  <c:v>8.7118887057255553E-2</c:v>
                </c:pt>
                <c:pt idx="8527" formatCode="0.0%">
                  <c:v>8.6472051881232762E-2</c:v>
                </c:pt>
                <c:pt idx="8528" formatCode="0.0%">
                  <c:v>8.6490834647626302E-2</c:v>
                </c:pt>
                <c:pt idx="8529" formatCode="0.0%">
                  <c:v>8.6783350897812694E-2</c:v>
                </c:pt>
                <c:pt idx="8530" formatCode="0.0%">
                  <c:v>9.5293963623370684E-2</c:v>
                </c:pt>
                <c:pt idx="8531" formatCode="0.0%">
                  <c:v>9.690153161859974E-2</c:v>
                </c:pt>
                <c:pt idx="8532" formatCode="0.0%">
                  <c:v>8.8804266330277423E-2</c:v>
                </c:pt>
                <c:pt idx="8533" formatCode="0.0%">
                  <c:v>8.3785719366083908E-2</c:v>
                </c:pt>
                <c:pt idx="8534" formatCode="0.0%">
                  <c:v>8.3810958639856437E-2</c:v>
                </c:pt>
                <c:pt idx="8535" formatCode="0.0%">
                  <c:v>8.5395466071268675E-2</c:v>
                </c:pt>
                <c:pt idx="8536" formatCode="0.0%">
                  <c:v>8.3590771730770133E-2</c:v>
                </c:pt>
                <c:pt idx="8537" formatCode="0.0%">
                  <c:v>8.3377840307540099E-2</c:v>
                </c:pt>
                <c:pt idx="8538" formatCode="0.0%">
                  <c:v>8.2877633048920901E-2</c:v>
                </c:pt>
                <c:pt idx="8539" formatCode="0.0%">
                  <c:v>7.9372277680930539E-2</c:v>
                </c:pt>
                <c:pt idx="8540" formatCode="0.0%">
                  <c:v>6.6129313388608321E-2</c:v>
                </c:pt>
                <c:pt idx="8541" formatCode="0.0%">
                  <c:v>6.695306165677832E-2</c:v>
                </c:pt>
                <c:pt idx="8542" formatCode="0.0%">
                  <c:v>6.68671180609757E-2</c:v>
                </c:pt>
                <c:pt idx="8543" formatCode="0.0%">
                  <c:v>6.8262685422187469E-2</c:v>
                </c:pt>
                <c:pt idx="8544" formatCode="0.0%">
                  <c:v>6.0346741173870101E-2</c:v>
                </c:pt>
                <c:pt idx="8545" formatCode="0.0%">
                  <c:v>6.4649659224087649E-2</c:v>
                </c:pt>
                <c:pt idx="8546" formatCode="0.0%">
                  <c:v>6.554775628014696E-2</c:v>
                </c:pt>
                <c:pt idx="8547" formatCode="0.0%">
                  <c:v>6.837072783424343E-2</c:v>
                </c:pt>
                <c:pt idx="8548" formatCode="0.0%">
                  <c:v>6.6228436337851901E-2</c:v>
                </c:pt>
                <c:pt idx="8549" formatCode="0.0%">
                  <c:v>6.5562664695649545E-2</c:v>
                </c:pt>
                <c:pt idx="8550" formatCode="0.0%">
                  <c:v>5.8112123004364392E-2</c:v>
                </c:pt>
                <c:pt idx="8551" formatCode="0.0%">
                  <c:v>5.5080736914093223E-2</c:v>
                </c:pt>
                <c:pt idx="8552" formatCode="0.0%">
                  <c:v>4.86822613075302E-2</c:v>
                </c:pt>
                <c:pt idx="8553" formatCode="0.0%">
                  <c:v>5.0043248715332854E-2</c:v>
                </c:pt>
                <c:pt idx="8554" formatCode="0.0%">
                  <c:v>5.0004997835429936E-2</c:v>
                </c:pt>
                <c:pt idx="8555" formatCode="0.0%">
                  <c:v>5.1103011463945913E-2</c:v>
                </c:pt>
                <c:pt idx="8556" formatCode="0.0%">
                  <c:v>5.1853969658580391E-2</c:v>
                </c:pt>
                <c:pt idx="8557" formatCode="0.0%">
                  <c:v>5.1631407253897477E-2</c:v>
                </c:pt>
                <c:pt idx="8558" formatCode="0.0%">
                  <c:v>5.2628099678759449E-2</c:v>
                </c:pt>
                <c:pt idx="8559" formatCode="0.0%">
                  <c:v>5.4759224185311539E-2</c:v>
                </c:pt>
                <c:pt idx="8560" formatCode="0.0%">
                  <c:v>5.5038152099825814E-2</c:v>
                </c:pt>
                <c:pt idx="8561" formatCode="0.0%">
                  <c:v>5.3323952755331673E-2</c:v>
                </c:pt>
                <c:pt idx="8562" formatCode="0.0%">
                  <c:v>5.2928060651696023E-2</c:v>
                </c:pt>
                <c:pt idx="8563" formatCode="0.0%">
                  <c:v>5.3020681911537228E-2</c:v>
                </c:pt>
                <c:pt idx="8564" formatCode="0.0%">
                  <c:v>5.205582561418691E-2</c:v>
                </c:pt>
                <c:pt idx="8565" formatCode="0.0%">
                  <c:v>4.9352896036734761E-2</c:v>
                </c:pt>
                <c:pt idx="8566" formatCode="0.0%">
                  <c:v>4.8612211892677296E-2</c:v>
                </c:pt>
                <c:pt idx="8567" formatCode="0.0%">
                  <c:v>5.2756938337835471E-2</c:v>
                </c:pt>
                <c:pt idx="8568" formatCode="0.0%">
                  <c:v>5.322587778699335E-2</c:v>
                </c:pt>
                <c:pt idx="8569" formatCode="0.0%">
                  <c:v>5.6016244837643392E-2</c:v>
                </c:pt>
                <c:pt idx="8570" formatCode="0.0%">
                  <c:v>5.4595739606471134E-2</c:v>
                </c:pt>
                <c:pt idx="8571" formatCode="0.0%">
                  <c:v>5.9220445527996622E-2</c:v>
                </c:pt>
                <c:pt idx="8572" formatCode="0.0%">
                  <c:v>5.9413924478617729E-2</c:v>
                </c:pt>
                <c:pt idx="8573" formatCode="0.0%">
                  <c:v>6.46818091449613E-2</c:v>
                </c:pt>
                <c:pt idx="8574" formatCode="0.0%">
                  <c:v>6.6179381128510392E-2</c:v>
                </c:pt>
                <c:pt idx="8575" formatCode="0.0%">
                  <c:v>6.4598798252405276E-2</c:v>
                </c:pt>
                <c:pt idx="8576" formatCode="0.0%">
                  <c:v>6.2672942490603165E-2</c:v>
                </c:pt>
                <c:pt idx="8577" formatCode="0.0%">
                  <c:v>6.6770299259944765E-2</c:v>
                </c:pt>
                <c:pt idx="8578" formatCode="0.0%">
                  <c:v>6.7533068335173613E-2</c:v>
                </c:pt>
                <c:pt idx="8579" formatCode="0.0%">
                  <c:v>6.3918252175740334E-2</c:v>
                </c:pt>
                <c:pt idx="8580" formatCode="0.0%">
                  <c:v>6.8827279717239093E-2</c:v>
                </c:pt>
                <c:pt idx="8581" formatCode="0.0%">
                  <c:v>7.125863707324033E-2</c:v>
                </c:pt>
                <c:pt idx="8582" formatCode="0.0%">
                  <c:v>7.1598735395993637E-2</c:v>
                </c:pt>
                <c:pt idx="8583" formatCode="0.0%">
                  <c:v>7.5500076981033601E-2</c:v>
                </c:pt>
                <c:pt idx="8584" formatCode="0.0%">
                  <c:v>7.9960286202187453E-2</c:v>
                </c:pt>
                <c:pt idx="8585" formatCode="0.0%">
                  <c:v>8.3021930338337185E-2</c:v>
                </c:pt>
                <c:pt idx="8586" formatCode="0.0%">
                  <c:v>8.2702404609655167E-2</c:v>
                </c:pt>
                <c:pt idx="8587" formatCode="0.0%">
                  <c:v>7.8941171867808677E-2</c:v>
                </c:pt>
                <c:pt idx="8588" formatCode="0.0%">
                  <c:v>8.6428294277802006E-2</c:v>
                </c:pt>
                <c:pt idx="8589" formatCode="0.0%">
                  <c:v>8.787787361743761E-2</c:v>
                </c:pt>
                <c:pt idx="8590" formatCode="0.0%">
                  <c:v>9.3244674662436008E-2</c:v>
                </c:pt>
                <c:pt idx="8591" formatCode="0.0%">
                  <c:v>0.10399731117394402</c:v>
                </c:pt>
                <c:pt idx="8592" formatCode="0.0%">
                  <c:v>0.11016273460333482</c:v>
                </c:pt>
                <c:pt idx="8593" formatCode="0.0%">
                  <c:v>0.11099469663608789</c:v>
                </c:pt>
                <c:pt idx="8594" formatCode="0.0%">
                  <c:v>0.11625294118340092</c:v>
                </c:pt>
                <c:pt idx="8595" formatCode="0.0%">
                  <c:v>0.11311771470056046</c:v>
                </c:pt>
                <c:pt idx="8596" formatCode="0.0%">
                  <c:v>0.11315508163427147</c:v>
                </c:pt>
                <c:pt idx="8597" formatCode="0.0%">
                  <c:v>0.1180285004914038</c:v>
                </c:pt>
                <c:pt idx="8598" formatCode="0.0%">
                  <c:v>0.12272975641266927</c:v>
                </c:pt>
                <c:pt idx="8599" formatCode="0.0%">
                  <c:v>0.12552435146702479</c:v>
                </c:pt>
                <c:pt idx="8600" formatCode="0.0%">
                  <c:v>0.12939079927122829</c:v>
                </c:pt>
                <c:pt idx="8601" formatCode="0.0%">
                  <c:v>0.13324141153760585</c:v>
                </c:pt>
                <c:pt idx="8602" formatCode="0.0%">
                  <c:v>0.15497115122064328</c:v>
                </c:pt>
                <c:pt idx="8603" formatCode="0.0%">
                  <c:v>0.15305823493051982</c:v>
                </c:pt>
                <c:pt idx="8604" formatCode="0.0%">
                  <c:v>0.15016412906271431</c:v>
                </c:pt>
                <c:pt idx="8605" formatCode="0.0%">
                  <c:v>0.14735675901320683</c:v>
                </c:pt>
                <c:pt idx="8606" formatCode="0.0%">
                  <c:v>0.14700437747219586</c:v>
                </c:pt>
                <c:pt idx="8607" formatCode="0.0%">
                  <c:v>0.15722670182154089</c:v>
                </c:pt>
                <c:pt idx="8608" formatCode="0.0%">
                  <c:v>0.16497944068719864</c:v>
                </c:pt>
                <c:pt idx="8609" formatCode="0.0%">
                  <c:v>0.16444016833329894</c:v>
                </c:pt>
                <c:pt idx="8610" formatCode="0.0%">
                  <c:v>0.17067335697425332</c:v>
                </c:pt>
                <c:pt idx="8611" formatCode="0.0%">
                  <c:v>0.28194662187563579</c:v>
                </c:pt>
                <c:pt idx="8612" formatCode="0.0%">
                  <c:v>0.33687075640527153</c:v>
                </c:pt>
                <c:pt idx="8613" formatCode="0.0%">
                  <c:v>0.35453055567839037</c:v>
                </c:pt>
                <c:pt idx="8614" formatCode="0.0%">
                  <c:v>0.35111789061064952</c:v>
                </c:pt>
                <c:pt idx="8615" formatCode="0.0%">
                  <c:v>0.36732043194243336</c:v>
                </c:pt>
                <c:pt idx="8616" formatCode="0.0%">
                  <c:v>0.36978561208915878</c:v>
                </c:pt>
                <c:pt idx="8617" formatCode="0.0%">
                  <c:v>0.37630176605726273</c:v>
                </c:pt>
                <c:pt idx="8618" formatCode="0.0%">
                  <c:v>0.37539345518192629</c:v>
                </c:pt>
                <c:pt idx="8619" formatCode="0.0%">
                  <c:v>0.37519573847206611</c:v>
                </c:pt>
                <c:pt idx="8620" formatCode="0.0%">
                  <c:v>0.37405636984596935</c:v>
                </c:pt>
                <c:pt idx="8621" formatCode="0.0%">
                  <c:v>0.37935430410070153</c:v>
                </c:pt>
                <c:pt idx="8622" formatCode="0.0%">
                  <c:v>0.36939657543656168</c:v>
                </c:pt>
                <c:pt idx="8623" formatCode="0.0%">
                  <c:v>0.37160089447522993</c:v>
                </c:pt>
                <c:pt idx="8624" formatCode="0.0%">
                  <c:v>0.39380740499562455</c:v>
                </c:pt>
                <c:pt idx="8625" formatCode="0.0%">
                  <c:v>0.39365978917492772</c:v>
                </c:pt>
                <c:pt idx="8626" formatCode="0.0%">
                  <c:v>0.39366148021291558</c:v>
                </c:pt>
                <c:pt idx="8627" formatCode="0.0%">
                  <c:v>0.39156835830385034</c:v>
                </c:pt>
                <c:pt idx="8628" formatCode="0.0%">
                  <c:v>0.39256174135494226</c:v>
                </c:pt>
                <c:pt idx="8629" formatCode="0.0%">
                  <c:v>0.3943350559420028</c:v>
                </c:pt>
                <c:pt idx="8630" formatCode="0.0%">
                  <c:v>0.3917849269372104</c:v>
                </c:pt>
                <c:pt idx="8631" formatCode="0.0%">
                  <c:v>0.3137243770240028</c:v>
                </c:pt>
                <c:pt idx="8632" formatCode="0.0%">
                  <c:v>0.25925370415081778</c:v>
                </c:pt>
                <c:pt idx="8633" formatCode="0.0%">
                  <c:v>0.27228869661744526</c:v>
                </c:pt>
                <c:pt idx="8634" formatCode="0.0%">
                  <c:v>0.27498534853681683</c:v>
                </c:pt>
                <c:pt idx="8635" formatCode="0.0%">
                  <c:v>0.25991612988873236</c:v>
                </c:pt>
                <c:pt idx="8636" formatCode="0.0%">
                  <c:v>0.2627485889943062</c:v>
                </c:pt>
                <c:pt idx="8637" formatCode="0.0%">
                  <c:v>0.25796481487913825</c:v>
                </c:pt>
                <c:pt idx="8638" formatCode="0.0%">
                  <c:v>0.26027243956606683</c:v>
                </c:pt>
                <c:pt idx="8639" formatCode="0.0%">
                  <c:v>0.26194648437350654</c:v>
                </c:pt>
                <c:pt idx="8640" formatCode="0.0%">
                  <c:v>0.26351062381546281</c:v>
                </c:pt>
                <c:pt idx="8641" formatCode="0.0%">
                  <c:v>0.24765212201855827</c:v>
                </c:pt>
                <c:pt idx="8642" formatCode="0.0%">
                  <c:v>0.24035633348564037</c:v>
                </c:pt>
                <c:pt idx="8643" formatCode="0.0%">
                  <c:v>0.22503613604765038</c:v>
                </c:pt>
                <c:pt idx="8644" formatCode="0.0%">
                  <c:v>0.20451127707102201</c:v>
                </c:pt>
                <c:pt idx="8645" formatCode="0.0%">
                  <c:v>0.21616590912389708</c:v>
                </c:pt>
                <c:pt idx="8646" formatCode="0.0%">
                  <c:v>0.21929114033408378</c:v>
                </c:pt>
                <c:pt idx="8647" formatCode="0.0%">
                  <c:v>0.212811280670718</c:v>
                </c:pt>
                <c:pt idx="8648" formatCode="0.0%">
                  <c:v>0.1945240732308223</c:v>
                </c:pt>
                <c:pt idx="8649" formatCode="0.0%">
                  <c:v>0.18013139015628488</c:v>
                </c:pt>
                <c:pt idx="8650" formatCode="0.0%">
                  <c:v>0.18255820369178721</c:v>
                </c:pt>
                <c:pt idx="8651" formatCode="0.0%">
                  <c:v>0.18130028485962885</c:v>
                </c:pt>
                <c:pt idx="8652" formatCode="0.0%">
                  <c:v>0.1813164113337016</c:v>
                </c:pt>
                <c:pt idx="8653" formatCode="0.0%">
                  <c:v>0.14370635722876848</c:v>
                </c:pt>
                <c:pt idx="8654" formatCode="0.0%">
                  <c:v>0.14628765063070842</c:v>
                </c:pt>
                <c:pt idx="8655" formatCode="0.0%">
                  <c:v>0.1323955842624869</c:v>
                </c:pt>
                <c:pt idx="8656" formatCode="0.0%">
                  <c:v>0.13263248836917532</c:v>
                </c:pt>
                <c:pt idx="8657" formatCode="0.0%">
                  <c:v>0.13200316078384264</c:v>
                </c:pt>
                <c:pt idx="8658" formatCode="0.0%">
                  <c:v>0.12370439755822916</c:v>
                </c:pt>
                <c:pt idx="8659" formatCode="0.0%">
                  <c:v>0.125382424841393</c:v>
                </c:pt>
                <c:pt idx="8660" formatCode="0.0%">
                  <c:v>0.12200248000507201</c:v>
                </c:pt>
                <c:pt idx="8661" formatCode="0.0%">
                  <c:v>0.11765349588453246</c:v>
                </c:pt>
                <c:pt idx="8662" formatCode="0.0%">
                  <c:v>0.1159299772664753</c:v>
                </c:pt>
                <c:pt idx="8663" formatCode="0.0%">
                  <c:v>0.11555982233465281</c:v>
                </c:pt>
                <c:pt idx="8664" formatCode="0.0%">
                  <c:v>0.1157036249345401</c:v>
                </c:pt>
                <c:pt idx="8665" formatCode="0.0%">
                  <c:v>0.10013815225386019</c:v>
                </c:pt>
                <c:pt idx="8666" formatCode="0.0%">
                  <c:v>9.2184869308715736E-2</c:v>
                </c:pt>
                <c:pt idx="8667" formatCode="0.0%">
                  <c:v>9.2339303685223695E-2</c:v>
                </c:pt>
                <c:pt idx="8668" formatCode="0.0%">
                  <c:v>9.1936373256404344E-2</c:v>
                </c:pt>
                <c:pt idx="8669" formatCode="0.0%">
                  <c:v>9.2742553367991754E-2</c:v>
                </c:pt>
                <c:pt idx="8670" formatCode="0.0%">
                  <c:v>8.8419985102958315E-2</c:v>
                </c:pt>
                <c:pt idx="8671" formatCode="0.0%">
                  <c:v>9.3604685056621895E-2</c:v>
                </c:pt>
                <c:pt idx="8672" formatCode="0.0%">
                  <c:v>9.4199862569140244E-2</c:v>
                </c:pt>
                <c:pt idx="8673" formatCode="0.0%">
                  <c:v>9.3538595599936228E-2</c:v>
                </c:pt>
                <c:pt idx="8674" formatCode="0.0%">
                  <c:v>8.7714789226522594E-2</c:v>
                </c:pt>
                <c:pt idx="8675" formatCode="0.0%">
                  <c:v>9.8796676742363879E-2</c:v>
                </c:pt>
                <c:pt idx="8676" formatCode="0.0%">
                  <c:v>9.3891998886604974E-2</c:v>
                </c:pt>
                <c:pt idx="8677" formatCode="0.0%">
                  <c:v>9.3135941293919222E-2</c:v>
                </c:pt>
                <c:pt idx="8678" formatCode="0.0%">
                  <c:v>9.6124050831334892E-2</c:v>
                </c:pt>
                <c:pt idx="8679" formatCode="0.0%">
                  <c:v>9.9822823659583199E-2</c:v>
                </c:pt>
                <c:pt idx="8680" formatCode="0.0%">
                  <c:v>0.1006170919461743</c:v>
                </c:pt>
                <c:pt idx="8681" formatCode="0.0%">
                  <c:v>0.10114695930067677</c:v>
                </c:pt>
                <c:pt idx="8682" formatCode="0.0%">
                  <c:v>0.10101941223229947</c:v>
                </c:pt>
                <c:pt idx="8683" formatCode="0.0%">
                  <c:v>0.10100640447658242</c:v>
                </c:pt>
                <c:pt idx="8684" formatCode="0.0%">
                  <c:v>0.10114986179497781</c:v>
                </c:pt>
                <c:pt idx="8685" formatCode="0.0%">
                  <c:v>9.5219019205632346E-2</c:v>
                </c:pt>
                <c:pt idx="8686" formatCode="0.0%">
                  <c:v>9.2501235000821913E-2</c:v>
                </c:pt>
                <c:pt idx="8687" formatCode="0.0%">
                  <c:v>9.3175908250185333E-2</c:v>
                </c:pt>
                <c:pt idx="8688" formatCode="0.0%">
                  <c:v>9.1135694251401667E-2</c:v>
                </c:pt>
                <c:pt idx="8689" formatCode="0.0%">
                  <c:v>8.8338246966263745E-2</c:v>
                </c:pt>
                <c:pt idx="8690" formatCode="0.0%">
                  <c:v>8.7225249907845082E-2</c:v>
                </c:pt>
                <c:pt idx="8691" formatCode="0.0%">
                  <c:v>7.9584780746993586E-2</c:v>
                </c:pt>
                <c:pt idx="8692" formatCode="0.0%">
                  <c:v>9.306393003142728E-2</c:v>
                </c:pt>
                <c:pt idx="8693" formatCode="0.0%">
                  <c:v>0.11061806527891932</c:v>
                </c:pt>
                <c:pt idx="8694" formatCode="0.0%">
                  <c:v>0.11436602356965229</c:v>
                </c:pt>
                <c:pt idx="8695" formatCode="0.0%">
                  <c:v>0.11629077496520419</c:v>
                </c:pt>
                <c:pt idx="8696" formatCode="0.0%">
                  <c:v>0.11737693183707647</c:v>
                </c:pt>
                <c:pt idx="8697" formatCode="0.0%">
                  <c:v>0.12393044943092289</c:v>
                </c:pt>
                <c:pt idx="8698" formatCode="0.0%">
                  <c:v>0.12532520838402175</c:v>
                </c:pt>
                <c:pt idx="8699" formatCode="0.0%">
                  <c:v>0.13240752280867388</c:v>
                </c:pt>
                <c:pt idx="8700" formatCode="0.0%">
                  <c:v>0.1312761811201161</c:v>
                </c:pt>
                <c:pt idx="8701" formatCode="0.0%">
                  <c:v>0.13583442021497766</c:v>
                </c:pt>
                <c:pt idx="8702" formatCode="0.0%">
                  <c:v>0.13864055809621775</c:v>
                </c:pt>
                <c:pt idx="8703" formatCode="0.0%">
                  <c:v>0.13843820441334978</c:v>
                </c:pt>
                <c:pt idx="8704" formatCode="0.0%">
                  <c:v>0.13839860349826874</c:v>
                </c:pt>
                <c:pt idx="8705" formatCode="0.0%">
                  <c:v>0.13710752244310309</c:v>
                </c:pt>
                <c:pt idx="8706" formatCode="0.0%">
                  <c:v>0.13723982667336199</c:v>
                </c:pt>
                <c:pt idx="8707" formatCode="0.0%">
                  <c:v>0.13613248111113641</c:v>
                </c:pt>
                <c:pt idx="8708" formatCode="0.0%">
                  <c:v>0.13752424497446786</c:v>
                </c:pt>
                <c:pt idx="8709" formatCode="0.0%">
                  <c:v>0.13763578703876803</c:v>
                </c:pt>
                <c:pt idx="8710" formatCode="0.0%">
                  <c:v>0.13775318086371002</c:v>
                </c:pt>
                <c:pt idx="8711" formatCode="0.0%">
                  <c:v>0.139454671767614</c:v>
                </c:pt>
                <c:pt idx="8712" formatCode="0.0%">
                  <c:v>0.13803429935646402</c:v>
                </c:pt>
                <c:pt idx="8713" formatCode="0.0%">
                  <c:v>0.12857941871079806</c:v>
                </c:pt>
                <c:pt idx="8714" formatCode="0.0%">
                  <c:v>0.15429712221004976</c:v>
                </c:pt>
                <c:pt idx="8715" formatCode="0.0%">
                  <c:v>0.19184171528028915</c:v>
                </c:pt>
                <c:pt idx="8716" formatCode="0.0%">
                  <c:v>0.19317044039870435</c:v>
                </c:pt>
                <c:pt idx="8717" formatCode="0.0%">
                  <c:v>0.189644940965537</c:v>
                </c:pt>
                <c:pt idx="8718" formatCode="0.0%">
                  <c:v>0.20023227378908201</c:v>
                </c:pt>
                <c:pt idx="8719" formatCode="0.0%">
                  <c:v>0.20324670980744242</c:v>
                </c:pt>
                <c:pt idx="8720" formatCode="0.0%">
                  <c:v>0.2032464760355322</c:v>
                </c:pt>
                <c:pt idx="8721" formatCode="0.0%">
                  <c:v>0.20387367799413517</c:v>
                </c:pt>
                <c:pt idx="8722" formatCode="0.0%">
                  <c:v>0.20625773146969728</c:v>
                </c:pt>
                <c:pt idx="8723" formatCode="0.0%">
                  <c:v>0.2091075585720272</c:v>
                </c:pt>
                <c:pt idx="8724" formatCode="0.0%">
                  <c:v>0.20984541893895162</c:v>
                </c:pt>
                <c:pt idx="8725" formatCode="0.0%">
                  <c:v>0.2117458937972837</c:v>
                </c:pt>
                <c:pt idx="8726" formatCode="0.0%">
                  <c:v>0.21248120377345497</c:v>
                </c:pt>
                <c:pt idx="8727" formatCode="0.0%">
                  <c:v>0.21638362821314722</c:v>
                </c:pt>
                <c:pt idx="8728" formatCode="0.0%">
                  <c:v>0.21655605325038346</c:v>
                </c:pt>
                <c:pt idx="8729" formatCode="0.0%">
                  <c:v>0.21833270345304151</c:v>
                </c:pt>
                <c:pt idx="8730" formatCode="0.0%">
                  <c:v>0.21827161753245489</c:v>
                </c:pt>
                <c:pt idx="8731" formatCode="0.0%">
                  <c:v>0.21333758350401133</c:v>
                </c:pt>
                <c:pt idx="8732" formatCode="0.0%">
                  <c:v>0.20698873575657115</c:v>
                </c:pt>
                <c:pt idx="8733" formatCode="0.0%">
                  <c:v>0.20033004937689136</c:v>
                </c:pt>
                <c:pt idx="8734" formatCode="0.0%">
                  <c:v>0.16110122425457443</c:v>
                </c:pt>
                <c:pt idx="8735" formatCode="0.0%">
                  <c:v>0.13286453442655274</c:v>
                </c:pt>
                <c:pt idx="8736" formatCode="0.0%">
                  <c:v>0.12494027319392337</c:v>
                </c:pt>
                <c:pt idx="8737" formatCode="0.0%">
                  <c:v>0.12083765674484483</c:v>
                </c:pt>
                <c:pt idx="8738" formatCode="0.0%">
                  <c:v>0.10668170675470733</c:v>
                </c:pt>
                <c:pt idx="8739" formatCode="0.0%">
                  <c:v>0.10103168333051442</c:v>
                </c:pt>
                <c:pt idx="8740" formatCode="0.0%">
                  <c:v>0.10270663594322875</c:v>
                </c:pt>
                <c:pt idx="8741" formatCode="0.0%">
                  <c:v>0.10617861656701048</c:v>
                </c:pt>
                <c:pt idx="8742" formatCode="0.0%">
                  <c:v>0.10641498051936664</c:v>
                </c:pt>
                <c:pt idx="8743" formatCode="0.0%">
                  <c:v>0.10380620775844272</c:v>
                </c:pt>
                <c:pt idx="8744" formatCode="0.0%">
                  <c:v>0.1039577670650943</c:v>
                </c:pt>
                <c:pt idx="8745" formatCode="0.0%">
                  <c:v>9.7058800959186314E-2</c:v>
                </c:pt>
                <c:pt idx="8746" formatCode="0.0%">
                  <c:v>0.1120394343000039</c:v>
                </c:pt>
                <c:pt idx="8747" formatCode="0.0%">
                  <c:v>0.10465450628545955</c:v>
                </c:pt>
                <c:pt idx="8748" formatCode="0.0%">
                  <c:v>0.10371810019053826</c:v>
                </c:pt>
                <c:pt idx="8749" formatCode="0.0%">
                  <c:v>9.9887248385292629E-2</c:v>
                </c:pt>
                <c:pt idx="8750" formatCode="0.0%">
                  <c:v>9.812498933210155E-2</c:v>
                </c:pt>
                <c:pt idx="8751" formatCode="0.0%">
                  <c:v>9.9815632230346937E-2</c:v>
                </c:pt>
                <c:pt idx="8752" formatCode="0.0%">
                  <c:v>9.9017708147309799E-2</c:v>
                </c:pt>
                <c:pt idx="8753" formatCode="0.0%">
                  <c:v>9.6673246524614176E-2</c:v>
                </c:pt>
                <c:pt idx="8754" formatCode="0.0%">
                  <c:v>9.574128647429668E-2</c:v>
                </c:pt>
                <c:pt idx="8755" formatCode="0.0%">
                  <c:v>8.8769765381511823E-2</c:v>
                </c:pt>
                <c:pt idx="8756" formatCode="0.0%">
                  <c:v>8.7729368277825723E-2</c:v>
                </c:pt>
                <c:pt idx="8757" formatCode="0.0%">
                  <c:v>8.7879679664234961E-2</c:v>
                </c:pt>
                <c:pt idx="8758" formatCode="0.0%">
                  <c:v>8.60012747557789E-2</c:v>
                </c:pt>
                <c:pt idx="8759" formatCode="0.0%">
                  <c:v>8.4686286933322918E-2</c:v>
                </c:pt>
                <c:pt idx="8760" formatCode="0.0%">
                  <c:v>8.4216084746255623E-2</c:v>
                </c:pt>
                <c:pt idx="8761" formatCode="0.0%">
                  <c:v>8.5596888036875957E-2</c:v>
                </c:pt>
                <c:pt idx="8762" formatCode="0.0%">
                  <c:v>9.5270636440309558E-2</c:v>
                </c:pt>
                <c:pt idx="8763" formatCode="0.0%">
                  <c:v>9.6709078079165595E-2</c:v>
                </c:pt>
                <c:pt idx="8764" formatCode="0.0%">
                  <c:v>9.6786852058913159E-2</c:v>
                </c:pt>
                <c:pt idx="8765" formatCode="0.0%">
                  <c:v>0.10155625692257135</c:v>
                </c:pt>
                <c:pt idx="8766" formatCode="0.0%">
                  <c:v>8.858983500924783E-2</c:v>
                </c:pt>
                <c:pt idx="8767" formatCode="0.0%">
                  <c:v>8.8506841742202483E-2</c:v>
                </c:pt>
                <c:pt idx="8768" formatCode="0.0%">
                  <c:v>8.7769291176718112E-2</c:v>
                </c:pt>
                <c:pt idx="8769" formatCode="0.0%">
                  <c:v>8.6507719592123639E-2</c:v>
                </c:pt>
                <c:pt idx="8770" formatCode="0.0%">
                  <c:v>8.7415928006507909E-2</c:v>
                </c:pt>
                <c:pt idx="8771" formatCode="0.0%">
                  <c:v>9.1081395055912895E-2</c:v>
                </c:pt>
                <c:pt idx="8772" formatCode="0.0%">
                  <c:v>8.9374048561772265E-2</c:v>
                </c:pt>
                <c:pt idx="8773" formatCode="0.0%">
                  <c:v>8.6857669749573888E-2</c:v>
                </c:pt>
                <c:pt idx="8774" formatCode="0.0%">
                  <c:v>8.6611190514380626E-2</c:v>
                </c:pt>
                <c:pt idx="8775" formatCode="0.0%">
                  <c:v>8.4747379281373339E-2</c:v>
                </c:pt>
                <c:pt idx="8776" formatCode="0.0%">
                  <c:v>8.4307031313098607E-2</c:v>
                </c:pt>
                <c:pt idx="8777" formatCode="0.0%">
                  <c:v>8.3055503103196593E-2</c:v>
                </c:pt>
                <c:pt idx="8778" formatCode="0.0%">
                  <c:v>8.1995557057864113E-2</c:v>
                </c:pt>
                <c:pt idx="8779" formatCode="0.0%">
                  <c:v>8.2157490037273614E-2</c:v>
                </c:pt>
                <c:pt idx="8780" formatCode="0.0%">
                  <c:v>8.2708941972209807E-2</c:v>
                </c:pt>
                <c:pt idx="8781" formatCode="0.0%">
                  <c:v>8.1650466685160308E-2</c:v>
                </c:pt>
                <c:pt idx="8782" formatCode="0.0%">
                  <c:v>6.4452445490230562E-2</c:v>
                </c:pt>
                <c:pt idx="8783" formatCode="0.0%">
                  <c:v>6.2215876410596394E-2</c:v>
                </c:pt>
                <c:pt idx="8784" formatCode="0.0%">
                  <c:v>6.3356061982606071E-2</c:v>
                </c:pt>
                <c:pt idx="8785" formatCode="0.0%">
                  <c:v>5.6238112745517509E-2</c:v>
                </c:pt>
                <c:pt idx="8786" formatCode="0.0%">
                  <c:v>5.5943961263088517E-2</c:v>
                </c:pt>
                <c:pt idx="8787" formatCode="0.0%">
                  <c:v>5.848195160402684E-2</c:v>
                </c:pt>
                <c:pt idx="8788" formatCode="0.0%">
                  <c:v>5.847261977062776E-2</c:v>
                </c:pt>
                <c:pt idx="8789" formatCode="0.0%">
                  <c:v>6.1383432769481945E-2</c:v>
                </c:pt>
                <c:pt idx="8790" formatCode="0.0%">
                  <c:v>6.1040398426507568E-2</c:v>
                </c:pt>
                <c:pt idx="8791" formatCode="0.0%">
                  <c:v>5.6290880170859363E-2</c:v>
                </c:pt>
                <c:pt idx="8792" formatCode="0.0%">
                  <c:v>5.2291133361871585E-2</c:v>
                </c:pt>
                <c:pt idx="8793" formatCode="0.0%">
                  <c:v>5.2287820529028979E-2</c:v>
                </c:pt>
                <c:pt idx="8794" formatCode="0.0%">
                  <c:v>5.2308119106180773E-2</c:v>
                </c:pt>
                <c:pt idx="8795" formatCode="0.0%">
                  <c:v>5.5780510203965482E-2</c:v>
                </c:pt>
                <c:pt idx="8796" formatCode="0.0%">
                  <c:v>5.9242610973869653E-2</c:v>
                </c:pt>
                <c:pt idx="8797" formatCode="0.0%">
                  <c:v>5.9032532643252277E-2</c:v>
                </c:pt>
                <c:pt idx="8798" formatCode="0.0%">
                  <c:v>6.3393113739328322E-2</c:v>
                </c:pt>
                <c:pt idx="8799" formatCode="0.0%">
                  <c:v>6.0413721642138832E-2</c:v>
                </c:pt>
                <c:pt idx="8800" formatCode="0.0%">
                  <c:v>6.457803858878762E-2</c:v>
                </c:pt>
                <c:pt idx="8801" formatCode="0.0%">
                  <c:v>7.2279298198667782E-2</c:v>
                </c:pt>
                <c:pt idx="8802" formatCode="0.0%">
                  <c:v>6.8263004970925245E-2</c:v>
                </c:pt>
                <c:pt idx="8803" formatCode="0.0%">
                  <c:v>7.8426482654539831E-2</c:v>
                </c:pt>
                <c:pt idx="8804" formatCode="0.0%">
                  <c:v>7.8529116510672917E-2</c:v>
                </c:pt>
                <c:pt idx="8805" formatCode="0.0%">
                  <c:v>7.9152470550005627E-2</c:v>
                </c:pt>
                <c:pt idx="8806" formatCode="0.0%">
                  <c:v>8.1144969377035706E-2</c:v>
                </c:pt>
                <c:pt idx="8807" formatCode="0.0%">
                  <c:v>8.0812768902997031E-2</c:v>
                </c:pt>
                <c:pt idx="8808" formatCode="0.0%">
                  <c:v>8.168668635276076E-2</c:v>
                </c:pt>
                <c:pt idx="8809" formatCode="0.0%">
                  <c:v>7.9401871525317969E-2</c:v>
                </c:pt>
                <c:pt idx="8810" formatCode="0.0%">
                  <c:v>8.0414007675775986E-2</c:v>
                </c:pt>
                <c:pt idx="8811" formatCode="0.0%">
                  <c:v>8.0025435669292141E-2</c:v>
                </c:pt>
                <c:pt idx="8812" formatCode="0.0%">
                  <c:v>8.1465551891157409E-2</c:v>
                </c:pt>
                <c:pt idx="8813" formatCode="0.0%">
                  <c:v>8.2880086135535713E-2</c:v>
                </c:pt>
                <c:pt idx="8814" formatCode="0.0%">
                  <c:v>8.2600413937483907E-2</c:v>
                </c:pt>
                <c:pt idx="8815" formatCode="0.0%">
                  <c:v>8.5910019193029208E-2</c:v>
                </c:pt>
                <c:pt idx="8816" formatCode="0.0%">
                  <c:v>8.368905528037382E-2</c:v>
                </c:pt>
                <c:pt idx="8817" formatCode="0.0%">
                  <c:v>8.5556122910612376E-2</c:v>
                </c:pt>
                <c:pt idx="8818" formatCode="0.0%">
                  <c:v>8.1213873313153689E-2</c:v>
                </c:pt>
                <c:pt idx="8819" formatCode="0.0%">
                  <c:v>8.159915728142933E-2</c:v>
                </c:pt>
                <c:pt idx="8820" formatCode="0.0%">
                  <c:v>7.7066206224463182E-2</c:v>
                </c:pt>
                <c:pt idx="8821" formatCode="0.0%">
                  <c:v>6.2755573019938865E-2</c:v>
                </c:pt>
                <c:pt idx="8822" formatCode="0.0%">
                  <c:v>6.0718359975616532E-2</c:v>
                </c:pt>
                <c:pt idx="8823" formatCode="0.0%">
                  <c:v>5.425982077779086E-2</c:v>
                </c:pt>
                <c:pt idx="8824" formatCode="0.0%">
                  <c:v>5.44308185314843E-2</c:v>
                </c:pt>
                <c:pt idx="8825" formatCode="0.0%">
                  <c:v>5.8655877473621193E-2</c:v>
                </c:pt>
                <c:pt idx="8826" formatCode="0.0%">
                  <c:v>5.9684517394675604E-2</c:v>
                </c:pt>
                <c:pt idx="8827" formatCode="0.0%">
                  <c:v>6.1541243862580045E-2</c:v>
                </c:pt>
                <c:pt idx="8828" formatCode="0.0%">
                  <c:v>6.1688435678430714E-2</c:v>
                </c:pt>
                <c:pt idx="8829" formatCode="0.0%">
                  <c:v>6.2759006601460651E-2</c:v>
                </c:pt>
                <c:pt idx="8830" formatCode="0.0%">
                  <c:v>6.4345495192268828E-2</c:v>
                </c:pt>
                <c:pt idx="8831" formatCode="0.0%">
                  <c:v>6.2079114371908509E-2</c:v>
                </c:pt>
                <c:pt idx="8832" formatCode="0.0%">
                  <c:v>6.1879853114033934E-2</c:v>
                </c:pt>
                <c:pt idx="8833" formatCode="0.0%">
                  <c:v>5.6163488680994307E-2</c:v>
                </c:pt>
                <c:pt idx="8834" formatCode="0.0%">
                  <c:v>5.7452998245072884E-2</c:v>
                </c:pt>
                <c:pt idx="8835" formatCode="0.0%">
                  <c:v>5.5525671849784297E-2</c:v>
                </c:pt>
                <c:pt idx="8836" formatCode="0.0%">
                  <c:v>5.4534017775907814E-2</c:v>
                </c:pt>
                <c:pt idx="8837" formatCode="0.0%">
                  <c:v>5.3844041830229894E-2</c:v>
                </c:pt>
                <c:pt idx="8838" formatCode="0.0%">
                  <c:v>5.3424578133851063E-2</c:v>
                </c:pt>
                <c:pt idx="8839" formatCode="0.0%">
                  <c:v>5.3412557971295779E-2</c:v>
                </c:pt>
                <c:pt idx="8840" formatCode="0.0%">
                  <c:v>5.3374519881888981E-2</c:v>
                </c:pt>
                <c:pt idx="8841" formatCode="0.0%">
                  <c:v>5.2821970448986302E-2</c:v>
                </c:pt>
                <c:pt idx="8842" formatCode="0.0%">
                  <c:v>5.3206602884253024E-2</c:v>
                </c:pt>
                <c:pt idx="8843" formatCode="0.0%">
                  <c:v>5.2712653875969337E-2</c:v>
                </c:pt>
                <c:pt idx="8844" formatCode="0.0%">
                  <c:v>5.2004786227485049E-2</c:v>
                </c:pt>
                <c:pt idx="8845" formatCode="0.0%">
                  <c:v>4.79296676229264E-2</c:v>
                </c:pt>
                <c:pt idx="8846" formatCode="0.0%">
                  <c:v>4.5802304532833814E-2</c:v>
                </c:pt>
                <c:pt idx="8847" formatCode="0.0%">
                  <c:v>5.1908070056728643E-2</c:v>
                </c:pt>
                <c:pt idx="8848" formatCode="0.0%">
                  <c:v>5.1514029653491271E-2</c:v>
                </c:pt>
                <c:pt idx="8849" formatCode="0.0%">
                  <c:v>5.7510342000470664E-2</c:v>
                </c:pt>
                <c:pt idx="8850" formatCode="0.0%">
                  <c:v>5.7420617591994988E-2</c:v>
                </c:pt>
                <c:pt idx="8851" formatCode="0.0%">
                  <c:v>5.376505145723403E-2</c:v>
                </c:pt>
                <c:pt idx="8852" formatCode="0.0%">
                  <c:v>5.2580795809213772E-2</c:v>
                </c:pt>
                <c:pt idx="8853" formatCode="0.0%">
                  <c:v>5.5316418946400867E-2</c:v>
                </c:pt>
                <c:pt idx="8854" formatCode="0.0%">
                  <c:v>5.3850886321781873E-2</c:v>
                </c:pt>
                <c:pt idx="8855" formatCode="0.0%">
                  <c:v>5.5157142405334245E-2</c:v>
                </c:pt>
                <c:pt idx="8856" formatCode="0.0%">
                  <c:v>5.3154963206282914E-2</c:v>
                </c:pt>
                <c:pt idx="8857" formatCode="0.0%">
                  <c:v>5.6561115303472194E-2</c:v>
                </c:pt>
                <c:pt idx="8858" formatCode="0.0%">
                  <c:v>5.612580760087852E-2</c:v>
                </c:pt>
                <c:pt idx="8859" formatCode="0.0%">
                  <c:v>5.5479844122273171E-2</c:v>
                </c:pt>
                <c:pt idx="8860" formatCode="0.0%">
                  <c:v>5.5553677436536768E-2</c:v>
                </c:pt>
                <c:pt idx="8861" formatCode="0.0%">
                  <c:v>5.563674123173612E-2</c:v>
                </c:pt>
                <c:pt idx="8862" formatCode="0.0%">
                  <c:v>5.6186596806350061E-2</c:v>
                </c:pt>
                <c:pt idx="8863" formatCode="0.0%">
                  <c:v>5.611866542869335E-2</c:v>
                </c:pt>
                <c:pt idx="8864" formatCode="0.0%">
                  <c:v>5.7750960870993205E-2</c:v>
                </c:pt>
                <c:pt idx="8865" formatCode="0.0%">
                  <c:v>6.1481677126307636E-2</c:v>
                </c:pt>
                <c:pt idx="8866" formatCode="0.0%">
                  <c:v>6.1268166566812443E-2</c:v>
                </c:pt>
                <c:pt idx="8867" formatCode="0.0%">
                  <c:v>5.4284149961112638E-2</c:v>
                </c:pt>
                <c:pt idx="8868" formatCode="0.0%">
                  <c:v>5.5001654501175445E-2</c:v>
                </c:pt>
                <c:pt idx="8869" formatCode="0.0%">
                  <c:v>4.7568067111949282E-2</c:v>
                </c:pt>
                <c:pt idx="8870" formatCode="0.0%">
                  <c:v>4.5515636225460988E-2</c:v>
                </c:pt>
                <c:pt idx="8871" formatCode="0.0%">
                  <c:v>5.0444156330112129E-2</c:v>
                </c:pt>
                <c:pt idx="8872" formatCode="0.0%">
                  <c:v>5.079665850094383E-2</c:v>
                </c:pt>
                <c:pt idx="8873" formatCode="0.0%">
                  <c:v>5.2869300606925983E-2</c:v>
                </c:pt>
                <c:pt idx="8874" formatCode="0.0%">
                  <c:v>5.2461899252285844E-2</c:v>
                </c:pt>
                <c:pt idx="8875" formatCode="0.0%">
                  <c:v>5.1689800513863744E-2</c:v>
                </c:pt>
                <c:pt idx="8876" formatCode="0.0%">
                  <c:v>5.3948398779146277E-2</c:v>
                </c:pt>
                <c:pt idx="8877" formatCode="0.0%">
                  <c:v>5.1478948994247715E-2</c:v>
                </c:pt>
                <c:pt idx="8878" formatCode="0.0%">
                  <c:v>5.0753329531626541E-2</c:v>
                </c:pt>
                <c:pt idx="8879" formatCode="0.0%">
                  <c:v>5.0904360916961121E-2</c:v>
                </c:pt>
                <c:pt idx="8880" formatCode="0.0%">
                  <c:v>5.2359554204692828E-2</c:v>
                </c:pt>
                <c:pt idx="8881" formatCode="0.0%">
                  <c:v>5.2245685148715561E-2</c:v>
                </c:pt>
                <c:pt idx="8882" formatCode="0.0%">
                  <c:v>5.232709361467739E-2</c:v>
                </c:pt>
                <c:pt idx="8883" formatCode="0.0%">
                  <c:v>6.1013033535505398E-2</c:v>
                </c:pt>
                <c:pt idx="8884" formatCode="0.0%">
                  <c:v>5.9991400165374617E-2</c:v>
                </c:pt>
                <c:pt idx="8885" formatCode="0.0%">
                  <c:v>5.6571488834715224E-2</c:v>
                </c:pt>
                <c:pt idx="8886" formatCode="0.0%">
                  <c:v>6.0912531912620763E-2</c:v>
                </c:pt>
                <c:pt idx="8887" formatCode="0.0%">
                  <c:v>7.0405372270587172E-2</c:v>
                </c:pt>
                <c:pt idx="8888" formatCode="0.0%">
                  <c:v>7.5298782795652414E-2</c:v>
                </c:pt>
                <c:pt idx="8889" formatCode="0.0%">
                  <c:v>7.6840279814112775E-2</c:v>
                </c:pt>
                <c:pt idx="8890" formatCode="0.0%">
                  <c:v>8.005007822759079E-2</c:v>
                </c:pt>
                <c:pt idx="8891" formatCode="0.0%">
                  <c:v>7.8209411095348569E-2</c:v>
                </c:pt>
                <c:pt idx="8892" formatCode="0.0%">
                  <c:v>7.8450233396037461E-2</c:v>
                </c:pt>
                <c:pt idx="8893" formatCode="0.0%">
                  <c:v>7.5878932165352381E-2</c:v>
                </c:pt>
                <c:pt idx="8894" formatCode="0.0%">
                  <c:v>7.5629797553338041E-2</c:v>
                </c:pt>
                <c:pt idx="8895" formatCode="0.0%">
                  <c:v>7.8411871480784115E-2</c:v>
                </c:pt>
                <c:pt idx="8896" formatCode="0.0%">
                  <c:v>7.7211475863492363E-2</c:v>
                </c:pt>
                <c:pt idx="8897" formatCode="0.0%">
                  <c:v>7.740500337577394E-2</c:v>
                </c:pt>
                <c:pt idx="8898" formatCode="0.0%">
                  <c:v>7.9572575690818756E-2</c:v>
                </c:pt>
                <c:pt idx="8899" formatCode="0.0%">
                  <c:v>7.9635377572507576E-2</c:v>
                </c:pt>
                <c:pt idx="8900" formatCode="0.0%">
                  <c:v>7.9870739824718512E-2</c:v>
                </c:pt>
                <c:pt idx="8901" formatCode="0.0%">
                  <c:v>8.0069877650889548E-2</c:v>
                </c:pt>
                <c:pt idx="8902" formatCode="0.0%">
                  <c:v>8.3866643375481262E-2</c:v>
                </c:pt>
                <c:pt idx="8903" formatCode="0.0%">
                  <c:v>7.8716853958158084E-2</c:v>
                </c:pt>
                <c:pt idx="8904" formatCode="0.0%">
                  <c:v>7.9022417401243744E-2</c:v>
                </c:pt>
                <c:pt idx="8905" formatCode="0.0%">
                  <c:v>7.7551083515806724E-2</c:v>
                </c:pt>
                <c:pt idx="8906" formatCode="0.0%">
                  <c:v>7.9034257051942447E-2</c:v>
                </c:pt>
                <c:pt idx="8907" formatCode="0.0%">
                  <c:v>7.2709858837634395E-2</c:v>
                </c:pt>
                <c:pt idx="8908" formatCode="0.0%">
                  <c:v>6.7667086174666755E-2</c:v>
                </c:pt>
                <c:pt idx="8909" formatCode="0.0%">
                  <c:v>6.709881236232168E-2</c:v>
                </c:pt>
                <c:pt idx="8910" formatCode="0.0%">
                  <c:v>6.6745672665564318E-2</c:v>
                </c:pt>
                <c:pt idx="8911" formatCode="0.0%">
                  <c:v>6.9153374062288775E-2</c:v>
                </c:pt>
                <c:pt idx="8912" formatCode="0.0%">
                  <c:v>6.9584401335925333E-2</c:v>
                </c:pt>
                <c:pt idx="8913" formatCode="0.0%">
                  <c:v>6.9262175483541077E-2</c:v>
                </c:pt>
                <c:pt idx="8914" formatCode="0.0%">
                  <c:v>7.2391063658282295E-2</c:v>
                </c:pt>
                <c:pt idx="8915" formatCode="0.0%">
                  <c:v>6.7623510121325156E-2</c:v>
                </c:pt>
                <c:pt idx="8916" formatCode="0.0%">
                  <c:v>6.7546696110910492E-2</c:v>
                </c:pt>
                <c:pt idx="8917" formatCode="0.0%">
                  <c:v>6.6298411151274037E-2</c:v>
                </c:pt>
                <c:pt idx="8918" formatCode="0.0%">
                  <c:v>5.9916128273214513E-2</c:v>
                </c:pt>
                <c:pt idx="8919" formatCode="0.0%">
                  <c:v>5.7972040858590389E-2</c:v>
                </c:pt>
                <c:pt idx="8920" formatCode="0.0%">
                  <c:v>4.9128174250284658E-2</c:v>
                </c:pt>
                <c:pt idx="8921" formatCode="0.0%">
                  <c:v>4.9885556410116105E-2</c:v>
                </c:pt>
                <c:pt idx="8922" formatCode="0.0%">
                  <c:v>5.0308078416436419E-2</c:v>
                </c:pt>
                <c:pt idx="8923" formatCode="0.0%">
                  <c:v>4.9655813571856069E-2</c:v>
                </c:pt>
                <c:pt idx="8924" formatCode="0.0%">
                  <c:v>4.9310026713475098E-2</c:v>
                </c:pt>
                <c:pt idx="8925" formatCode="0.0%">
                  <c:v>4.9293975786802842E-2</c:v>
                </c:pt>
                <c:pt idx="8926" formatCode="0.0%">
                  <c:v>5.127656301257464E-2</c:v>
                </c:pt>
                <c:pt idx="8927" formatCode="0.0%">
                  <c:v>5.3483192928250343E-2</c:v>
                </c:pt>
                <c:pt idx="8928" formatCode="0.0%">
                  <c:v>5.2387336743342033E-2</c:v>
                </c:pt>
                <c:pt idx="8929" formatCode="0.0%">
                  <c:v>5.3007324745643195E-2</c:v>
                </c:pt>
                <c:pt idx="8930" formatCode="0.0%">
                  <c:v>5.1233363359159442E-2</c:v>
                </c:pt>
                <c:pt idx="8931" formatCode="0.0%">
                  <c:v>4.8966059422846042E-2</c:v>
                </c:pt>
                <c:pt idx="8932" formatCode="0.0%">
                  <c:v>4.6866893193958967E-2</c:v>
                </c:pt>
                <c:pt idx="8933" formatCode="0.0%">
                  <c:v>4.9158812562281842E-2</c:v>
                </c:pt>
                <c:pt idx="8934" formatCode="0.0%">
                  <c:v>4.9796601465238018E-2</c:v>
                </c:pt>
                <c:pt idx="8935" formatCode="0.0%">
                  <c:v>5.1948703182513198E-2</c:v>
                </c:pt>
                <c:pt idx="8936" formatCode="0.0%">
                  <c:v>5.1961854035146228E-2</c:v>
                </c:pt>
                <c:pt idx="8937" formatCode="0.0%">
                  <c:v>5.1874286937316959E-2</c:v>
                </c:pt>
                <c:pt idx="8938" formatCode="0.0%">
                  <c:v>5.0849900726958261E-2</c:v>
                </c:pt>
                <c:pt idx="8939" formatCode="0.0%">
                  <c:v>5.1662119075055038E-2</c:v>
                </c:pt>
                <c:pt idx="8940" formatCode="0.0%">
                  <c:v>5.1257199090860892E-2</c:v>
                </c:pt>
                <c:pt idx="8941" formatCode="0.0%">
                  <c:v>5.4534862879332409E-2</c:v>
                </c:pt>
                <c:pt idx="8942" formatCode="0.0%">
                  <c:v>5.6355773534159589E-2</c:v>
                </c:pt>
                <c:pt idx="8943" formatCode="0.0%">
                  <c:v>5.5774037011613924E-2</c:v>
                </c:pt>
                <c:pt idx="8944" formatCode="0.0%">
                  <c:v>5.9006051422567263E-2</c:v>
                </c:pt>
                <c:pt idx="8945" formatCode="0.0%">
                  <c:v>6.041432718285579E-2</c:v>
                </c:pt>
                <c:pt idx="8946" formatCode="0.0%">
                  <c:v>6.0656904309461898E-2</c:v>
                </c:pt>
                <c:pt idx="8947" formatCode="0.0%">
                  <c:v>6.4676463506517942E-2</c:v>
                </c:pt>
                <c:pt idx="8948" formatCode="0.0%">
                  <c:v>6.4828984338191439E-2</c:v>
                </c:pt>
                <c:pt idx="8949" formatCode="0.0%">
                  <c:v>6.5592543244095983E-2</c:v>
                </c:pt>
                <c:pt idx="8950" formatCode="0.0%">
                  <c:v>7.0623616563643257E-2</c:v>
                </c:pt>
                <c:pt idx="8951" formatCode="0.0%">
                  <c:v>7.080124378122031E-2</c:v>
                </c:pt>
                <c:pt idx="8952" formatCode="0.0%">
                  <c:v>7.3533589677827138E-2</c:v>
                </c:pt>
                <c:pt idx="8953" formatCode="0.0%">
                  <c:v>7.3129516497869765E-2</c:v>
                </c:pt>
                <c:pt idx="8954" formatCode="0.0%">
                  <c:v>7.2338667581648863E-2</c:v>
                </c:pt>
                <c:pt idx="8955" formatCode="0.0%">
                  <c:v>6.9425725259438645E-2</c:v>
                </c:pt>
                <c:pt idx="8956" formatCode="0.0%">
                  <c:v>7.1030830305424245E-2</c:v>
                </c:pt>
                <c:pt idx="8957" formatCode="0.0%">
                  <c:v>7.1115864104270274E-2</c:v>
                </c:pt>
                <c:pt idx="8958" formatCode="0.0%">
                  <c:v>7.1278823586372858E-2</c:v>
                </c:pt>
                <c:pt idx="8959" formatCode="0.0%">
                  <c:v>7.1311309241416321E-2</c:v>
                </c:pt>
                <c:pt idx="8960" formatCode="0.0%">
                  <c:v>7.1511681952761155E-2</c:v>
                </c:pt>
                <c:pt idx="8961" formatCode="0.0%">
                  <c:v>7.5734905772202613E-2</c:v>
                </c:pt>
                <c:pt idx="8962" formatCode="0.0%">
                  <c:v>7.4222127428934984E-2</c:v>
                </c:pt>
                <c:pt idx="8963" formatCode="0.0%">
                  <c:v>7.4176451265142884E-2</c:v>
                </c:pt>
                <c:pt idx="8964" formatCode="0.0%">
                  <c:v>7.2128552762292658E-2</c:v>
                </c:pt>
                <c:pt idx="8965" formatCode="0.0%">
                  <c:v>7.321442595264667E-2</c:v>
                </c:pt>
                <c:pt idx="8966" formatCode="0.0%">
                  <c:v>7.0426341769143128E-2</c:v>
                </c:pt>
                <c:pt idx="8967" formatCode="0.0%">
                  <c:v>6.37196063319585E-2</c:v>
                </c:pt>
                <c:pt idx="8968" formatCode="0.0%">
                  <c:v>7.0726391779102643E-2</c:v>
                </c:pt>
                <c:pt idx="8969" formatCode="0.0%">
                  <c:v>6.7371911454278663E-2</c:v>
                </c:pt>
                <c:pt idx="8970" formatCode="0.0%">
                  <c:v>6.4716517767783838E-2</c:v>
                </c:pt>
                <c:pt idx="8971" formatCode="0.0%">
                  <c:v>7.4581676250173368E-2</c:v>
                </c:pt>
                <c:pt idx="8972" formatCode="0.0%">
                  <c:v>7.1206087470160703E-2</c:v>
                </c:pt>
                <c:pt idx="8973" formatCode="0.0%">
                  <c:v>7.2116874593229616E-2</c:v>
                </c:pt>
                <c:pt idx="8974" formatCode="0.0%">
                  <c:v>7.4472997996760867E-2</c:v>
                </c:pt>
                <c:pt idx="8975" formatCode="0.0%">
                  <c:v>8.1248097350638662E-2</c:v>
                </c:pt>
                <c:pt idx="8976" formatCode="0.0%">
                  <c:v>7.8859157618711581E-2</c:v>
                </c:pt>
                <c:pt idx="8977" formatCode="0.0%">
                  <c:v>7.9808361201742797E-2</c:v>
                </c:pt>
                <c:pt idx="8978" formatCode="0.0%">
                  <c:v>7.9958316319768186E-2</c:v>
                </c:pt>
                <c:pt idx="8979" formatCode="0.0%">
                  <c:v>8.176130059775584E-2</c:v>
                </c:pt>
                <c:pt idx="8980" formatCode="0.0%">
                  <c:v>8.1717838873716406E-2</c:v>
                </c:pt>
                <c:pt idx="8981" formatCode="0.0%">
                  <c:v>7.9043374043251305E-2</c:v>
                </c:pt>
                <c:pt idx="8982" formatCode="0.0%">
                  <c:v>8.2706088851787624E-2</c:v>
                </c:pt>
                <c:pt idx="8983" formatCode="0.0%">
                  <c:v>8.5706278528634564E-2</c:v>
                </c:pt>
                <c:pt idx="8984" formatCode="0.0%">
                  <c:v>8.5752600928088896E-2</c:v>
                </c:pt>
                <c:pt idx="8985" formatCode="0.0%">
                  <c:v>9.0989979608716784E-2</c:v>
                </c:pt>
                <c:pt idx="8986" formatCode="0.0%">
                  <c:v>0.10153216827209996</c:v>
                </c:pt>
                <c:pt idx="8987" formatCode="0.0%">
                  <c:v>0.13911405193037463</c:v>
                </c:pt>
                <c:pt idx="8988" formatCode="0.0%">
                  <c:v>0.19916589761393</c:v>
                </c:pt>
                <c:pt idx="8989" formatCode="0.0%">
                  <c:v>0.19721691846670342</c:v>
                </c:pt>
                <c:pt idx="8990" formatCode="0.0%">
                  <c:v>0.2042788627084868</c:v>
                </c:pt>
                <c:pt idx="8991" formatCode="0.0%">
                  <c:v>0.20326024845470439</c:v>
                </c:pt>
                <c:pt idx="8992" formatCode="0.0%">
                  <c:v>0.20296658157127473</c:v>
                </c:pt>
                <c:pt idx="8993" formatCode="0.0%">
                  <c:v>0.20301301605884414</c:v>
                </c:pt>
                <c:pt idx="8994" formatCode="0.0%">
                  <c:v>0.20330993030833319</c:v>
                </c:pt>
                <c:pt idx="8995" formatCode="0.0%">
                  <c:v>0.20104156827977449</c:v>
                </c:pt>
                <c:pt idx="8996" formatCode="0.0%">
                  <c:v>0.20084980115018222</c:v>
                </c:pt>
                <c:pt idx="8997" formatCode="0.0%">
                  <c:v>0.2004271069995387</c:v>
                </c:pt>
                <c:pt idx="8998" formatCode="0.0%">
                  <c:v>0.20039607105604551</c:v>
                </c:pt>
                <c:pt idx="8999" formatCode="0.0%">
                  <c:v>0.1997814258869029</c:v>
                </c:pt>
                <c:pt idx="9000" formatCode="0.0%">
                  <c:v>0.19985609133278914</c:v>
                </c:pt>
                <c:pt idx="9001" formatCode="0.0%">
                  <c:v>0.19910796864272412</c:v>
                </c:pt>
                <c:pt idx="9002" formatCode="0.0%">
                  <c:v>0.1967847437213821</c:v>
                </c:pt>
                <c:pt idx="9003" formatCode="0.0%">
                  <c:v>0.19440581675299751</c:v>
                </c:pt>
                <c:pt idx="9004" formatCode="0.0%">
                  <c:v>0.19519840546047537</c:v>
                </c:pt>
                <c:pt idx="9005" formatCode="0.0%">
                  <c:v>0.19349501870585581</c:v>
                </c:pt>
                <c:pt idx="9006" formatCode="0.0%">
                  <c:v>0.18836660289595536</c:v>
                </c:pt>
                <c:pt idx="9007" formatCode="0.0%">
                  <c:v>0.15149535331297703</c:v>
                </c:pt>
                <c:pt idx="9008" formatCode="0.0%">
                  <c:v>7.0951865484563351E-2</c:v>
                </c:pt>
                <c:pt idx="9009" formatCode="0.0%">
                  <c:v>6.9988914333342783E-2</c:v>
                </c:pt>
                <c:pt idx="9010" formatCode="0.0%">
                  <c:v>5.3868839588768834E-2</c:v>
                </c:pt>
                <c:pt idx="9011" formatCode="0.0%">
                  <c:v>5.4238704459396471E-2</c:v>
                </c:pt>
                <c:pt idx="9012" formatCode="0.0%">
                  <c:v>5.6237597003430707E-2</c:v>
                </c:pt>
                <c:pt idx="9013" formatCode="0.0%">
                  <c:v>5.6055779730887101E-2</c:v>
                </c:pt>
                <c:pt idx="9014" formatCode="0.0%">
                  <c:v>5.261083079912008E-2</c:v>
                </c:pt>
                <c:pt idx="9015" formatCode="0.0%">
                  <c:v>4.9693644911514664E-2</c:v>
                </c:pt>
                <c:pt idx="9016" formatCode="0.0%">
                  <c:v>5.0342281194760509E-2</c:v>
                </c:pt>
                <c:pt idx="9017" formatCode="0.0%">
                  <c:v>5.0856216803790287E-2</c:v>
                </c:pt>
                <c:pt idx="9018" formatCode="0.0%">
                  <c:v>5.0418627299777807E-2</c:v>
                </c:pt>
                <c:pt idx="9019" formatCode="0.0%">
                  <c:v>5.0587007686872444E-2</c:v>
                </c:pt>
                <c:pt idx="9020" formatCode="0.0%">
                  <c:v>5.0566969326016176E-2</c:v>
                </c:pt>
                <c:pt idx="9021" formatCode="0.0%">
                  <c:v>5.0779089858438639E-2</c:v>
                </c:pt>
                <c:pt idx="9022" formatCode="0.0%">
                  <c:v>4.8911711912171134E-2</c:v>
                </c:pt>
                <c:pt idx="9023" formatCode="0.0%">
                  <c:v>4.8075102598762742E-2</c:v>
                </c:pt>
                <c:pt idx="9024" formatCode="0.0%">
                  <c:v>4.6871248893890903E-2</c:v>
                </c:pt>
                <c:pt idx="9025" formatCode="0.0%">
                  <c:v>4.5777191709181139E-2</c:v>
                </c:pt>
                <c:pt idx="9026" formatCode="0.0%">
                  <c:v>3.6982716787005813E-2</c:v>
                </c:pt>
                <c:pt idx="9027" formatCode="0.0%">
                  <c:v>3.7293919595371143E-2</c:v>
                </c:pt>
                <c:pt idx="9028" formatCode="0.0%">
                  <c:v>3.6433979698331877E-2</c:v>
                </c:pt>
                <c:pt idx="9029" formatCode="0.0%">
                  <c:v>3.7284576595887672E-2</c:v>
                </c:pt>
                <c:pt idx="9030" formatCode="0.0%">
                  <c:v>3.7654630328984348E-2</c:v>
                </c:pt>
                <c:pt idx="9031" formatCode="0.0%">
                  <c:v>4.3095366387890556E-2</c:v>
                </c:pt>
                <c:pt idx="9032" formatCode="0.0%">
                  <c:v>3.9854754265131138E-2</c:v>
                </c:pt>
                <c:pt idx="9033" formatCode="0.0%">
                  <c:v>4.1844387686130177E-2</c:v>
                </c:pt>
                <c:pt idx="9034" formatCode="0.0%">
                  <c:v>4.2104451113754514E-2</c:v>
                </c:pt>
                <c:pt idx="9035" formatCode="0.0%">
                  <c:v>4.2673790151957443E-2</c:v>
                </c:pt>
                <c:pt idx="9036" formatCode="0.0%">
                  <c:v>4.1652085458040264E-2</c:v>
                </c:pt>
                <c:pt idx="9037" formatCode="0.0%">
                  <c:v>4.0552641173105107E-2</c:v>
                </c:pt>
                <c:pt idx="9038" formatCode="0.0%">
                  <c:v>4.1576974570542713E-2</c:v>
                </c:pt>
                <c:pt idx="9039" formatCode="0.0%">
                  <c:v>4.227547188264888E-2</c:v>
                </c:pt>
                <c:pt idx="9040" formatCode="0.0%">
                  <c:v>4.3464841185114594E-2</c:v>
                </c:pt>
                <c:pt idx="9041" formatCode="0.0%">
                  <c:v>4.2989056815584827E-2</c:v>
                </c:pt>
                <c:pt idx="9042" formatCode="0.0%">
                  <c:v>4.2738655116289451E-2</c:v>
                </c:pt>
                <c:pt idx="9043" formatCode="0.0%">
                  <c:v>4.290015605099607E-2</c:v>
                </c:pt>
                <c:pt idx="9044" formatCode="0.0%">
                  <c:v>4.1968927087136565E-2</c:v>
                </c:pt>
                <c:pt idx="9045" formatCode="0.0%">
                  <c:v>4.1285754609016269E-2</c:v>
                </c:pt>
                <c:pt idx="9046" formatCode="0.0%">
                  <c:v>3.7303984459975958E-2</c:v>
                </c:pt>
                <c:pt idx="9047" formatCode="0.0%">
                  <c:v>3.7325995678822409E-2</c:v>
                </c:pt>
                <c:pt idx="9048" formatCode="0.0%">
                  <c:v>3.7355283507220435E-2</c:v>
                </c:pt>
                <c:pt idx="9049" formatCode="0.0%">
                  <c:v>3.7276096625008852E-2</c:v>
                </c:pt>
                <c:pt idx="9050" formatCode="0.0%">
                  <c:v>3.7975670251288687E-2</c:v>
                </c:pt>
                <c:pt idx="9051" formatCode="0.0%">
                  <c:v>3.2243162972418846E-2</c:v>
                </c:pt>
                <c:pt idx="9052" formatCode="0.0%">
                  <c:v>3.2779999407709495E-2</c:v>
                </c:pt>
                <c:pt idx="9053" formatCode="0.0%">
                  <c:v>3.0285759858237088E-2</c:v>
                </c:pt>
                <c:pt idx="9054" formatCode="0.0%">
                  <c:v>3.1073597968442657E-2</c:v>
                </c:pt>
                <c:pt idx="9055" formatCode="0.0%">
                  <c:v>3.1810755781167384E-2</c:v>
                </c:pt>
                <c:pt idx="9056" formatCode="0.0%">
                  <c:v>3.067023742110013E-2</c:v>
                </c:pt>
                <c:pt idx="9057" formatCode="0.0%">
                  <c:v>3.1365773069988966E-2</c:v>
                </c:pt>
                <c:pt idx="9058" formatCode="0.0%">
                  <c:v>3.0159976338783777E-2</c:v>
                </c:pt>
                <c:pt idx="9059" formatCode="0.0%">
                  <c:v>3.0048727928082289E-2</c:v>
                </c:pt>
                <c:pt idx="9060" formatCode="0.0%">
                  <c:v>3.1306599530756714E-2</c:v>
                </c:pt>
                <c:pt idx="9061" formatCode="0.0%">
                  <c:v>3.0450198751138913E-2</c:v>
                </c:pt>
                <c:pt idx="9062" formatCode="0.0%">
                  <c:v>2.9868763452670005E-2</c:v>
                </c:pt>
                <c:pt idx="9063" formatCode="0.0%">
                  <c:v>2.9568142052147833E-2</c:v>
                </c:pt>
                <c:pt idx="9064" formatCode="0.0%">
                  <c:v>2.9435826789127768E-2</c:v>
                </c:pt>
                <c:pt idx="9065" formatCode="0.0%">
                  <c:v>2.9220454806829402E-2</c:v>
                </c:pt>
                <c:pt idx="9066" formatCode="0.0%">
                  <c:v>3.0271155198733461E-2</c:v>
                </c:pt>
                <c:pt idx="9067" formatCode="0.0%">
                  <c:v>3.6862595334810344E-2</c:v>
                </c:pt>
                <c:pt idx="9068" formatCode="0.0%">
                  <c:v>3.694724819385984E-2</c:v>
                </c:pt>
                <c:pt idx="9069" formatCode="0.0%">
                  <c:v>3.7978918824751531E-2</c:v>
                </c:pt>
                <c:pt idx="9070" formatCode="0.0%">
                  <c:v>3.7885637507429966E-2</c:v>
                </c:pt>
                <c:pt idx="9071" formatCode="0.0%">
                  <c:v>3.5572283311400013E-2</c:v>
                </c:pt>
                <c:pt idx="9072" formatCode="0.0%">
                  <c:v>3.5665796266678172E-2</c:v>
                </c:pt>
                <c:pt idx="9073" formatCode="0.0%">
                  <c:v>3.6697723145172376E-2</c:v>
                </c:pt>
                <c:pt idx="9074" formatCode="0.0%">
                  <c:v>3.6777768398280508E-2</c:v>
                </c:pt>
                <c:pt idx="9075" formatCode="0.0%">
                  <c:v>3.9702297340214923E-2</c:v>
                </c:pt>
                <c:pt idx="9076" formatCode="0.0%">
                  <c:v>4.0044090099219352E-2</c:v>
                </c:pt>
                <c:pt idx="9077" formatCode="0.0%">
                  <c:v>3.9336331932294494E-2</c:v>
                </c:pt>
                <c:pt idx="9078" formatCode="0.0%">
                  <c:v>4.2518331136746579E-2</c:v>
                </c:pt>
                <c:pt idx="9079" formatCode="0.0%">
                  <c:v>4.1606185347497826E-2</c:v>
                </c:pt>
                <c:pt idx="9080" formatCode="0.0%">
                  <c:v>3.9272747132252046E-2</c:v>
                </c:pt>
                <c:pt idx="9081" formatCode="0.0%">
                  <c:v>3.9374544445147604E-2</c:v>
                </c:pt>
                <c:pt idx="9082" formatCode="0.0%">
                  <c:v>3.9706743011100887E-2</c:v>
                </c:pt>
                <c:pt idx="9083" formatCode="0.0%">
                  <c:v>4.0536846312358918E-2</c:v>
                </c:pt>
                <c:pt idx="9084" formatCode="0.0%">
                  <c:v>4.0115798799989173E-2</c:v>
                </c:pt>
                <c:pt idx="9085" formatCode="0.0%">
                  <c:v>4.0230952175864435E-2</c:v>
                </c:pt>
                <c:pt idx="9086" formatCode="0.0%">
                  <c:v>4.2004457366108534E-2</c:v>
                </c:pt>
                <c:pt idx="9087" formatCode="0.0%">
                  <c:v>3.6947319647598599E-2</c:v>
                </c:pt>
                <c:pt idx="9088" formatCode="0.0%">
                  <c:v>3.6855723541813955E-2</c:v>
                </c:pt>
                <c:pt idx="9089" formatCode="0.0%">
                  <c:v>3.5914624978781097E-2</c:v>
                </c:pt>
                <c:pt idx="9090" formatCode="0.0%">
                  <c:v>3.6607312467213278E-2</c:v>
                </c:pt>
                <c:pt idx="9091" formatCode="0.0%">
                  <c:v>4.7258972626719901E-2</c:v>
                </c:pt>
                <c:pt idx="9092" formatCode="0.0%">
                  <c:v>5.0909084211870112E-2</c:v>
                </c:pt>
                <c:pt idx="9093" formatCode="0.0%">
                  <c:v>5.5551236632337561E-2</c:v>
                </c:pt>
                <c:pt idx="9094" formatCode="0.0%">
                  <c:v>5.5612182105971159E-2</c:v>
                </c:pt>
                <c:pt idx="9095" formatCode="0.0%">
                  <c:v>5.2774521616882251E-2</c:v>
                </c:pt>
                <c:pt idx="9096" formatCode="0.0%">
                  <c:v>6.0953617452726407E-2</c:v>
                </c:pt>
                <c:pt idx="9097" formatCode="0.0%">
                  <c:v>6.2223171398307957E-2</c:v>
                </c:pt>
                <c:pt idx="9098" formatCode="0.0%">
                  <c:v>6.2757848586367973E-2</c:v>
                </c:pt>
                <c:pt idx="9099" formatCode="0.0%">
                  <c:v>6.2940237835037008E-2</c:v>
                </c:pt>
                <c:pt idx="9100" formatCode="0.0%">
                  <c:v>6.2714083331859502E-2</c:v>
                </c:pt>
                <c:pt idx="9101" formatCode="0.0%">
                  <c:v>6.3336735103670078E-2</c:v>
                </c:pt>
                <c:pt idx="9102" formatCode="0.0%">
                  <c:v>6.3425844512633764E-2</c:v>
                </c:pt>
                <c:pt idx="9103" formatCode="0.0%">
                  <c:v>6.3640941449444655E-2</c:v>
                </c:pt>
                <c:pt idx="9104" formatCode="0.0%">
                  <c:v>6.4521052481148713E-2</c:v>
                </c:pt>
                <c:pt idx="9105" formatCode="0.0%">
                  <c:v>6.4785333062014533E-2</c:v>
                </c:pt>
                <c:pt idx="9106" formatCode="0.0%">
                  <c:v>6.3843324437916738E-2</c:v>
                </c:pt>
                <c:pt idx="9107" formatCode="0.0%">
                  <c:v>6.625090731845433E-2</c:v>
                </c:pt>
                <c:pt idx="9108" formatCode="0.0%">
                  <c:v>6.8890445987614346E-2</c:v>
                </c:pt>
                <c:pt idx="9109" formatCode="0.0%">
                  <c:v>7.0775127115071654E-2</c:v>
                </c:pt>
                <c:pt idx="9110" formatCode="0.0%">
                  <c:v>7.0569517584385733E-2</c:v>
                </c:pt>
                <c:pt idx="9111" formatCode="0.0%">
                  <c:v>6.3814090068648993E-2</c:v>
                </c:pt>
                <c:pt idx="9112" formatCode="0.0%">
                  <c:v>6.1179015076328468E-2</c:v>
                </c:pt>
                <c:pt idx="9113" formatCode="0.0%">
                  <c:v>5.7413749462509198E-2</c:v>
                </c:pt>
                <c:pt idx="9114" formatCode="0.0%">
                  <c:v>5.6921399443620235E-2</c:v>
                </c:pt>
                <c:pt idx="9115" formatCode="0.0%">
                  <c:v>5.5595085313517832E-2</c:v>
                </c:pt>
                <c:pt idx="9116" formatCode="0.0%">
                  <c:v>4.7604044252152596E-2</c:v>
                </c:pt>
                <c:pt idx="9117" formatCode="0.0%">
                  <c:v>4.8676235561770559E-2</c:v>
                </c:pt>
                <c:pt idx="9118" formatCode="0.0%">
                  <c:v>4.4510177687404631E-2</c:v>
                </c:pt>
                <c:pt idx="9119" formatCode="0.0%">
                  <c:v>5.4286514733559672E-2</c:v>
                </c:pt>
                <c:pt idx="9120" formatCode="0.0%">
                  <c:v>5.7592167341838175E-2</c:v>
                </c:pt>
                <c:pt idx="9121" formatCode="0.0%">
                  <c:v>5.8898376404755204E-2</c:v>
                </c:pt>
                <c:pt idx="9122" formatCode="0.0%">
                  <c:v>6.5119319448039933E-2</c:v>
                </c:pt>
                <c:pt idx="9123" formatCode="0.0%">
                  <c:v>6.5653584854945324E-2</c:v>
                </c:pt>
                <c:pt idx="9124" formatCode="0.0%">
                  <c:v>6.7527618207892146E-2</c:v>
                </c:pt>
                <c:pt idx="9125" formatCode="0.0%">
                  <c:v>6.756597632221667E-2</c:v>
                </c:pt>
                <c:pt idx="9126" formatCode="0.0%">
                  <c:v>6.9042816238450641E-2</c:v>
                </c:pt>
                <c:pt idx="9127" formatCode="0.0%">
                  <c:v>7.0539837088434337E-2</c:v>
                </c:pt>
                <c:pt idx="9128" formatCode="0.0%">
                  <c:v>7.0299054300642566E-2</c:v>
                </c:pt>
                <c:pt idx="9129" formatCode="0.0%">
                  <c:v>6.8572920214888672E-2</c:v>
                </c:pt>
                <c:pt idx="9130" formatCode="0.0%">
                  <c:v>6.8682843332385196E-2</c:v>
                </c:pt>
                <c:pt idx="9131" formatCode="0.0%">
                  <c:v>6.9299244438899385E-2</c:v>
                </c:pt>
                <c:pt idx="9132" formatCode="0.0%">
                  <c:v>7.0623027942094421E-2</c:v>
                </c:pt>
                <c:pt idx="9133" formatCode="0.0%">
                  <c:v>7.1116834105081683E-2</c:v>
                </c:pt>
                <c:pt idx="9134" formatCode="0.0%">
                  <c:v>7.0866473433349203E-2</c:v>
                </c:pt>
                <c:pt idx="9135" formatCode="0.0%">
                  <c:v>7.1372001348437533E-2</c:v>
                </c:pt>
                <c:pt idx="9136" formatCode="0.0%">
                  <c:v>7.0016523018015725E-2</c:v>
                </c:pt>
                <c:pt idx="9137" formatCode="0.0%">
                  <c:v>6.6272933581056293E-2</c:v>
                </c:pt>
                <c:pt idx="9138" formatCode="0.0%">
                  <c:v>6.7700621791828161E-2</c:v>
                </c:pt>
                <c:pt idx="9139" formatCode="0.0%">
                  <c:v>5.0769648437326877E-2</c:v>
                </c:pt>
                <c:pt idx="9140" formatCode="0.0%">
                  <c:v>5.0851283630611747E-2</c:v>
                </c:pt>
                <c:pt idx="9141" formatCode="0.0%">
                  <c:v>4.3189212663225458E-2</c:v>
                </c:pt>
                <c:pt idx="9142" formatCode="0.0%">
                  <c:v>4.2090765492905281E-2</c:v>
                </c:pt>
                <c:pt idx="9143" formatCode="0.0%">
                  <c:v>4.2005963541299075E-2</c:v>
                </c:pt>
                <c:pt idx="9144" formatCode="0.0%">
                  <c:v>4.1765291976984538E-2</c:v>
                </c:pt>
                <c:pt idx="9145" formatCode="0.0%">
                  <c:v>4.0646749731468944E-2</c:v>
                </c:pt>
                <c:pt idx="9146" formatCode="0.0%">
                  <c:v>4.3700725654083776E-2</c:v>
                </c:pt>
                <c:pt idx="9147" formatCode="0.0%">
                  <c:v>4.2146576872248855E-2</c:v>
                </c:pt>
                <c:pt idx="9148" formatCode="0.0%">
                  <c:v>4.0915477252026662E-2</c:v>
                </c:pt>
                <c:pt idx="9149" formatCode="0.0%">
                  <c:v>4.1284965134521227E-2</c:v>
                </c:pt>
                <c:pt idx="9150" formatCode="0.0%">
                  <c:v>4.515982249770243E-2</c:v>
                </c:pt>
                <c:pt idx="9151" formatCode="0.0%">
                  <c:v>4.7272204965039151E-2</c:v>
                </c:pt>
                <c:pt idx="9152" formatCode="0.0%">
                  <c:v>4.2847316111791239E-2</c:v>
                </c:pt>
                <c:pt idx="9153" formatCode="0.0%">
                  <c:v>4.2872418019230009E-2</c:v>
                </c:pt>
                <c:pt idx="9154" formatCode="0.0%">
                  <c:v>4.3267337452180248E-2</c:v>
                </c:pt>
                <c:pt idx="9155" formatCode="0.0%">
                  <c:v>4.7551140600151455E-2</c:v>
                </c:pt>
                <c:pt idx="9156" formatCode="0.0%">
                  <c:v>4.9112488078997693E-2</c:v>
                </c:pt>
                <c:pt idx="9157" formatCode="0.0%">
                  <c:v>4.9111670888586909E-2</c:v>
                </c:pt>
                <c:pt idx="9158" formatCode="0.0%">
                  <c:v>4.3434890434384303E-2</c:v>
                </c:pt>
                <c:pt idx="9159" formatCode="0.0%">
                  <c:v>4.1501194567346252E-2</c:v>
                </c:pt>
                <c:pt idx="9160" formatCode="0.0%">
                  <c:v>3.9212267776466365E-2</c:v>
                </c:pt>
                <c:pt idx="9161" formatCode="0.0%">
                  <c:v>5.8972280571058522E-2</c:v>
                </c:pt>
                <c:pt idx="9162" formatCode="0.0%">
                  <c:v>5.948883569356743E-2</c:v>
                </c:pt>
                <c:pt idx="9163" formatCode="0.0%">
                  <c:v>6.6286627030141668E-2</c:v>
                </c:pt>
                <c:pt idx="9164" formatCode="0.0%">
                  <c:v>7.0870626100910564E-2</c:v>
                </c:pt>
                <c:pt idx="9165" formatCode="0.0%">
                  <c:v>7.086154244248459E-2</c:v>
                </c:pt>
                <c:pt idx="9166" formatCode="0.0%">
                  <c:v>7.0463992681974744E-2</c:v>
                </c:pt>
                <c:pt idx="9167" formatCode="0.0%">
                  <c:v>7.1967287233210567E-2</c:v>
                </c:pt>
                <c:pt idx="9168" formatCode="0.0%">
                  <c:v>7.1469347680986672E-2</c:v>
                </c:pt>
                <c:pt idx="9169" formatCode="0.0%">
                  <c:v>6.8832525709850129E-2</c:v>
                </c:pt>
                <c:pt idx="9170" formatCode="0.0%">
                  <c:v>6.842291570130947E-2</c:v>
                </c:pt>
                <c:pt idx="9171" formatCode="0.0%">
                  <c:v>6.8314706015066382E-2</c:v>
                </c:pt>
                <c:pt idx="9172" formatCode="0.0%">
                  <c:v>6.8300506912543094E-2</c:v>
                </c:pt>
                <c:pt idx="9173" formatCode="0.0%">
                  <c:v>6.9676557261383137E-2</c:v>
                </c:pt>
                <c:pt idx="9174" formatCode="0.0%">
                  <c:v>7.0215744700115434E-2</c:v>
                </c:pt>
                <c:pt idx="9175" formatCode="0.0%">
                  <c:v>6.8979773840899636E-2</c:v>
                </c:pt>
                <c:pt idx="9176" formatCode="0.0%">
                  <c:v>7.0947045499233349E-2</c:v>
                </c:pt>
                <c:pt idx="9177" formatCode="0.0%">
                  <c:v>7.0685906291237055E-2</c:v>
                </c:pt>
                <c:pt idx="9178" formatCode="0.0%">
                  <c:v>7.2747160645438541E-2</c:v>
                </c:pt>
                <c:pt idx="9179" formatCode="0.0%">
                  <c:v>7.4122645898201306E-2</c:v>
                </c:pt>
                <c:pt idx="9180" formatCode="0.0%">
                  <c:v>7.4071386856719351E-2</c:v>
                </c:pt>
                <c:pt idx="9181" formatCode="0.0%">
                  <c:v>6.122337973048516E-2</c:v>
                </c:pt>
                <c:pt idx="9182" formatCode="0.0%">
                  <c:v>6.1222049078393626E-2</c:v>
                </c:pt>
                <c:pt idx="9183" formatCode="0.0%">
                  <c:v>5.1093928464019181E-2</c:v>
                </c:pt>
                <c:pt idx="9184" formatCode="0.0%">
                  <c:v>4.7088363539894665E-2</c:v>
                </c:pt>
                <c:pt idx="9185" formatCode="0.0%">
                  <c:v>4.6808811636754634E-2</c:v>
                </c:pt>
                <c:pt idx="9186" formatCode="0.0%">
                  <c:v>4.6972834537066542E-2</c:v>
                </c:pt>
                <c:pt idx="9187" formatCode="0.0%">
                  <c:v>4.4248289491335024E-2</c:v>
                </c:pt>
                <c:pt idx="9188" formatCode="0.0%">
                  <c:v>4.5377136543323184E-2</c:v>
                </c:pt>
                <c:pt idx="9189" formatCode="0.0%">
                  <c:v>4.673471234767327E-2</c:v>
                </c:pt>
                <c:pt idx="9190" formatCode="0.0%">
                  <c:v>4.8066418758183273E-2</c:v>
                </c:pt>
                <c:pt idx="9191" formatCode="0.0%">
                  <c:v>4.8880923466595443E-2</c:v>
                </c:pt>
                <c:pt idx="9192" formatCode="0.0%">
                  <c:v>5.3033353814845342E-2</c:v>
                </c:pt>
                <c:pt idx="9193" formatCode="0.0%">
                  <c:v>5.1852304760439498E-2</c:v>
                </c:pt>
                <c:pt idx="9194" formatCode="0.0%">
                  <c:v>5.33863139238306E-2</c:v>
                </c:pt>
                <c:pt idx="9195" formatCode="0.0%">
                  <c:v>5.2265385569116633E-2</c:v>
                </c:pt>
                <c:pt idx="9196" formatCode="0.0%">
                  <c:v>4.5602084051979991E-2</c:v>
                </c:pt>
                <c:pt idx="9197" formatCode="0.0%">
                  <c:v>4.4280215200953918E-2</c:v>
                </c:pt>
                <c:pt idx="9198" formatCode="0.0%">
                  <c:v>4.2955361180520929E-2</c:v>
                </c:pt>
                <c:pt idx="9199" formatCode="0.0%">
                  <c:v>4.2329447223037192E-2</c:v>
                </c:pt>
                <c:pt idx="9200" formatCode="0.0%">
                  <c:v>4.1093667792353988E-2</c:v>
                </c:pt>
                <c:pt idx="9201" formatCode="0.0%">
                  <c:v>4.0362205326410647E-2</c:v>
                </c:pt>
                <c:pt idx="9202" formatCode="0.0%">
                  <c:v>4.1206080380613255E-2</c:v>
                </c:pt>
                <c:pt idx="9203" formatCode="0.0%">
                  <c:v>4.1403645518852963E-2</c:v>
                </c:pt>
                <c:pt idx="9204" formatCode="0.0%">
                  <c:v>4.2922234057571826E-2</c:v>
                </c:pt>
                <c:pt idx="9205" formatCode="0.0%">
                  <c:v>4.2968896489871948E-2</c:v>
                </c:pt>
                <c:pt idx="9206" formatCode="0.0%">
                  <c:v>4.2937284388277826E-2</c:v>
                </c:pt>
                <c:pt idx="9207" formatCode="0.0%">
                  <c:v>4.3358317005537522E-2</c:v>
                </c:pt>
                <c:pt idx="9208" formatCode="0.0%">
                  <c:v>4.2023578831920906E-2</c:v>
                </c:pt>
                <c:pt idx="9209" formatCode="0.0%">
                  <c:v>3.9703564717644108E-2</c:v>
                </c:pt>
                <c:pt idx="9210" formatCode="0.0%">
                  <c:v>4.0585760920402038E-2</c:v>
                </c:pt>
                <c:pt idx="9211" formatCode="0.0%">
                  <c:v>4.1537499803679677E-2</c:v>
                </c:pt>
                <c:pt idx="9212" formatCode="0.0%">
                  <c:v>4.3558934317609134E-2</c:v>
                </c:pt>
                <c:pt idx="9213" formatCode="0.0%">
                  <c:v>4.6783094413529E-2</c:v>
                </c:pt>
                <c:pt idx="9214" formatCode="0.0%">
                  <c:v>4.469402153056326E-2</c:v>
                </c:pt>
                <c:pt idx="9215" formatCode="0.0%">
                  <c:v>4.5415990189196564E-2</c:v>
                </c:pt>
                <c:pt idx="9216" formatCode="0.0%">
                  <c:v>4.5787455406684371E-2</c:v>
                </c:pt>
                <c:pt idx="9217" formatCode="0.0%">
                  <c:v>4.6664837695724368E-2</c:v>
                </c:pt>
                <c:pt idx="9218" formatCode="0.0%">
                  <c:v>4.6587618725615482E-2</c:v>
                </c:pt>
                <c:pt idx="9219" formatCode="0.0%">
                  <c:v>4.721419662880668E-2</c:v>
                </c:pt>
                <c:pt idx="9220" formatCode="0.0%">
                  <c:v>4.7124153816842457E-2</c:v>
                </c:pt>
                <c:pt idx="9221" formatCode="0.0%">
                  <c:v>4.9196660818249055E-2</c:v>
                </c:pt>
                <c:pt idx="9222" formatCode="0.0%">
                  <c:v>4.8881441484927103E-2</c:v>
                </c:pt>
                <c:pt idx="9223" formatCode="0.0%">
                  <c:v>4.7855403826323563E-2</c:v>
                </c:pt>
                <c:pt idx="9224" formatCode="0.0%">
                  <c:v>4.7069023926855462E-2</c:v>
                </c:pt>
                <c:pt idx="9225" formatCode="0.0%">
                  <c:v>4.7120461478716028E-2</c:v>
                </c:pt>
                <c:pt idx="9226" formatCode="0.0%">
                  <c:v>4.7119392112123508E-2</c:v>
                </c:pt>
                <c:pt idx="9227" formatCode="0.0%">
                  <c:v>4.6171979245480395E-2</c:v>
                </c:pt>
                <c:pt idx="9228" formatCode="0.0%">
                  <c:v>4.5592751011095452E-2</c:v>
                </c:pt>
                <c:pt idx="9229" formatCode="0.0%">
                  <c:v>4.7834894048914514E-2</c:v>
                </c:pt>
                <c:pt idx="9230" formatCode="0.0%">
                  <c:v>4.7579222125517504E-2</c:v>
                </c:pt>
                <c:pt idx="9231" formatCode="0.0%">
                  <c:v>4.7109946281193422E-2</c:v>
                </c:pt>
                <c:pt idx="9232" formatCode="0.0%">
                  <c:v>4.0102802035288203E-2</c:v>
                </c:pt>
                <c:pt idx="9233" formatCode="0.0%">
                  <c:v>3.6871978272991858E-2</c:v>
                </c:pt>
                <c:pt idx="9234" formatCode="0.0%">
                  <c:v>3.9403065856076114E-2</c:v>
                </c:pt>
                <c:pt idx="9235" formatCode="0.0%">
                  <c:v>3.8919454329344842E-2</c:v>
                </c:pt>
                <c:pt idx="9236" formatCode="0.0%">
                  <c:v>3.8704843634246512E-2</c:v>
                </c:pt>
                <c:pt idx="9237" formatCode="0.0%">
                  <c:v>3.7575521710954983E-2</c:v>
                </c:pt>
                <c:pt idx="9238" formatCode="0.0%">
                  <c:v>3.9676065276786965E-2</c:v>
                </c:pt>
                <c:pt idx="9239" formatCode="0.0%">
                  <c:v>4.108406173155011E-2</c:v>
                </c:pt>
                <c:pt idx="9240" formatCode="0.0%">
                  <c:v>4.3255057774784389E-2</c:v>
                </c:pt>
                <c:pt idx="9241" formatCode="0.0%">
                  <c:v>4.2827776856309167E-2</c:v>
                </c:pt>
                <c:pt idx="9242" formatCode="0.0%">
                  <c:v>5.3412619793587045E-2</c:v>
                </c:pt>
                <c:pt idx="9243" formatCode="0.0%">
                  <c:v>6.3979776870601274E-2</c:v>
                </c:pt>
                <c:pt idx="9244" formatCode="0.0%">
                  <c:v>6.3211072400550974E-2</c:v>
                </c:pt>
                <c:pt idx="9245" formatCode="0.0%">
                  <c:v>6.6128385553912594E-2</c:v>
                </c:pt>
                <c:pt idx="9246" formatCode="0.0%">
                  <c:v>6.6715187575189294E-2</c:v>
                </c:pt>
                <c:pt idx="9247" formatCode="0.0%">
                  <c:v>6.6547306519191968E-2</c:v>
                </c:pt>
                <c:pt idx="9248" formatCode="0.0%">
                  <c:v>6.7624132654696897E-2</c:v>
                </c:pt>
                <c:pt idx="9249" formatCode="0.0%">
                  <c:v>6.9661791177559634E-2</c:v>
                </c:pt>
                <c:pt idx="9250" formatCode="0.0%">
                  <c:v>6.8390914348758172E-2</c:v>
                </c:pt>
                <c:pt idx="9251" formatCode="0.0%">
                  <c:v>6.9060115338046735E-2</c:v>
                </c:pt>
                <c:pt idx="9252" formatCode="0.0%">
                  <c:v>6.9146842848039861E-2</c:v>
                </c:pt>
                <c:pt idx="9253" formatCode="0.0%">
                  <c:v>6.5345356918627265E-2</c:v>
                </c:pt>
                <c:pt idx="9254" formatCode="0.0%">
                  <c:v>6.4805613440649876E-2</c:v>
                </c:pt>
                <c:pt idx="9255" formatCode="0.0%">
                  <c:v>6.6640864490657065E-2</c:v>
                </c:pt>
                <c:pt idx="9256" formatCode="0.0%">
                  <c:v>6.9933618044209639E-2</c:v>
                </c:pt>
                <c:pt idx="9257" formatCode="0.0%">
                  <c:v>6.9894576022436955E-2</c:v>
                </c:pt>
                <c:pt idx="9258" formatCode="0.0%">
                  <c:v>6.945202605934446E-2</c:v>
                </c:pt>
                <c:pt idx="9259" formatCode="0.0%">
                  <c:v>6.9126936163184799E-2</c:v>
                </c:pt>
                <c:pt idx="9260" formatCode="0.0%">
                  <c:v>6.8572859133852998E-2</c:v>
                </c:pt>
                <c:pt idx="9261" formatCode="0.0%">
                  <c:v>6.7932044705716621E-2</c:v>
                </c:pt>
                <c:pt idx="9262" formatCode="0.0%">
                  <c:v>6.1700407058181167E-2</c:v>
                </c:pt>
                <c:pt idx="9263" formatCode="0.0%">
                  <c:v>5.3068868863883796E-2</c:v>
                </c:pt>
                <c:pt idx="9264" formatCode="0.0%">
                  <c:v>5.5226831546663913E-2</c:v>
                </c:pt>
                <c:pt idx="9265" formatCode="0.0%">
                  <c:v>5.7898388999178686E-2</c:v>
                </c:pt>
                <c:pt idx="9266" formatCode="0.0%">
                  <c:v>5.9907338420834448E-2</c:v>
                </c:pt>
                <c:pt idx="9267" formatCode="0.0%">
                  <c:v>6.0755045192930825E-2</c:v>
                </c:pt>
                <c:pt idx="9268" formatCode="0.0%">
                  <c:v>6.0168054316853285E-2</c:v>
                </c:pt>
                <c:pt idx="9269" formatCode="0.0%">
                  <c:v>5.3833527629069192E-2</c:v>
                </c:pt>
                <c:pt idx="9270" formatCode="0.0%">
                  <c:v>5.3714131705122528E-2</c:v>
                </c:pt>
                <c:pt idx="9271" formatCode="0.0%">
                  <c:v>5.3695288366986935E-2</c:v>
                </c:pt>
                <c:pt idx="9272" formatCode="0.0%">
                  <c:v>5.2136107180996767E-2</c:v>
                </c:pt>
                <c:pt idx="9273" formatCode="0.0%">
                  <c:v>5.0087201803176197E-2</c:v>
                </c:pt>
                <c:pt idx="9274" formatCode="0.0%">
                  <c:v>5.0320522470194119E-2</c:v>
                </c:pt>
                <c:pt idx="9275" formatCode="0.0%">
                  <c:v>4.9781817590279401E-2</c:v>
                </c:pt>
                <c:pt idx="9276" formatCode="0.0%">
                  <c:v>4.840874521658637E-2</c:v>
                </c:pt>
                <c:pt idx="9277" formatCode="0.0%">
                  <c:v>4.87842714923011E-2</c:v>
                </c:pt>
                <c:pt idx="9278" formatCode="0.0%">
                  <c:v>4.8968550581544625E-2</c:v>
                </c:pt>
                <c:pt idx="9279" formatCode="0.0%">
                  <c:v>4.7427695913825806E-2</c:v>
                </c:pt>
                <c:pt idx="9280" formatCode="0.0%">
                  <c:v>4.709441317294024E-2</c:v>
                </c:pt>
                <c:pt idx="9281" formatCode="0.0%">
                  <c:v>4.6218123803568496E-2</c:v>
                </c:pt>
                <c:pt idx="9282" formatCode="0.0%">
                  <c:v>4.2922957976581654E-2</c:v>
                </c:pt>
                <c:pt idx="9283" formatCode="0.0%">
                  <c:v>4.0643180930491976E-2</c:v>
                </c:pt>
                <c:pt idx="9284" formatCode="0.0%">
                  <c:v>3.8609557353933843E-2</c:v>
                </c:pt>
                <c:pt idx="9285" formatCode="0.0%">
                  <c:v>2.6188393845325255E-2</c:v>
                </c:pt>
                <c:pt idx="9286" formatCode="0.0%">
                  <c:v>2.5206535211449603E-2</c:v>
                </c:pt>
                <c:pt idx="9287" formatCode="0.0%">
                  <c:v>2.4808714609455808E-2</c:v>
                </c:pt>
                <c:pt idx="9288" formatCode="0.0%">
                  <c:v>2.3793274053115387E-2</c:v>
                </c:pt>
                <c:pt idx="9289" formatCode="0.0%">
                  <c:v>2.8740046130266903E-2</c:v>
                </c:pt>
                <c:pt idx="9290" formatCode="0.0%">
                  <c:v>3.3761652150215808E-2</c:v>
                </c:pt>
                <c:pt idx="9291" formatCode="0.0%">
                  <c:v>3.4431734294683575E-2</c:v>
                </c:pt>
                <c:pt idx="9292" formatCode="0.0%">
                  <c:v>4.8594523711307562E-2</c:v>
                </c:pt>
                <c:pt idx="9293" formatCode="0.0%">
                  <c:v>6.249411729696118E-2</c:v>
                </c:pt>
                <c:pt idx="9294" formatCode="0.0%">
                  <c:v>6.6199014804602246E-2</c:v>
                </c:pt>
                <c:pt idx="9295" formatCode="0.0%">
                  <c:v>6.5154925857173043E-2</c:v>
                </c:pt>
                <c:pt idx="9296" formatCode="0.0%">
                  <c:v>6.6570498131424155E-2</c:v>
                </c:pt>
                <c:pt idx="9297" formatCode="0.0%">
                  <c:v>6.6850081368511644E-2</c:v>
                </c:pt>
                <c:pt idx="9298" formatCode="0.0%">
                  <c:v>6.8119913628889806E-2</c:v>
                </c:pt>
                <c:pt idx="9299" formatCode="0.0%">
                  <c:v>6.7788792002118042E-2</c:v>
                </c:pt>
                <c:pt idx="9300" formatCode="0.0%">
                  <c:v>7.0135182918413363E-2</c:v>
                </c:pt>
                <c:pt idx="9301" formatCode="0.0%">
                  <c:v>7.3489048341997501E-2</c:v>
                </c:pt>
                <c:pt idx="9302" formatCode="0.0%">
                  <c:v>7.2523651150147486E-2</c:v>
                </c:pt>
                <c:pt idx="9303" formatCode="0.0%">
                  <c:v>7.2408150545097708E-2</c:v>
                </c:pt>
                <c:pt idx="9304" formatCode="0.0%">
                  <c:v>7.2664066742395339E-2</c:v>
                </c:pt>
                <c:pt idx="9305" formatCode="0.0%">
                  <c:v>7.2966043910342407E-2</c:v>
                </c:pt>
                <c:pt idx="9306" formatCode="0.0%">
                  <c:v>7.3157908048742268E-2</c:v>
                </c:pt>
                <c:pt idx="9307" formatCode="0.0%">
                  <c:v>7.3814351822234239E-2</c:v>
                </c:pt>
                <c:pt idx="9308" formatCode="0.0%">
                  <c:v>7.4055971239305393E-2</c:v>
                </c:pt>
                <c:pt idx="9309" formatCode="0.0%">
                  <c:v>7.336928273108298E-2</c:v>
                </c:pt>
                <c:pt idx="9310" formatCode="0.0%">
                  <c:v>7.2305911193048467E-2</c:v>
                </c:pt>
                <c:pt idx="9311" formatCode="0.0%">
                  <c:v>7.1300646882701657E-2</c:v>
                </c:pt>
                <c:pt idx="9312" formatCode="0.0%">
                  <c:v>6.5333783292927855E-2</c:v>
                </c:pt>
                <c:pt idx="9313" formatCode="0.0%">
                  <c:v>5.1845857534628295E-2</c:v>
                </c:pt>
                <c:pt idx="9314" formatCode="0.0%">
                  <c:v>4.6068540736649198E-2</c:v>
                </c:pt>
                <c:pt idx="9315" formatCode="0.0%">
                  <c:v>4.612135035565984E-2</c:v>
                </c:pt>
                <c:pt idx="9316" formatCode="0.0%">
                  <c:v>4.2400356561508035E-2</c:v>
                </c:pt>
                <c:pt idx="9317" formatCode="0.0%">
                  <c:v>4.3851475009629604E-2</c:v>
                </c:pt>
                <c:pt idx="9318" formatCode="0.0%">
                  <c:v>4.2715260154615547E-2</c:v>
                </c:pt>
                <c:pt idx="9319" formatCode="0.0%">
                  <c:v>4.2430308387585429E-2</c:v>
                </c:pt>
                <c:pt idx="9320" formatCode="0.0%">
                  <c:v>3.8938728113364664E-2</c:v>
                </c:pt>
                <c:pt idx="9321" formatCode="0.0%">
                  <c:v>3.2781370275233597E-2</c:v>
                </c:pt>
                <c:pt idx="9322" formatCode="0.0%">
                  <c:v>3.4232503066134366E-2</c:v>
                </c:pt>
                <c:pt idx="9323" formatCode="0.0%">
                  <c:v>4.1034092167947782E-2</c:v>
                </c:pt>
                <c:pt idx="9324" formatCode="0.0%">
                  <c:v>4.0997284171041225E-2</c:v>
                </c:pt>
                <c:pt idx="9325" formatCode="0.0%">
                  <c:v>4.1207717138411995E-2</c:v>
                </c:pt>
                <c:pt idx="9326" formatCode="0.0%">
                  <c:v>4.1071542606057498E-2</c:v>
                </c:pt>
                <c:pt idx="9327" formatCode="0.0%">
                  <c:v>4.0789400731606675E-2</c:v>
                </c:pt>
                <c:pt idx="9328" formatCode="0.0%">
                  <c:v>4.1439145600522351E-2</c:v>
                </c:pt>
                <c:pt idx="9329" formatCode="0.0%">
                  <c:v>4.1401834655342994E-2</c:v>
                </c:pt>
                <c:pt idx="9330" formatCode="0.0%">
                  <c:v>4.1059986361759705E-2</c:v>
                </c:pt>
                <c:pt idx="9331" formatCode="0.0%">
                  <c:v>4.0666412653639544E-2</c:v>
                </c:pt>
                <c:pt idx="9332" formatCode="0.0%">
                  <c:v>4.2967419740115774E-2</c:v>
                </c:pt>
                <c:pt idx="9333" formatCode="0.0%">
                  <c:v>4.625655842438775E-2</c:v>
                </c:pt>
                <c:pt idx="9334" formatCode="0.0%">
                  <c:v>4.8529469433523244E-2</c:v>
                </c:pt>
                <c:pt idx="9335" formatCode="0.0%">
                  <c:v>4.8186029635280223E-2</c:v>
                </c:pt>
                <c:pt idx="9336" formatCode="0.0%">
                  <c:v>4.808393782463076E-2</c:v>
                </c:pt>
                <c:pt idx="9337" formatCode="0.0%">
                  <c:v>4.7131571967465286E-2</c:v>
                </c:pt>
                <c:pt idx="9338" formatCode="0.0%">
                  <c:v>4.852940050113274E-2</c:v>
                </c:pt>
                <c:pt idx="9339" formatCode="0.0%">
                  <c:v>4.8686691526767148E-2</c:v>
                </c:pt>
                <c:pt idx="9340" formatCode="0.0%">
                  <c:v>4.963390589748419E-2</c:v>
                </c:pt>
                <c:pt idx="9341" formatCode="0.0%">
                  <c:v>5.2208018748279864E-2</c:v>
                </c:pt>
                <c:pt idx="9342" formatCode="0.0%">
                  <c:v>5.0202490596419222E-2</c:v>
                </c:pt>
                <c:pt idx="9343" formatCode="0.0%">
                  <c:v>3.9064698280922822E-2</c:v>
                </c:pt>
                <c:pt idx="9344" formatCode="0.0%">
                  <c:v>3.6796819415601763E-2</c:v>
                </c:pt>
                <c:pt idx="9345" formatCode="0.0%">
                  <c:v>3.7571773621446078E-2</c:v>
                </c:pt>
                <c:pt idx="9346" formatCode="0.0%">
                  <c:v>3.7823323648398022E-2</c:v>
                </c:pt>
                <c:pt idx="9347" formatCode="0.0%">
                  <c:v>3.7843916063584178E-2</c:v>
                </c:pt>
                <c:pt idx="9348" formatCode="0.0%">
                  <c:v>3.7720463547758723E-2</c:v>
                </c:pt>
                <c:pt idx="9349" formatCode="0.0%">
                  <c:v>3.7667426520969757E-2</c:v>
                </c:pt>
                <c:pt idx="9350" formatCode="0.0%">
                  <c:v>3.6920142278626174E-2</c:v>
                </c:pt>
                <c:pt idx="9351" formatCode="0.0%">
                  <c:v>3.6661299381103012E-2</c:v>
                </c:pt>
                <c:pt idx="9352" formatCode="0.0%">
                  <c:v>3.5035376467510822E-2</c:v>
                </c:pt>
                <c:pt idx="9353" formatCode="0.0%">
                  <c:v>3.3366792126545919E-2</c:v>
                </c:pt>
                <c:pt idx="9354" formatCode="0.0%">
                  <c:v>3.2230934819193022E-2</c:v>
                </c:pt>
                <c:pt idx="9355" formatCode="0.0%">
                  <c:v>3.4469158593750625E-2</c:v>
                </c:pt>
                <c:pt idx="9356" formatCode="0.0%">
                  <c:v>3.5454049903523702E-2</c:v>
                </c:pt>
                <c:pt idx="9357" formatCode="0.0%">
                  <c:v>3.6275208546062615E-2</c:v>
                </c:pt>
                <c:pt idx="9358" formatCode="0.0%">
                  <c:v>4.2893493392339728E-2</c:v>
                </c:pt>
                <c:pt idx="9359" formatCode="0.0%">
                  <c:v>4.3025427971870735E-2</c:v>
                </c:pt>
                <c:pt idx="9360" formatCode="0.0%">
                  <c:v>4.2511583508990702E-2</c:v>
                </c:pt>
                <c:pt idx="9361" formatCode="0.0%">
                  <c:v>4.4265562002171521E-2</c:v>
                </c:pt>
                <c:pt idx="9362" formatCode="0.0%">
                  <c:v>4.7586333685017433E-2</c:v>
                </c:pt>
                <c:pt idx="9363" formatCode="0.0%">
                  <c:v>5.4318495214028518E-2</c:v>
                </c:pt>
                <c:pt idx="9364" formatCode="0.0%">
                  <c:v>5.8247109081189227E-2</c:v>
                </c:pt>
                <c:pt idx="9365" formatCode="0.0%">
                  <c:v>5.9308958489070848E-2</c:v>
                </c:pt>
                <c:pt idx="9366" formatCode="0.0%">
                  <c:v>6.1738659998926256E-2</c:v>
                </c:pt>
                <c:pt idx="9367" formatCode="0.0%">
                  <c:v>6.6277317850449255E-2</c:v>
                </c:pt>
                <c:pt idx="9368" formatCode="0.0%">
                  <c:v>7.1087680887556418E-2</c:v>
                </c:pt>
                <c:pt idx="9369" formatCode="0.0%">
                  <c:v>7.2851441422961946E-2</c:v>
                </c:pt>
                <c:pt idx="9370" formatCode="0.0%">
                  <c:v>7.163148390018273E-2</c:v>
                </c:pt>
                <c:pt idx="9371" formatCode="0.0%">
                  <c:v>7.1686905051275396E-2</c:v>
                </c:pt>
                <c:pt idx="9372" formatCode="0.0%">
                  <c:v>7.1713553149128181E-2</c:v>
                </c:pt>
                <c:pt idx="9373" formatCode="0.0%">
                  <c:v>7.8985232168236413E-2</c:v>
                </c:pt>
                <c:pt idx="9374" formatCode="0.0%">
                  <c:v>8.4159588311801106E-2</c:v>
                </c:pt>
                <c:pt idx="9375" formatCode="0.0%">
                  <c:v>8.0116779031361537E-2</c:v>
                </c:pt>
                <c:pt idx="9376" formatCode="0.0%">
                  <c:v>8.1200554811307279E-2</c:v>
                </c:pt>
                <c:pt idx="9377" formatCode="0.0%">
                  <c:v>8.8724182101089927E-2</c:v>
                </c:pt>
                <c:pt idx="9378" formatCode="0.0%">
                  <c:v>9.3808695210641821E-2</c:v>
                </c:pt>
                <c:pt idx="9379" formatCode="0.0%">
                  <c:v>0.10185535388907785</c:v>
                </c:pt>
                <c:pt idx="9380" formatCode="0.0%">
                  <c:v>0.1052505686733857</c:v>
                </c:pt>
                <c:pt idx="9381" formatCode="0.0%">
                  <c:v>0.10496096172933753</c:v>
                </c:pt>
                <c:pt idx="9382" formatCode="0.0%">
                  <c:v>0.10460747615439263</c:v>
                </c:pt>
                <c:pt idx="9383" formatCode="0.0%">
                  <c:v>0.10353950979569058</c:v>
                </c:pt>
                <c:pt idx="9384" formatCode="0.0%">
                  <c:v>0.10090648067205661</c:v>
                </c:pt>
                <c:pt idx="9385" formatCode="0.0%">
                  <c:v>0.10809950572440795</c:v>
                </c:pt>
                <c:pt idx="9386" formatCode="0.0%">
                  <c:v>0.10836990559611184</c:v>
                </c:pt>
                <c:pt idx="9387" formatCode="0.0%">
                  <c:v>0.11464814082350572</c:v>
                </c:pt>
                <c:pt idx="9388" formatCode="0.0%">
                  <c:v>0.12364209879024163</c:v>
                </c:pt>
                <c:pt idx="9389" formatCode="0.0%">
                  <c:v>0.14825634535523394</c:v>
                </c:pt>
                <c:pt idx="9390" formatCode="0.0%">
                  <c:v>0.14975969777243162</c:v>
                </c:pt>
                <c:pt idx="9391" formatCode="0.0%">
                  <c:v>0.15294520061180394</c:v>
                </c:pt>
                <c:pt idx="9392" formatCode="0.0%">
                  <c:v>0.15287771376481699</c:v>
                </c:pt>
                <c:pt idx="9393" formatCode="0.0%">
                  <c:v>0.14877193614317338</c:v>
                </c:pt>
                <c:pt idx="9394" formatCode="0.0%">
                  <c:v>0.14758025357836776</c:v>
                </c:pt>
                <c:pt idx="9395" formatCode="0.0%">
                  <c:v>0.14735025223084058</c:v>
                </c:pt>
                <c:pt idx="9396" formatCode="0.0%">
                  <c:v>0.14659901016353724</c:v>
                </c:pt>
                <c:pt idx="9397" formatCode="0.0%">
                  <c:v>0.13792556931660022</c:v>
                </c:pt>
                <c:pt idx="9398" formatCode="0.0%">
                  <c:v>0.1370787674282766</c:v>
                </c:pt>
                <c:pt idx="9399" formatCode="0.0%">
                  <c:v>0.13435720513388996</c:v>
                </c:pt>
                <c:pt idx="9400" formatCode="0.0%">
                  <c:v>0.13247029508150812</c:v>
                </c:pt>
                <c:pt idx="9401" formatCode="0.0%">
                  <c:v>0.13136764677580129</c:v>
                </c:pt>
                <c:pt idx="9402" formatCode="0.0%">
                  <c:v>0.1386545461433682</c:v>
                </c:pt>
                <c:pt idx="9403" formatCode="0.0%">
                  <c:v>0.13968137573521458</c:v>
                </c:pt>
                <c:pt idx="9404" formatCode="0.0%">
                  <c:v>0.13828734897037939</c:v>
                </c:pt>
                <c:pt idx="9405" formatCode="0.0%">
                  <c:v>0.13016525048521521</c:v>
                </c:pt>
                <c:pt idx="9406" formatCode="0.0%">
                  <c:v>0.12805253701835106</c:v>
                </c:pt>
                <c:pt idx="9407" formatCode="0.0%">
                  <c:v>0.10900023063992317</c:v>
                </c:pt>
                <c:pt idx="9408" formatCode="0.0%">
                  <c:v>0.1043224137770576</c:v>
                </c:pt>
                <c:pt idx="9409" formatCode="0.0%">
                  <c:v>7.9363151867036408E-2</c:v>
                </c:pt>
                <c:pt idx="9410" formatCode="0.0%">
                  <c:v>8.1413492976921131E-2</c:v>
                </c:pt>
                <c:pt idx="9411" formatCode="0.0%">
                  <c:v>7.666007839247771E-2</c:v>
                </c:pt>
                <c:pt idx="9412" formatCode="0.0%">
                  <c:v>7.6241125837190477E-2</c:v>
                </c:pt>
                <c:pt idx="9413" formatCode="0.0%">
                  <c:v>7.5674491603791166E-2</c:v>
                </c:pt>
                <c:pt idx="9414" formatCode="0.0%">
                  <c:v>6.9826078981936726E-2</c:v>
                </c:pt>
                <c:pt idx="9415" formatCode="0.0%">
                  <c:v>6.9525306505313897E-2</c:v>
                </c:pt>
                <c:pt idx="9416" formatCode="0.0%">
                  <c:v>7.0151548779094797E-2</c:v>
                </c:pt>
                <c:pt idx="9417" formatCode="0.0%">
                  <c:v>6.999190372366236E-2</c:v>
                </c:pt>
                <c:pt idx="9418" formatCode="0.0%">
                  <c:v>6.9854310993304539E-2</c:v>
                </c:pt>
                <c:pt idx="9419" formatCode="0.0%">
                  <c:v>7.0125246188390875E-2</c:v>
                </c:pt>
                <c:pt idx="9420" formatCode="0.0%">
                  <c:v>7.1554571378623588E-2</c:v>
                </c:pt>
                <c:pt idx="9421" formatCode="0.0%">
                  <c:v>7.1400985388739791E-2</c:v>
                </c:pt>
                <c:pt idx="9422" formatCode="0.0%">
                  <c:v>5.089671506441823E-2</c:v>
                </c:pt>
                <c:pt idx="9423" formatCode="0.0%">
                  <c:v>4.4164751344036204E-2</c:v>
                </c:pt>
                <c:pt idx="9424" formatCode="0.0%">
                  <c:v>4.3763438262586642E-2</c:v>
                </c:pt>
                <c:pt idx="9425" formatCode="0.0%">
                  <c:v>4.4775248495537677E-2</c:v>
                </c:pt>
                <c:pt idx="9426" formatCode="0.0%">
                  <c:v>4.5653969923422112E-2</c:v>
                </c:pt>
                <c:pt idx="9427" formatCode="0.0%">
                  <c:v>4.3610551893268214E-2</c:v>
                </c:pt>
                <c:pt idx="9428" formatCode="0.0%">
                  <c:v>4.3637343051984578E-2</c:v>
                </c:pt>
                <c:pt idx="9429" formatCode="0.0%">
                  <c:v>3.8292907707985685E-2</c:v>
                </c:pt>
                <c:pt idx="9430" formatCode="0.0%">
                  <c:v>3.2868367853873405E-2</c:v>
                </c:pt>
                <c:pt idx="9431" formatCode="0.0%">
                  <c:v>3.2891438729631899E-2</c:v>
                </c:pt>
                <c:pt idx="9432" formatCode="0.0%">
                  <c:v>3.3266465962570976E-2</c:v>
                </c:pt>
                <c:pt idx="9433" formatCode="0.0%">
                  <c:v>3.1639763855775528E-2</c:v>
                </c:pt>
                <c:pt idx="9434" formatCode="0.0%">
                  <c:v>3.5564097485982167E-2</c:v>
                </c:pt>
                <c:pt idx="9435" formatCode="0.0%">
                  <c:v>3.703322043977296E-2</c:v>
                </c:pt>
                <c:pt idx="9436" formatCode="0.0%">
                  <c:v>3.5297465854096238E-2</c:v>
                </c:pt>
                <c:pt idx="9437" formatCode="0.0%">
                  <c:v>3.5586604352998513E-2</c:v>
                </c:pt>
                <c:pt idx="9438" formatCode="0.0%">
                  <c:v>3.5389571227221563E-2</c:v>
                </c:pt>
                <c:pt idx="9439" formatCode="0.0%">
                  <c:v>3.5251264596365225E-2</c:v>
                </c:pt>
                <c:pt idx="9440" formatCode="0.0%">
                  <c:v>3.3916099012520587E-2</c:v>
                </c:pt>
                <c:pt idx="9441" formatCode="0.0%">
                  <c:v>3.8978144206585894E-2</c:v>
                </c:pt>
                <c:pt idx="9442" formatCode="0.0%">
                  <c:v>4.1770467635305973E-2</c:v>
                </c:pt>
                <c:pt idx="9443" formatCode="0.0%">
                  <c:v>4.3564464000530961E-2</c:v>
                </c:pt>
                <c:pt idx="9444" formatCode="0.0%">
                  <c:v>4.12892698652974E-2</c:v>
                </c:pt>
                <c:pt idx="9445" formatCode="0.0%">
                  <c:v>4.0180967238681933E-2</c:v>
                </c:pt>
                <c:pt idx="9446" formatCode="0.0%">
                  <c:v>4.2178570331257638E-2</c:v>
                </c:pt>
                <c:pt idx="9447" formatCode="0.0%">
                  <c:v>4.3256461502991117E-2</c:v>
                </c:pt>
                <c:pt idx="9448" formatCode="0.0%">
                  <c:v>4.8156223772119248E-2</c:v>
                </c:pt>
                <c:pt idx="9449" formatCode="0.0%">
                  <c:v>4.7535913784151916E-2</c:v>
                </c:pt>
                <c:pt idx="9450" formatCode="0.0%">
                  <c:v>5.1001812182274273E-2</c:v>
                </c:pt>
                <c:pt idx="9451" formatCode="0.0%">
                  <c:v>5.297146196409043E-2</c:v>
                </c:pt>
                <c:pt idx="9452" formatCode="0.0%">
                  <c:v>5.7117936534835746E-2</c:v>
                </c:pt>
                <c:pt idx="9453" formatCode="0.0%">
                  <c:v>5.7415238200310852E-2</c:v>
                </c:pt>
                <c:pt idx="9454" formatCode="0.0%">
                  <c:v>5.5987910723721716E-2</c:v>
                </c:pt>
                <c:pt idx="9455" formatCode="0.0%">
                  <c:v>5.4623992099172972E-2</c:v>
                </c:pt>
                <c:pt idx="9456" formatCode="0.0%">
                  <c:v>5.6887826697624044E-2</c:v>
                </c:pt>
                <c:pt idx="9457" formatCode="0.0%">
                  <c:v>5.6847720366793163E-2</c:v>
                </c:pt>
                <c:pt idx="9458" formatCode="0.0%">
                  <c:v>5.6891931381335817E-2</c:v>
                </c:pt>
                <c:pt idx="9459" formatCode="0.0%">
                  <c:v>5.780886903762001E-2</c:v>
                </c:pt>
                <c:pt idx="9460" formatCode="0.0%">
                  <c:v>5.9874174574259482E-2</c:v>
                </c:pt>
                <c:pt idx="9461" formatCode="0.0%">
                  <c:v>5.7132106121500263E-2</c:v>
                </c:pt>
                <c:pt idx="9462" formatCode="0.0%">
                  <c:v>5.5089918099174427E-2</c:v>
                </c:pt>
                <c:pt idx="9463" formatCode="0.0%">
                  <c:v>5.3078419330254513E-2</c:v>
                </c:pt>
                <c:pt idx="9464" formatCode="0.0%">
                  <c:v>5.3304187310773257E-2</c:v>
                </c:pt>
                <c:pt idx="9465" formatCode="0.0%">
                  <c:v>5.4030911221019454E-2</c:v>
                </c:pt>
                <c:pt idx="9466" formatCode="0.0%">
                  <c:v>5.2053419606787429E-2</c:v>
                </c:pt>
                <c:pt idx="9467" formatCode="0.0%">
                  <c:v>5.058311884912492E-2</c:v>
                </c:pt>
                <c:pt idx="9468" formatCode="0.0%">
                  <c:v>4.7270547930435232E-2</c:v>
                </c:pt>
                <c:pt idx="9469" formatCode="0.0%">
                  <c:v>4.7271904158027088E-2</c:v>
                </c:pt>
                <c:pt idx="9470" formatCode="0.0%">
                  <c:v>4.4332246453604611E-2</c:v>
                </c:pt>
                <c:pt idx="9471" formatCode="0.0%">
                  <c:v>4.6493949405125932E-2</c:v>
                </c:pt>
                <c:pt idx="9472" formatCode="0.0%">
                  <c:v>4.2340511148323601E-2</c:v>
                </c:pt>
                <c:pt idx="9473" formatCode="0.0%">
                  <c:v>4.489715877629772E-2</c:v>
                </c:pt>
                <c:pt idx="9474" formatCode="0.0%">
                  <c:v>4.4456177853076206E-2</c:v>
                </c:pt>
                <c:pt idx="9475" formatCode="0.0%">
                  <c:v>4.6014527923227112E-2</c:v>
                </c:pt>
                <c:pt idx="9476" formatCode="0.0%">
                  <c:v>4.220311398916847E-2</c:v>
                </c:pt>
                <c:pt idx="9477" formatCode="0.0%">
                  <c:v>4.1649442752448827E-2</c:v>
                </c:pt>
                <c:pt idx="9478" formatCode="0.0%">
                  <c:v>4.1771673585065623E-2</c:v>
                </c:pt>
                <c:pt idx="9479" formatCode="0.0%">
                  <c:v>4.0964838960666092E-2</c:v>
                </c:pt>
                <c:pt idx="9480" formatCode="0.0%">
                  <c:v>3.8895049519958029E-2</c:v>
                </c:pt>
                <c:pt idx="9481" formatCode="0.0%">
                  <c:v>3.917199476759152E-2</c:v>
                </c:pt>
                <c:pt idx="9482" formatCode="0.0%">
                  <c:v>4.0357162210520554E-2</c:v>
                </c:pt>
                <c:pt idx="9483" formatCode="0.0%">
                  <c:v>4.2373136604204685E-2</c:v>
                </c:pt>
                <c:pt idx="9484" formatCode="0.0%">
                  <c:v>4.2081410962033064E-2</c:v>
                </c:pt>
                <c:pt idx="9485" formatCode="0.0%">
                  <c:v>4.2238082537057256E-2</c:v>
                </c:pt>
                <c:pt idx="9486" formatCode="0.0%">
                  <c:v>4.2533524046684049E-2</c:v>
                </c:pt>
                <c:pt idx="9487" formatCode="0.0%">
                  <c:v>4.5469804216621661E-2</c:v>
                </c:pt>
                <c:pt idx="9488" formatCode="0.0%">
                  <c:v>4.5122277198114263E-2</c:v>
                </c:pt>
                <c:pt idx="9489" formatCode="0.0%">
                  <c:v>5.0954066942232895E-2</c:v>
                </c:pt>
                <c:pt idx="9490" formatCode="0.0%">
                  <c:v>4.9841766286735867E-2</c:v>
                </c:pt>
                <c:pt idx="9491" formatCode="0.0%">
                  <c:v>4.5599419436815669E-2</c:v>
                </c:pt>
                <c:pt idx="9492" formatCode="0.0%">
                  <c:v>4.3930758860887917E-2</c:v>
                </c:pt>
                <c:pt idx="9493" formatCode="0.0%">
                  <c:v>4.3333627557040164E-2</c:v>
                </c:pt>
                <c:pt idx="9494" formatCode="0.0%">
                  <c:v>4.2753739370989675E-2</c:v>
                </c:pt>
                <c:pt idx="9495" formatCode="0.0%">
                  <c:v>4.2430764253484785E-2</c:v>
                </c:pt>
                <c:pt idx="9496" formatCode="0.0%">
                  <c:v>4.3250733299519929E-2</c:v>
                </c:pt>
                <c:pt idx="9497" formatCode="0.0%">
                  <c:v>4.2724916196812693E-2</c:v>
                </c:pt>
                <c:pt idx="9498" formatCode="0.0%">
                  <c:v>4.9140350551059891E-2</c:v>
                </c:pt>
                <c:pt idx="9499" formatCode="0.0%">
                  <c:v>6.0042684834090844E-2</c:v>
                </c:pt>
                <c:pt idx="9500" formatCode="0.0%">
                  <c:v>5.9208954819885057E-2</c:v>
                </c:pt>
                <c:pt idx="9501" formatCode="0.0%">
                  <c:v>6.034936896166674E-2</c:v>
                </c:pt>
                <c:pt idx="9502" formatCode="0.0%">
                  <c:v>6.0068431422688584E-2</c:v>
                </c:pt>
                <c:pt idx="9503" formatCode="0.0%">
                  <c:v>5.7232072032815912E-2</c:v>
                </c:pt>
                <c:pt idx="9504" formatCode="0.0%">
                  <c:v>5.7150321494545069E-2</c:v>
                </c:pt>
                <c:pt idx="9505" formatCode="0.0%">
                  <c:v>5.7042795916727632E-2</c:v>
                </c:pt>
                <c:pt idx="9506" formatCode="0.0%">
                  <c:v>5.6635005184867068E-2</c:v>
                </c:pt>
                <c:pt idx="9507" formatCode="0.0%">
                  <c:v>5.4791726167204492E-2</c:v>
                </c:pt>
                <c:pt idx="9508" formatCode="0.0%">
                  <c:v>5.7151786761644195E-2</c:v>
                </c:pt>
                <c:pt idx="9509" formatCode="0.0%">
                  <c:v>5.4054047981370881E-2</c:v>
                </c:pt>
                <c:pt idx="9510" formatCode="0.0%">
                  <c:v>5.4806840452208259E-2</c:v>
                </c:pt>
                <c:pt idx="9511" formatCode="0.0%">
                  <c:v>5.4723067910993399E-2</c:v>
                </c:pt>
                <c:pt idx="9512" formatCode="0.0%">
                  <c:v>6.0596922398372069E-2</c:v>
                </c:pt>
                <c:pt idx="9513" formatCode="0.0%">
                  <c:v>6.0031846887624078E-2</c:v>
                </c:pt>
                <c:pt idx="9514" formatCode="0.0%">
                  <c:v>6.0607165599364139E-2</c:v>
                </c:pt>
                <c:pt idx="9515" formatCode="0.0%">
                  <c:v>6.2579712515526215E-2</c:v>
                </c:pt>
                <c:pt idx="9516" formatCode="0.0%">
                  <c:v>6.1319490894458019E-2</c:v>
                </c:pt>
                <c:pt idx="9517" formatCode="0.0%">
                  <c:v>6.2477528236685842E-2</c:v>
                </c:pt>
                <c:pt idx="9518" formatCode="0.0%">
                  <c:v>5.4915112851393007E-2</c:v>
                </c:pt>
                <c:pt idx="9519" formatCode="0.0%">
                  <c:v>5.0833427852047072E-2</c:v>
                </c:pt>
                <c:pt idx="9520" formatCode="0.0%">
                  <c:v>5.0514650349211786E-2</c:v>
                </c:pt>
                <c:pt idx="9521" formatCode="0.0%">
                  <c:v>4.9903186133320863E-2</c:v>
                </c:pt>
                <c:pt idx="9522" formatCode="0.0%">
                  <c:v>4.967347850177195E-2</c:v>
                </c:pt>
                <c:pt idx="9523" formatCode="0.0%">
                  <c:v>4.9638374874052392E-2</c:v>
                </c:pt>
                <c:pt idx="9524" formatCode="0.0%">
                  <c:v>5.0930000753715801E-2</c:v>
                </c:pt>
                <c:pt idx="9525" formatCode="0.0%">
                  <c:v>5.1004729473121443E-2</c:v>
                </c:pt>
                <c:pt idx="9526" formatCode="0.0%">
                  <c:v>5.1064643156499077E-2</c:v>
                </c:pt>
                <c:pt idx="9527" formatCode="0.0%">
                  <c:v>5.1406648330030606E-2</c:v>
                </c:pt>
                <c:pt idx="9528" formatCode="0.0%">
                  <c:v>4.7040247929487237E-2</c:v>
                </c:pt>
                <c:pt idx="9529" formatCode="0.0%">
                  <c:v>4.796967539920359E-2</c:v>
                </c:pt>
                <c:pt idx="9530" formatCode="0.0%">
                  <c:v>4.9726888656076898E-2</c:v>
                </c:pt>
                <c:pt idx="9531" formatCode="0.0%">
                  <c:v>4.93720103362454E-2</c:v>
                </c:pt>
                <c:pt idx="9532" formatCode="0.0%">
                  <c:v>3.9678793460557603E-2</c:v>
                </c:pt>
                <c:pt idx="9533" formatCode="0.0%">
                  <c:v>3.9485976899651588E-2</c:v>
                </c:pt>
                <c:pt idx="9534" formatCode="0.0%">
                  <c:v>4.011835916941954E-2</c:v>
                </c:pt>
                <c:pt idx="9535" formatCode="0.0%">
                  <c:v>3.7792563708923609E-2</c:v>
                </c:pt>
                <c:pt idx="9536" formatCode="0.0%">
                  <c:v>4.0862508387043472E-2</c:v>
                </c:pt>
                <c:pt idx="9537" formatCode="0.0%">
                  <c:v>4.3324451005919411E-2</c:v>
                </c:pt>
                <c:pt idx="9538" formatCode="0.0%">
                  <c:v>5.203306729821619E-2</c:v>
                </c:pt>
                <c:pt idx="9539" formatCode="0.0%">
                  <c:v>4.8726614885375621E-2</c:v>
                </c:pt>
                <c:pt idx="9540" formatCode="0.0%">
                  <c:v>4.8206260675116748E-2</c:v>
                </c:pt>
                <c:pt idx="9541" formatCode="0.0%">
                  <c:v>5.3824238905667947E-2</c:v>
                </c:pt>
                <c:pt idx="9542" formatCode="0.0%">
                  <c:v>5.480343935102009E-2</c:v>
                </c:pt>
                <c:pt idx="9543" formatCode="0.0%">
                  <c:v>5.4769963638095311E-2</c:v>
                </c:pt>
                <c:pt idx="9544" formatCode="0.0%">
                  <c:v>5.7116326465629759E-2</c:v>
                </c:pt>
                <c:pt idx="9545" formatCode="0.0%">
                  <c:v>5.7777646299092371E-2</c:v>
                </c:pt>
                <c:pt idx="9546" formatCode="0.0%">
                  <c:v>5.7606734107388258E-2</c:v>
                </c:pt>
                <c:pt idx="9547" formatCode="0.0%">
                  <c:v>5.7035794669868946E-2</c:v>
                </c:pt>
                <c:pt idx="9548" formatCode="0.0%">
                  <c:v>5.9241209481711583E-2</c:v>
                </c:pt>
                <c:pt idx="9549" formatCode="0.0%">
                  <c:v>5.8588086352137234E-2</c:v>
                </c:pt>
                <c:pt idx="9550" formatCode="0.0%">
                  <c:v>6.0293724725556982E-2</c:v>
                </c:pt>
                <c:pt idx="9551" formatCode="0.0%">
                  <c:v>6.0539653083536225E-2</c:v>
                </c:pt>
                <c:pt idx="9552" formatCode="0.0%">
                  <c:v>6.2119781755761848E-2</c:v>
                </c:pt>
                <c:pt idx="9553" formatCode="0.0%">
                  <c:v>6.2420245646483151E-2</c:v>
                </c:pt>
                <c:pt idx="9554" formatCode="0.0%">
                  <c:v>6.5089600105264614E-2</c:v>
                </c:pt>
                <c:pt idx="9555" formatCode="0.0%">
                  <c:v>6.6730696630656769E-2</c:v>
                </c:pt>
                <c:pt idx="9556" formatCode="0.0%">
                  <c:v>6.6508745730361904E-2</c:v>
                </c:pt>
                <c:pt idx="9557" formatCode="0.0%">
                  <c:v>7.760616931819013E-2</c:v>
                </c:pt>
                <c:pt idx="9558" formatCode="0.0%">
                  <c:v>8.0539642459192776E-2</c:v>
                </c:pt>
                <c:pt idx="9559" formatCode="0.0%">
                  <c:v>8.0157374506487966E-2</c:v>
                </c:pt>
                <c:pt idx="9560" formatCode="0.0%">
                  <c:v>7.9424506507891388E-2</c:v>
                </c:pt>
                <c:pt idx="9561" formatCode="0.0%">
                  <c:v>8.3068078515186911E-2</c:v>
                </c:pt>
                <c:pt idx="9562" formatCode="0.0%">
                  <c:v>8.1347052406193388E-2</c:v>
                </c:pt>
                <c:pt idx="9563" formatCode="0.0%">
                  <c:v>9.1193609802914966E-2</c:v>
                </c:pt>
                <c:pt idx="9564" formatCode="0.0%">
                  <c:v>8.6843817946987423E-2</c:v>
                </c:pt>
                <c:pt idx="9565" formatCode="0.0%">
                  <c:v>8.7012742177656033E-2</c:v>
                </c:pt>
                <c:pt idx="9566" formatCode="0.0%">
                  <c:v>9.1568257154605232E-2</c:v>
                </c:pt>
                <c:pt idx="9567" formatCode="0.0%">
                  <c:v>9.1756601419615585E-2</c:v>
                </c:pt>
                <c:pt idx="9568" formatCode="0.0%">
                  <c:v>9.7217538206806647E-2</c:v>
                </c:pt>
                <c:pt idx="9569" formatCode="0.0%">
                  <c:v>9.9445343680275869E-2</c:v>
                </c:pt>
                <c:pt idx="9570" formatCode="0.0%">
                  <c:v>0.10176752157861106</c:v>
                </c:pt>
                <c:pt idx="9571" formatCode="0.0%">
                  <c:v>0.10753389048669335</c:v>
                </c:pt>
                <c:pt idx="9572" formatCode="0.0%">
                  <c:v>0.1076132407202747</c:v>
                </c:pt>
                <c:pt idx="9573" formatCode="0.0%">
                  <c:v>0.10742999083663396</c:v>
                </c:pt>
                <c:pt idx="9574" formatCode="0.0%">
                  <c:v>0.10615340844281224</c:v>
                </c:pt>
                <c:pt idx="9575" formatCode="0.0%">
                  <c:v>0.10617587149425929</c:v>
                </c:pt>
                <c:pt idx="9576" formatCode="0.0%">
                  <c:v>0.10617933713718591</c:v>
                </c:pt>
                <c:pt idx="9577" formatCode="0.0%">
                  <c:v>9.7267352197570003E-2</c:v>
                </c:pt>
                <c:pt idx="9578" formatCode="0.0%">
                  <c:v>9.2383956421206989E-2</c:v>
                </c:pt>
                <c:pt idx="9579" formatCode="0.0%">
                  <c:v>9.3328682152976933E-2</c:v>
                </c:pt>
                <c:pt idx="9580" formatCode="0.0%">
                  <c:v>9.7055489479857343E-2</c:v>
                </c:pt>
                <c:pt idx="9581" formatCode="0.0%">
                  <c:v>8.6648213906938221E-2</c:v>
                </c:pt>
                <c:pt idx="9582" formatCode="0.0%">
                  <c:v>8.8123262656780818E-2</c:v>
                </c:pt>
                <c:pt idx="9583" formatCode="0.0%">
                  <c:v>8.4218054340851126E-2</c:v>
                </c:pt>
                <c:pt idx="9584" formatCode="0.0%">
                  <c:v>8.4079132238901524E-2</c:v>
                </c:pt>
                <c:pt idx="9585" formatCode="0.0%">
                  <c:v>8.3573327185061663E-2</c:v>
                </c:pt>
                <c:pt idx="9586" formatCode="0.0%">
                  <c:v>7.1421980975204746E-2</c:v>
                </c:pt>
                <c:pt idx="9587" formatCode="0.0%">
                  <c:v>6.5541669242202311E-2</c:v>
                </c:pt>
                <c:pt idx="9588" formatCode="0.0%">
                  <c:v>6.4442420943310319E-2</c:v>
                </c:pt>
                <c:pt idx="9589" formatCode="0.0%">
                  <c:v>6.4333897652042879E-2</c:v>
                </c:pt>
                <c:pt idx="9590" formatCode="0.0%">
                  <c:v>6.7936747031943384E-2</c:v>
                </c:pt>
                <c:pt idx="9591" formatCode="0.0%">
                  <c:v>6.4547913419011185E-2</c:v>
                </c:pt>
                <c:pt idx="9592" formatCode="0.0%">
                  <c:v>6.6080544446397757E-2</c:v>
                </c:pt>
                <c:pt idx="9593" formatCode="0.0%">
                  <c:v>6.361551862979932E-2</c:v>
                </c:pt>
                <c:pt idx="9594" formatCode="0.0%">
                  <c:v>6.477525706832031E-2</c:v>
                </c:pt>
                <c:pt idx="9595" formatCode="0.0%">
                  <c:v>6.5911728348871254E-2</c:v>
                </c:pt>
                <c:pt idx="9596" formatCode="0.0%">
                  <c:v>6.6434569131195317E-2</c:v>
                </c:pt>
                <c:pt idx="9597" formatCode="0.0%">
                  <c:v>6.5141947587596075E-2</c:v>
                </c:pt>
                <c:pt idx="9598" formatCode="0.0%">
                  <c:v>6.7234402993704562E-2</c:v>
                </c:pt>
                <c:pt idx="9599" formatCode="0.0%">
                  <c:v>6.6095259409194584E-2</c:v>
                </c:pt>
                <c:pt idx="9600" formatCode="0.0%">
                  <c:v>6.144155014950043E-2</c:v>
                </c:pt>
                <c:pt idx="9601" formatCode="0.0%">
                  <c:v>6.6935215731741174E-2</c:v>
                </c:pt>
                <c:pt idx="9602" formatCode="0.0%">
                  <c:v>6.4136301990848049E-2</c:v>
                </c:pt>
                <c:pt idx="9603" formatCode="0.0%">
                  <c:v>8.2615803048594921E-2</c:v>
                </c:pt>
                <c:pt idx="9604" formatCode="0.0%">
                  <c:v>8.1223766518309551E-2</c:v>
                </c:pt>
                <c:pt idx="9605" formatCode="0.0%">
                  <c:v>9.6941955409021868E-2</c:v>
                </c:pt>
                <c:pt idx="9606" formatCode="0.0%">
                  <c:v>0.105583021294703</c:v>
                </c:pt>
                <c:pt idx="9607" formatCode="0.0%">
                  <c:v>0.10593279503629333</c:v>
                </c:pt>
                <c:pt idx="9608" formatCode="0.0%">
                  <c:v>0.10813781447451072</c:v>
                </c:pt>
                <c:pt idx="9609" formatCode="0.0%">
                  <c:v>0.10857537356781675</c:v>
                </c:pt>
                <c:pt idx="9610" formatCode="0.0%">
                  <c:v>0.1129855174126487</c:v>
                </c:pt>
                <c:pt idx="9611" formatCode="0.0%">
                  <c:v>0.11340547871229126</c:v>
                </c:pt>
                <c:pt idx="9612" formatCode="0.0%">
                  <c:v>0.13396679213717738</c:v>
                </c:pt>
                <c:pt idx="9613" formatCode="0.0%">
                  <c:v>0.13138817475179981</c:v>
                </c:pt>
                <c:pt idx="9614" formatCode="0.0%">
                  <c:v>0.13498023438004511</c:v>
                </c:pt>
                <c:pt idx="9615" formatCode="0.0%">
                  <c:v>0.14239946301113188</c:v>
                </c:pt>
                <c:pt idx="9616" formatCode="0.0%">
                  <c:v>0.14651100122758962</c:v>
                </c:pt>
                <c:pt idx="9617" formatCode="0.0%">
                  <c:v>0.1482505607759117</c:v>
                </c:pt>
                <c:pt idx="9618" formatCode="0.0%">
                  <c:v>0.14763679176242969</c:v>
                </c:pt>
                <c:pt idx="9619" formatCode="0.0%">
                  <c:v>0.14874157593703949</c:v>
                </c:pt>
                <c:pt idx="9620" formatCode="0.0%">
                  <c:v>0.15445210334294601</c:v>
                </c:pt>
                <c:pt idx="9621" formatCode="0.0%">
                  <c:v>0.15095756951116965</c:v>
                </c:pt>
                <c:pt idx="9622" formatCode="0.0%">
                  <c:v>0.15054550400124822</c:v>
                </c:pt>
                <c:pt idx="9623" formatCode="0.0%">
                  <c:v>0.14069066541063602</c:v>
                </c:pt>
                <c:pt idx="9624" formatCode="0.0%">
                  <c:v>0.14250552572807265</c:v>
                </c:pt>
                <c:pt idx="9625" formatCode="0.0%">
                  <c:v>0.13122576322596624</c:v>
                </c:pt>
                <c:pt idx="9626" formatCode="0.0%">
                  <c:v>0.12651497878314238</c:v>
                </c:pt>
                <c:pt idx="9627" formatCode="0.0%">
                  <c:v>0.12926151263772515</c:v>
                </c:pt>
                <c:pt idx="9628" formatCode="0.0%">
                  <c:v>0.1295883742570679</c:v>
                </c:pt>
                <c:pt idx="9629" formatCode="0.0%">
                  <c:v>0.12594099400848605</c:v>
                </c:pt>
                <c:pt idx="9630" formatCode="0.0%">
                  <c:v>0.11585971781729182</c:v>
                </c:pt>
                <c:pt idx="9631" formatCode="0.0%">
                  <c:v>0.11064932262881973</c:v>
                </c:pt>
                <c:pt idx="9632" formatCode="0.0%">
                  <c:v>9.4556007376649515E-2</c:v>
                </c:pt>
                <c:pt idx="9633" formatCode="0.0%">
                  <c:v>9.4283529166238597E-2</c:v>
                </c:pt>
                <c:pt idx="9634" formatCode="0.0%">
                  <c:v>9.3194551508970144E-2</c:v>
                </c:pt>
                <c:pt idx="9635" formatCode="0.0%">
                  <c:v>8.8243018470442802E-2</c:v>
                </c:pt>
                <c:pt idx="9636" formatCode="0.0%">
                  <c:v>8.5251021098702043E-2</c:v>
                </c:pt>
                <c:pt idx="9637" formatCode="0.0%">
                  <c:v>8.542812551703334E-2</c:v>
                </c:pt>
                <c:pt idx="9638" formatCode="0.0%">
                  <c:v>8.5538208233741295E-2</c:v>
                </c:pt>
                <c:pt idx="9639" formatCode="0.0%">
                  <c:v>8.6758635094780281E-2</c:v>
                </c:pt>
                <c:pt idx="9640" formatCode="0.0%">
                  <c:v>7.3546467635349E-2</c:v>
                </c:pt>
                <c:pt idx="9641" formatCode="0.0%">
                  <c:v>8.0522676631418974E-2</c:v>
                </c:pt>
                <c:pt idx="9642" formatCode="0.0%">
                  <c:v>8.0494662318423296E-2</c:v>
                </c:pt>
                <c:pt idx="9643" formatCode="0.0%">
                  <c:v>8.923296377533016E-2</c:v>
                </c:pt>
                <c:pt idx="9644" formatCode="0.0%">
                  <c:v>8.5480328185386409E-2</c:v>
                </c:pt>
                <c:pt idx="9645" formatCode="0.0%">
                  <c:v>9.4695052946494704E-2</c:v>
                </c:pt>
                <c:pt idx="9646" formatCode="0.0%">
                  <c:v>9.506545479620819E-2</c:v>
                </c:pt>
                <c:pt idx="9647" formatCode="0.0%">
                  <c:v>9.3155144576973506E-2</c:v>
                </c:pt>
                <c:pt idx="9648" formatCode="0.0%">
                  <c:v>8.6262107019537584E-2</c:v>
                </c:pt>
                <c:pt idx="9649" formatCode="0.0%">
                  <c:v>8.8480614790823323E-2</c:v>
                </c:pt>
                <c:pt idx="9650" formatCode="0.0%">
                  <c:v>9.0943598036562823E-2</c:v>
                </c:pt>
                <c:pt idx="9651" formatCode="0.0%">
                  <c:v>9.2725248416682116E-2</c:v>
                </c:pt>
                <c:pt idx="9652" formatCode="0.0%">
                  <c:v>9.2547033622343844E-2</c:v>
                </c:pt>
                <c:pt idx="9653" formatCode="0.0%">
                  <c:v>9.2675599747313417E-2</c:v>
                </c:pt>
                <c:pt idx="9654" formatCode="0.0%">
                  <c:v>9.6823479832104223E-2</c:v>
                </c:pt>
                <c:pt idx="9655" formatCode="0.0%">
                  <c:v>0.10179636234858612</c:v>
                </c:pt>
                <c:pt idx="9656" formatCode="0.0%">
                  <c:v>0.10148408299376657</c:v>
                </c:pt>
                <c:pt idx="9657" formatCode="0.0%">
                  <c:v>0.10077702628720414</c:v>
                </c:pt>
                <c:pt idx="9658" formatCode="0.0%">
                  <c:v>0.11909928271582963</c:v>
                </c:pt>
                <c:pt idx="9659" formatCode="0.0%">
                  <c:v>0.11807314820111579</c:v>
                </c:pt>
                <c:pt idx="9660" formatCode="0.0%">
                  <c:v>0.11930996993550713</c:v>
                </c:pt>
                <c:pt idx="9661" formatCode="0.0%">
                  <c:v>0.11558095351055185</c:v>
                </c:pt>
                <c:pt idx="9662" formatCode="0.0%">
                  <c:v>0.11565600139401282</c:v>
                </c:pt>
                <c:pt idx="9663" formatCode="0.0%">
                  <c:v>0.11956958178096057</c:v>
                </c:pt>
                <c:pt idx="9664" formatCode="0.0%">
                  <c:v>0.11874240773231348</c:v>
                </c:pt>
                <c:pt idx="9665" formatCode="0.0%">
                  <c:v>0.11142613527681043</c:v>
                </c:pt>
                <c:pt idx="9666" formatCode="0.0%">
                  <c:v>0.11712234989806362</c:v>
                </c:pt>
                <c:pt idx="9667" formatCode="0.0%">
                  <c:v>0.11634934097599726</c:v>
                </c:pt>
                <c:pt idx="9668" formatCode="0.0%">
                  <c:v>0.11638501726194475</c:v>
                </c:pt>
                <c:pt idx="9669" formatCode="0.0%">
                  <c:v>0.11530565517834086</c:v>
                </c:pt>
                <c:pt idx="9670" formatCode="0.0%">
                  <c:v>0.11439441965708678</c:v>
                </c:pt>
                <c:pt idx="9671" formatCode="0.0%">
                  <c:v>0.11061387153181233</c:v>
                </c:pt>
                <c:pt idx="9672" formatCode="0.0%">
                  <c:v>0.10994898649922144</c:v>
                </c:pt>
                <c:pt idx="9673" formatCode="0.0%">
                  <c:v>0.11030282912857814</c:v>
                </c:pt>
                <c:pt idx="9674" formatCode="0.0%">
                  <c:v>0.11576936167638792</c:v>
                </c:pt>
                <c:pt idx="9675" formatCode="0.0%">
                  <c:v>0.11352200337830745</c:v>
                </c:pt>
                <c:pt idx="9676" formatCode="0.0%">
                  <c:v>0.11840622406354791</c:v>
                </c:pt>
                <c:pt idx="9677" formatCode="0.0%">
                  <c:v>0.11880405278643764</c:v>
                </c:pt>
                <c:pt idx="9678" formatCode="0.0%">
                  <c:v>0.11685198165001769</c:v>
                </c:pt>
                <c:pt idx="9679" formatCode="0.0%">
                  <c:v>0.11682872920087978</c:v>
                </c:pt>
                <c:pt idx="9680" formatCode="0.0%">
                  <c:v>0.12638266056661882</c:v>
                </c:pt>
                <c:pt idx="9681" formatCode="0.0%">
                  <c:v>0.13106022610700321</c:v>
                </c:pt>
                <c:pt idx="9682" formatCode="0.0%">
                  <c:v>0.14531918633071406</c:v>
                </c:pt>
                <c:pt idx="9683" formatCode="0.0%">
                  <c:v>0.15800855093017771</c:v>
                </c:pt>
                <c:pt idx="9684" formatCode="0.0%">
                  <c:v>0.17666614957446083</c:v>
                </c:pt>
                <c:pt idx="9685" formatCode="0.0%">
                  <c:v>0.18453395205753545</c:v>
                </c:pt>
                <c:pt idx="9686" formatCode="0.0%">
                  <c:v>0.18312040592560308</c:v>
                </c:pt>
                <c:pt idx="9687" formatCode="0.0%">
                  <c:v>0.18228835681687341</c:v>
                </c:pt>
                <c:pt idx="9688" formatCode="0.0%">
                  <c:v>0.18235703234512152</c:v>
                </c:pt>
                <c:pt idx="9689" formatCode="0.0%">
                  <c:v>0.18280810397603187</c:v>
                </c:pt>
                <c:pt idx="9690" formatCode="0.0%">
                  <c:v>0.18282310988535225</c:v>
                </c:pt>
                <c:pt idx="9691" formatCode="0.0%">
                  <c:v>0.18446426428068682</c:v>
                </c:pt>
                <c:pt idx="9692" formatCode="0.0%">
                  <c:v>0.20432528679879663</c:v>
                </c:pt>
                <c:pt idx="9693" formatCode="0.0%">
                  <c:v>0.20637255239862473</c:v>
                </c:pt>
                <c:pt idx="9694" formatCode="0.0%">
                  <c:v>0.20719900319597975</c:v>
                </c:pt>
                <c:pt idx="9695" formatCode="0.0%">
                  <c:v>0.21197470337867019</c:v>
                </c:pt>
                <c:pt idx="9696" formatCode="0.0%">
                  <c:v>0.20724383023085086</c:v>
                </c:pt>
                <c:pt idx="9697" formatCode="0.0%">
                  <c:v>0.20659200239022696</c:v>
                </c:pt>
                <c:pt idx="9698" formatCode="0.0%">
                  <c:v>0.19797711272134755</c:v>
                </c:pt>
                <c:pt idx="9699" formatCode="0.0%">
                  <c:v>0.20743430998289777</c:v>
                </c:pt>
                <c:pt idx="9700" formatCode="0.0%">
                  <c:v>0.20259768599894204</c:v>
                </c:pt>
                <c:pt idx="9701" formatCode="0.0%">
                  <c:v>0.19782389659926122</c:v>
                </c:pt>
                <c:pt idx="9702" formatCode="0.0%">
                  <c:v>0.1814994989796915</c:v>
                </c:pt>
                <c:pt idx="9703" formatCode="0.0%">
                  <c:v>0.15368535301373909</c:v>
                </c:pt>
                <c:pt idx="9704" formatCode="0.0%">
                  <c:v>0.15133670988969364</c:v>
                </c:pt>
                <c:pt idx="9705" formatCode="0.0%">
                  <c:v>0.14479450148641054</c:v>
                </c:pt>
                <c:pt idx="9706" formatCode="0.0%">
                  <c:v>0.14225251814483847</c:v>
                </c:pt>
                <c:pt idx="9707" formatCode="0.0%">
                  <c:v>0.16079453878166136</c:v>
                </c:pt>
                <c:pt idx="9708" formatCode="0.0%">
                  <c:v>0.16064688614104211</c:v>
                </c:pt>
                <c:pt idx="9709" formatCode="0.0%">
                  <c:v>0.15942840865523847</c:v>
                </c:pt>
                <c:pt idx="9710" formatCode="0.0%">
                  <c:v>0.16140988600807119</c:v>
                </c:pt>
                <c:pt idx="9711" formatCode="0.0%">
                  <c:v>0.1643978079822016</c:v>
                </c:pt>
                <c:pt idx="9712" formatCode="0.0%">
                  <c:v>0.15905999529691561</c:v>
                </c:pt>
                <c:pt idx="9713" formatCode="0.0%">
                  <c:v>0.15895952398120861</c:v>
                </c:pt>
                <c:pt idx="9714" formatCode="0.0%">
                  <c:v>0.18742762491247716</c:v>
                </c:pt>
                <c:pt idx="9715" formatCode="0.0%">
                  <c:v>0.18074800118837117</c:v>
                </c:pt>
                <c:pt idx="9716" formatCode="0.0%">
                  <c:v>0.18081669374312853</c:v>
                </c:pt>
                <c:pt idx="9717" formatCode="0.0%">
                  <c:v>0.18658317130411031</c:v>
                </c:pt>
                <c:pt idx="9718" formatCode="0.0%">
                  <c:v>0.19450139635315558</c:v>
                </c:pt>
                <c:pt idx="9719" formatCode="0.0%">
                  <c:v>0.1867340441307542</c:v>
                </c:pt>
                <c:pt idx="9720" formatCode="0.0%">
                  <c:v>0.18671256488780838</c:v>
                </c:pt>
                <c:pt idx="9721" formatCode="0.0%">
                  <c:v>0.18692345143075936</c:v>
                </c:pt>
                <c:pt idx="9722" formatCode="0.0%">
                  <c:v>0.18700559984294274</c:v>
                </c:pt>
                <c:pt idx="9723" formatCode="0.0%">
                  <c:v>0.18789499573152757</c:v>
                </c:pt>
                <c:pt idx="9724" formatCode="0.0%">
                  <c:v>0.18311853062435199</c:v>
                </c:pt>
                <c:pt idx="9725" formatCode="0.0%">
                  <c:v>0.178781089648545</c:v>
                </c:pt>
                <c:pt idx="9726" formatCode="0.0%">
                  <c:v>0.17895100068936232</c:v>
                </c:pt>
                <c:pt idx="9727" formatCode="0.0%">
                  <c:v>0.15496858631330093</c:v>
                </c:pt>
                <c:pt idx="9728" formatCode="0.0%">
                  <c:v>0.1556314918923071</c:v>
                </c:pt>
                <c:pt idx="9729" formatCode="0.0%">
                  <c:v>0.15228509491620826</c:v>
                </c:pt>
                <c:pt idx="9730" formatCode="0.0%">
                  <c:v>0.14802882928045538</c:v>
                </c:pt>
                <c:pt idx="9731" formatCode="0.0%">
                  <c:v>0.13599002474576832</c:v>
                </c:pt>
                <c:pt idx="9732" formatCode="0.0%">
                  <c:v>0.12829144353806277</c:v>
                </c:pt>
                <c:pt idx="9733" formatCode="0.0%">
                  <c:v>0.12904252195171698</c:v>
                </c:pt>
                <c:pt idx="9734" formatCode="0.0%">
                  <c:v>9.3929950961371161E-2</c:v>
                </c:pt>
                <c:pt idx="9735" formatCode="0.0%">
                  <c:v>9.2551689336479712E-2</c:v>
                </c:pt>
                <c:pt idx="9736" formatCode="0.0%">
                  <c:v>9.6364260579064359E-2</c:v>
                </c:pt>
                <c:pt idx="9737" formatCode="0.0%">
                  <c:v>9.1395307789404842E-2</c:v>
                </c:pt>
                <c:pt idx="9738" formatCode="0.0%">
                  <c:v>8.0940974934588128E-2</c:v>
                </c:pt>
                <c:pt idx="9739" formatCode="0.0%">
                  <c:v>7.91605932285704E-2</c:v>
                </c:pt>
                <c:pt idx="9740" formatCode="0.0%">
                  <c:v>8.3583966573018351E-2</c:v>
                </c:pt>
                <c:pt idx="9741" formatCode="0.0%">
                  <c:v>0.10174889690215722</c:v>
                </c:pt>
                <c:pt idx="9742" formatCode="0.0%">
                  <c:v>0.10402646511723612</c:v>
                </c:pt>
                <c:pt idx="9743" formatCode="0.0%">
                  <c:v>0.10449335336124595</c:v>
                </c:pt>
                <c:pt idx="9744" formatCode="0.0%">
                  <c:v>0.10389136007966636</c:v>
                </c:pt>
                <c:pt idx="9745" formatCode="0.0%">
                  <c:v>0.10048993291340132</c:v>
                </c:pt>
                <c:pt idx="9746" formatCode="0.0%">
                  <c:v>0.10144031368112075</c:v>
                </c:pt>
                <c:pt idx="9747" formatCode="0.0%">
                  <c:v>0.1014179001732564</c:v>
                </c:pt>
                <c:pt idx="9748" formatCode="0.0%">
                  <c:v>9.8781329331611836E-2</c:v>
                </c:pt>
                <c:pt idx="9749" formatCode="0.0%">
                  <c:v>9.8742227392383558E-2</c:v>
                </c:pt>
                <c:pt idx="9750" formatCode="0.0%">
                  <c:v>9.804895377338356E-2</c:v>
                </c:pt>
                <c:pt idx="9751" formatCode="0.0%">
                  <c:v>0.10115713861886876</c:v>
                </c:pt>
                <c:pt idx="9752" formatCode="0.0%">
                  <c:v>0.10805578259030188</c:v>
                </c:pt>
                <c:pt idx="9753" formatCode="0.0%">
                  <c:v>0.10532074010979676</c:v>
                </c:pt>
                <c:pt idx="9754" formatCode="0.0%">
                  <c:v>0.10309785818383574</c:v>
                </c:pt>
                <c:pt idx="9755" formatCode="0.0%">
                  <c:v>0.10936019263542188</c:v>
                </c:pt>
                <c:pt idx="9756" formatCode="0.0%">
                  <c:v>0.10668418912856339</c:v>
                </c:pt>
                <c:pt idx="9757" formatCode="0.0%">
                  <c:v>0.10623774430208283</c:v>
                </c:pt>
                <c:pt idx="9758" formatCode="0.0%">
                  <c:v>0.11125182801509817</c:v>
                </c:pt>
                <c:pt idx="9759" formatCode="0.0%">
                  <c:v>0.10859251005585929</c:v>
                </c:pt>
                <c:pt idx="9760" formatCode="0.0%">
                  <c:v>0.10680608330176367</c:v>
                </c:pt>
                <c:pt idx="9761" formatCode="0.0%">
                  <c:v>9.3456760792340471E-2</c:v>
                </c:pt>
                <c:pt idx="9762" formatCode="0.0%">
                  <c:v>9.2200541990269974E-2</c:v>
                </c:pt>
                <c:pt idx="9763" formatCode="0.0%">
                  <c:v>9.0359532684200494E-2</c:v>
                </c:pt>
                <c:pt idx="9764" formatCode="0.0%">
                  <c:v>8.7215635737336997E-2</c:v>
                </c:pt>
                <c:pt idx="9765" formatCode="0.0%">
                  <c:v>8.9670922496685346E-2</c:v>
                </c:pt>
                <c:pt idx="9766" formatCode="0.0%">
                  <c:v>9.0458947520413752E-2</c:v>
                </c:pt>
                <c:pt idx="9767" formatCode="0.0%">
                  <c:v>9.1114940315327533E-2</c:v>
                </c:pt>
                <c:pt idx="9768" formatCode="0.0%">
                  <c:v>8.9541022195342254E-2</c:v>
                </c:pt>
                <c:pt idx="9769" formatCode="0.0%">
                  <c:v>8.9540887746052733E-2</c:v>
                </c:pt>
                <c:pt idx="9770" formatCode="0.0%">
                  <c:v>8.9712801152601371E-2</c:v>
                </c:pt>
                <c:pt idx="9771" formatCode="0.0%">
                  <c:v>9.7410226869100072E-2</c:v>
                </c:pt>
                <c:pt idx="9772" formatCode="0.0%">
                  <c:v>9.2932994368615032E-2</c:v>
                </c:pt>
                <c:pt idx="9773" formatCode="0.0%">
                  <c:v>9.5703610641316092E-2</c:v>
                </c:pt>
                <c:pt idx="9774" formatCode="0.0%">
                  <c:v>9.568620509123138E-2</c:v>
                </c:pt>
                <c:pt idx="9775" formatCode="0.0%">
                  <c:v>9.2603890379026471E-2</c:v>
                </c:pt>
                <c:pt idx="9776" formatCode="0.0%">
                  <c:v>9.3217026267525385E-2</c:v>
                </c:pt>
                <c:pt idx="9777" formatCode="0.0%">
                  <c:v>9.5845774263233124E-2</c:v>
                </c:pt>
                <c:pt idx="9778" formatCode="0.0%">
                  <c:v>8.3444338002705815E-2</c:v>
                </c:pt>
                <c:pt idx="9779" formatCode="0.0%">
                  <c:v>8.9227228891738716E-2</c:v>
                </c:pt>
                <c:pt idx="9780" formatCode="0.0%">
                  <c:v>8.7477986761229573E-2</c:v>
                </c:pt>
                <c:pt idx="9781" formatCode="0.0%">
                  <c:v>8.455359550829071E-2</c:v>
                </c:pt>
                <c:pt idx="9782" formatCode="0.0%">
                  <c:v>8.4132008249532264E-2</c:v>
                </c:pt>
                <c:pt idx="9783" formatCode="0.0%">
                  <c:v>8.4118268202727151E-2</c:v>
                </c:pt>
                <c:pt idx="9784" formatCode="0.0%">
                  <c:v>8.1797591082211143E-2</c:v>
                </c:pt>
                <c:pt idx="9785" formatCode="0.0%">
                  <c:v>8.4684952764318186E-2</c:v>
                </c:pt>
                <c:pt idx="9786" formatCode="0.0%">
                  <c:v>8.0725103046786512E-2</c:v>
                </c:pt>
                <c:pt idx="9787" formatCode="0.0%">
                  <c:v>7.7464082473799115E-2</c:v>
                </c:pt>
                <c:pt idx="9788" formatCode="0.0%">
                  <c:v>7.6390278265670145E-2</c:v>
                </c:pt>
                <c:pt idx="9789" formatCode="0.0%">
                  <c:v>7.7165148603142233E-2</c:v>
                </c:pt>
                <c:pt idx="9790" formatCode="0.0%">
                  <c:v>7.9725576586277963E-2</c:v>
                </c:pt>
                <c:pt idx="9791" formatCode="0.0%">
                  <c:v>7.1536931628209691E-2</c:v>
                </c:pt>
                <c:pt idx="9792" formatCode="0.0%">
                  <c:v>7.1654855579884533E-2</c:v>
                </c:pt>
                <c:pt idx="9793" formatCode="0.0%">
                  <c:v>7.1702672065987599E-2</c:v>
                </c:pt>
                <c:pt idx="9794" formatCode="0.0%">
                  <c:v>7.3548536646429463E-2</c:v>
                </c:pt>
                <c:pt idx="9795" formatCode="0.0%">
                  <c:v>7.447963370899717E-2</c:v>
                </c:pt>
                <c:pt idx="9796" formatCode="0.0%">
                  <c:v>7.722608344740832E-2</c:v>
                </c:pt>
                <c:pt idx="9797" formatCode="0.0%">
                  <c:v>7.4602041169551145E-2</c:v>
                </c:pt>
                <c:pt idx="9798" formatCode="0.0%">
                  <c:v>7.2902366323444809E-2</c:v>
                </c:pt>
                <c:pt idx="9799" formatCode="0.0%">
                  <c:v>6.7225349902303097E-2</c:v>
                </c:pt>
                <c:pt idx="9800" formatCode="0.0%">
                  <c:v>6.4857641392298784E-2</c:v>
                </c:pt>
                <c:pt idx="9801" formatCode="0.0%">
                  <c:v>6.8300404529426637E-2</c:v>
                </c:pt>
                <c:pt idx="9802" formatCode="0.0%">
                  <c:v>6.8043320086439735E-2</c:v>
                </c:pt>
                <c:pt idx="9803" formatCode="0.0%">
                  <c:v>7.115177202179114E-2</c:v>
                </c:pt>
                <c:pt idx="9804" formatCode="0.0%">
                  <c:v>7.1220822233605569E-2</c:v>
                </c:pt>
                <c:pt idx="9805" formatCode="0.0%">
                  <c:v>6.4419354488731012E-2</c:v>
                </c:pt>
                <c:pt idx="9806" formatCode="0.0%">
                  <c:v>6.441692198954635E-2</c:v>
                </c:pt>
                <c:pt idx="9807" formatCode="0.0%">
                  <c:v>7.5709659540805205E-2</c:v>
                </c:pt>
                <c:pt idx="9808" formatCode="0.0%">
                  <c:v>7.3997488208291079E-2</c:v>
                </c:pt>
                <c:pt idx="9809" formatCode="0.0%">
                  <c:v>8.2367553645546043E-2</c:v>
                </c:pt>
                <c:pt idx="9810" formatCode="0.0%">
                  <c:v>8.3437659977311229E-2</c:v>
                </c:pt>
                <c:pt idx="9811" formatCode="0.0%">
                  <c:v>8.2952497817662826E-2</c:v>
                </c:pt>
                <c:pt idx="9812" formatCode="0.0%">
                  <c:v>8.0071636482234726E-2</c:v>
                </c:pt>
                <c:pt idx="9813" formatCode="0.0%">
                  <c:v>7.9533063390960515E-2</c:v>
                </c:pt>
                <c:pt idx="9814" formatCode="0.0%">
                  <c:v>7.8650434784462389E-2</c:v>
                </c:pt>
                <c:pt idx="9815" formatCode="0.0%">
                  <c:v>7.3240345975518956E-2</c:v>
                </c:pt>
                <c:pt idx="9816" formatCode="0.0%">
                  <c:v>7.2210749453382864E-2</c:v>
                </c:pt>
                <c:pt idx="9817" formatCode="0.0%">
                  <c:v>7.5274608867516343E-2</c:v>
                </c:pt>
                <c:pt idx="9818" formatCode="0.0%">
                  <c:v>7.541905713221092E-2</c:v>
                </c:pt>
                <c:pt idx="9819" formatCode="0.0%">
                  <c:v>7.8999020462216629E-2</c:v>
                </c:pt>
                <c:pt idx="9820" formatCode="0.0%">
                  <c:v>8.5862284880529646E-2</c:v>
                </c:pt>
                <c:pt idx="9821" formatCode="0.0%">
                  <c:v>8.3217417013369238E-2</c:v>
                </c:pt>
                <c:pt idx="9822" formatCode="0.0%">
                  <c:v>8.3420700754585256E-2</c:v>
                </c:pt>
                <c:pt idx="9823" formatCode="0.0%">
                  <c:v>8.0537423808894157E-2</c:v>
                </c:pt>
                <c:pt idx="9824" formatCode="0.0%">
                  <c:v>8.0247019971039849E-2</c:v>
                </c:pt>
                <c:pt idx="9825" formatCode="0.0%">
                  <c:v>8.2974562131873056E-2</c:v>
                </c:pt>
                <c:pt idx="9826" formatCode="0.0%">
                  <c:v>8.310248063627218E-2</c:v>
                </c:pt>
                <c:pt idx="9827" formatCode="0.0%">
                  <c:v>6.8218285678431606E-2</c:v>
                </c:pt>
                <c:pt idx="9828" formatCode="0.0%">
                  <c:v>6.9866257161505019E-2</c:v>
                </c:pt>
                <c:pt idx="9829" formatCode="0.0%">
                  <c:v>6.3437231727960258E-2</c:v>
                </c:pt>
                <c:pt idx="9830" formatCode="0.0%">
                  <c:v>6.6690927087991264E-2</c:v>
                </c:pt>
                <c:pt idx="9831" formatCode="0.0%">
                  <c:v>7.8793893571453263E-2</c:v>
                </c:pt>
                <c:pt idx="9832" formatCode="0.0%">
                  <c:v>7.8215849779404351E-2</c:v>
                </c:pt>
                <c:pt idx="9833" formatCode="0.0%">
                  <c:v>8.0825298418446628E-2</c:v>
                </c:pt>
                <c:pt idx="9834" formatCode="0.0%">
                  <c:v>8.0862114249764208E-2</c:v>
                </c:pt>
                <c:pt idx="9835" formatCode="0.0%">
                  <c:v>8.4583085819452106E-2</c:v>
                </c:pt>
                <c:pt idx="9836" formatCode="0.0%">
                  <c:v>9.5225154515531887E-2</c:v>
                </c:pt>
                <c:pt idx="9837" formatCode="0.0%">
                  <c:v>9.706758476333853E-2</c:v>
                </c:pt>
                <c:pt idx="9838" formatCode="0.0%">
                  <c:v>9.7105679372970405E-2</c:v>
                </c:pt>
                <c:pt idx="9839" formatCode="0.0%">
                  <c:v>9.4992847733876493E-2</c:v>
                </c:pt>
                <c:pt idx="9840" formatCode="0.0%">
                  <c:v>9.6051272923841052E-2</c:v>
                </c:pt>
                <c:pt idx="9841" formatCode="0.0%">
                  <c:v>9.8989392456019773E-2</c:v>
                </c:pt>
                <c:pt idx="9842" formatCode="0.0%">
                  <c:v>0.10304365605566095</c:v>
                </c:pt>
                <c:pt idx="9843" formatCode="0.0%">
                  <c:v>0.10237976615825345</c:v>
                </c:pt>
                <c:pt idx="9844" formatCode="0.0%">
                  <c:v>0.10222750640070526</c:v>
                </c:pt>
                <c:pt idx="9845" formatCode="0.0%">
                  <c:v>9.9334040360802803E-2</c:v>
                </c:pt>
                <c:pt idx="9846" formatCode="0.0%">
                  <c:v>9.9614681943294078E-2</c:v>
                </c:pt>
                <c:pt idx="9847" formatCode="0.0%">
                  <c:v>0.10075668124488257</c:v>
                </c:pt>
                <c:pt idx="9848" formatCode="0.0%">
                  <c:v>0.10039593919015379</c:v>
                </c:pt>
                <c:pt idx="9849" formatCode="0.0%">
                  <c:v>0.10336700958686874</c:v>
                </c:pt>
                <c:pt idx="9850" formatCode="0.0%">
                  <c:v>9.9791269109101896E-2</c:v>
                </c:pt>
                <c:pt idx="9851" formatCode="0.0%">
                  <c:v>8.8924881053533647E-2</c:v>
                </c:pt>
                <c:pt idx="9852" formatCode="0.0%">
                  <c:v>8.9960769730982937E-2</c:v>
                </c:pt>
                <c:pt idx="9853" formatCode="0.0%">
                  <c:v>8.8759120333287214E-2</c:v>
                </c:pt>
                <c:pt idx="9854" formatCode="0.0%">
                  <c:v>8.9040732198998634E-2</c:v>
                </c:pt>
                <c:pt idx="9855" formatCode="0.0%">
                  <c:v>8.2864973482263307E-2</c:v>
                </c:pt>
                <c:pt idx="9856" formatCode="0.0%">
                  <c:v>6.0170297946899071E-2</c:v>
                </c:pt>
                <c:pt idx="9857" formatCode="0.0%">
                  <c:v>7.6051420068902129E-2</c:v>
                </c:pt>
                <c:pt idx="9858" formatCode="0.0%">
                  <c:v>7.7243638120060201E-2</c:v>
                </c:pt>
                <c:pt idx="9859" formatCode="0.0%">
                  <c:v>7.5184675336183296E-2</c:v>
                </c:pt>
                <c:pt idx="9860" formatCode="0.0%">
                  <c:v>7.0326057494587285E-2</c:v>
                </c:pt>
                <c:pt idx="9861" formatCode="0.0%">
                  <c:v>7.5577216391563978E-2</c:v>
                </c:pt>
                <c:pt idx="9862" formatCode="0.0%">
                  <c:v>7.1349271212298865E-2</c:v>
                </c:pt>
                <c:pt idx="9863" formatCode="0.0%">
                  <c:v>7.3155412600149933E-2</c:v>
                </c:pt>
                <c:pt idx="9864" formatCode="0.0%">
                  <c:v>7.3784415882885868E-2</c:v>
                </c:pt>
                <c:pt idx="9865" formatCode="0.0%">
                  <c:v>7.5675940115387683E-2</c:v>
                </c:pt>
                <c:pt idx="9866" formatCode="0.0%">
                  <c:v>7.5848854875066832E-2</c:v>
                </c:pt>
                <c:pt idx="9867" formatCode="0.0%">
                  <c:v>7.4063409978854286E-2</c:v>
                </c:pt>
                <c:pt idx="9868" formatCode="0.0%">
                  <c:v>8.2998059367502139E-2</c:v>
                </c:pt>
                <c:pt idx="9869" formatCode="0.0%">
                  <c:v>8.7697260396157078E-2</c:v>
                </c:pt>
                <c:pt idx="9870" formatCode="0.0%">
                  <c:v>8.6726457104088508E-2</c:v>
                </c:pt>
                <c:pt idx="9871" formatCode="0.0%">
                  <c:v>8.7742732086201744E-2</c:v>
                </c:pt>
                <c:pt idx="9872" formatCode="0.0%">
                  <c:v>0.10063458579731681</c:v>
                </c:pt>
                <c:pt idx="9873" formatCode="0.0%">
                  <c:v>0.11330076090540575</c:v>
                </c:pt>
                <c:pt idx="9874" formatCode="0.0%">
                  <c:v>0.11115513294627137</c:v>
                </c:pt>
                <c:pt idx="9875" formatCode="0.0%">
                  <c:v>0.11900799308615972</c:v>
                </c:pt>
                <c:pt idx="9876" formatCode="0.0%">
                  <c:v>0.14462474882227269</c:v>
                </c:pt>
                <c:pt idx="9877" formatCode="0.0%">
                  <c:v>0.1453663162734827</c:v>
                </c:pt>
                <c:pt idx="9878" formatCode="0.0%">
                  <c:v>0.14726883094172552</c:v>
                </c:pt>
                <c:pt idx="9879" formatCode="0.0%">
                  <c:v>0.14632572338161476</c:v>
                </c:pt>
                <c:pt idx="9880" formatCode="0.0%">
                  <c:v>0.14789928749379236</c:v>
                </c:pt>
                <c:pt idx="9881" formatCode="0.0%">
                  <c:v>0.14713741088874455</c:v>
                </c:pt>
                <c:pt idx="9882" formatCode="0.0%">
                  <c:v>0.14628347639607306</c:v>
                </c:pt>
                <c:pt idx="9883" formatCode="0.0%">
                  <c:v>0.14576766111847556</c:v>
                </c:pt>
                <c:pt idx="9884" formatCode="0.0%">
                  <c:v>0.14547170937837811</c:v>
                </c:pt>
                <c:pt idx="9885" formatCode="0.0%">
                  <c:v>0.14428762397502309</c:v>
                </c:pt>
                <c:pt idx="9886" formatCode="0.0%">
                  <c:v>0.14329212248760753</c:v>
                </c:pt>
                <c:pt idx="9887" formatCode="0.0%">
                  <c:v>0.14256469199623831</c:v>
                </c:pt>
                <c:pt idx="9888" formatCode="0.0%">
                  <c:v>0.1358237084919118</c:v>
                </c:pt>
                <c:pt idx="9889" formatCode="0.0%">
                  <c:v>0.13041694155874364</c:v>
                </c:pt>
                <c:pt idx="9890" formatCode="0.0%">
                  <c:v>0.13099303201516718</c:v>
                </c:pt>
                <c:pt idx="9891" formatCode="0.0%">
                  <c:v>0.13014455592034913</c:v>
                </c:pt>
                <c:pt idx="9892" formatCode="0.0%">
                  <c:v>0.11538585447895518</c:v>
                </c:pt>
                <c:pt idx="9893" formatCode="0.0%">
                  <c:v>0.1088314138776475</c:v>
                </c:pt>
                <c:pt idx="9894" formatCode="0.0%">
                  <c:v>0.10756670371637923</c:v>
                </c:pt>
                <c:pt idx="9895" formatCode="0.0%">
                  <c:v>9.0277256836324662E-2</c:v>
                </c:pt>
                <c:pt idx="9896" formatCode="0.0%">
                  <c:v>5.9096917126143345E-2</c:v>
                </c:pt>
                <c:pt idx="9897" formatCode="0.0%">
                  <c:v>5.3260020202194662E-2</c:v>
                </c:pt>
                <c:pt idx="9898" formatCode="0.0%">
                  <c:v>5.173978770610331E-2</c:v>
                </c:pt>
                <c:pt idx="9899" formatCode="0.0%">
                  <c:v>5.317758654794718E-2</c:v>
                </c:pt>
                <c:pt idx="9900" formatCode="0.0%">
                  <c:v>5.2508362101903336E-2</c:v>
                </c:pt>
                <c:pt idx="9901" formatCode="0.0%">
                  <c:v>4.7486955622142682E-2</c:v>
                </c:pt>
                <c:pt idx="9902" formatCode="0.0%">
                  <c:v>4.67369476057466E-2</c:v>
                </c:pt>
                <c:pt idx="9903" formatCode="0.0%">
                  <c:v>4.8222692822038608E-2</c:v>
                </c:pt>
                <c:pt idx="9904" formatCode="0.0%">
                  <c:v>4.819889049494723E-2</c:v>
                </c:pt>
                <c:pt idx="9905" formatCode="0.0%">
                  <c:v>5.5769951311801721E-2</c:v>
                </c:pt>
                <c:pt idx="9906" formatCode="0.0%">
                  <c:v>5.5796945451399613E-2</c:v>
                </c:pt>
                <c:pt idx="9907" formatCode="0.0%">
                  <c:v>5.4294396500634785E-2</c:v>
                </c:pt>
                <c:pt idx="9908" formatCode="0.0%">
                  <c:v>5.2910313184781156E-2</c:v>
                </c:pt>
                <c:pt idx="9909" formatCode="0.0%">
                  <c:v>5.5145881234453471E-2</c:v>
                </c:pt>
                <c:pt idx="9910" formatCode="0.0%">
                  <c:v>5.2221338783494289E-2</c:v>
                </c:pt>
                <c:pt idx="9911" formatCode="0.0%">
                  <c:v>4.9498248518524926E-2</c:v>
                </c:pt>
                <c:pt idx="9912" formatCode="0.0%">
                  <c:v>4.9522611476104532E-2</c:v>
                </c:pt>
                <c:pt idx="9913" formatCode="0.0%">
                  <c:v>4.2792959836560625E-2</c:v>
                </c:pt>
                <c:pt idx="9914" formatCode="0.0%">
                  <c:v>3.974433538369123E-2</c:v>
                </c:pt>
                <c:pt idx="9915" formatCode="0.0%">
                  <c:v>4.2537735194009378E-2</c:v>
                </c:pt>
                <c:pt idx="9916" formatCode="0.0%">
                  <c:v>4.2083749732405536E-2</c:v>
                </c:pt>
                <c:pt idx="9917" formatCode="0.0%">
                  <c:v>4.2895439630329241E-2</c:v>
                </c:pt>
                <c:pt idx="9918" formatCode="0.0%">
                  <c:v>4.2440937336199497E-2</c:v>
                </c:pt>
                <c:pt idx="9919" formatCode="0.0%">
                  <c:v>4.5192042357684988E-2</c:v>
                </c:pt>
                <c:pt idx="9920" formatCode="0.0%">
                  <c:v>4.403204472320963E-2</c:v>
                </c:pt>
                <c:pt idx="9921" formatCode="0.0%">
                  <c:v>4.3089871222949168E-2</c:v>
                </c:pt>
                <c:pt idx="9922" formatCode="0.0%">
                  <c:v>4.5565901808716773E-2</c:v>
                </c:pt>
                <c:pt idx="9923" formatCode="0.0%">
                  <c:v>4.9177785570013059E-2</c:v>
                </c:pt>
                <c:pt idx="9924" formatCode="0.0%">
                  <c:v>5.447935229787694E-2</c:v>
                </c:pt>
                <c:pt idx="9925" formatCode="0.0%">
                  <c:v>4.776880736561951E-2</c:v>
                </c:pt>
                <c:pt idx="9926" formatCode="0.0%">
                  <c:v>4.8779738124242834E-2</c:v>
                </c:pt>
                <c:pt idx="9927" formatCode="0.0%">
                  <c:v>4.841303395716464E-2</c:v>
                </c:pt>
                <c:pt idx="9928" formatCode="0.0%">
                  <c:v>4.8244486499091396E-2</c:v>
                </c:pt>
                <c:pt idx="9929" formatCode="0.0%">
                  <c:v>5.1190156181220962E-2</c:v>
                </c:pt>
                <c:pt idx="9930" formatCode="0.0%">
                  <c:v>5.5054905317474728E-2</c:v>
                </c:pt>
                <c:pt idx="9931" formatCode="0.0%">
                  <c:v>5.3733610689301568E-2</c:v>
                </c:pt>
                <c:pt idx="9932" formatCode="0.0%">
                  <c:v>5.539448877052236E-2</c:v>
                </c:pt>
                <c:pt idx="9933" formatCode="0.0%">
                  <c:v>5.6128934614845645E-2</c:v>
                </c:pt>
                <c:pt idx="9934" formatCode="0.0%">
                  <c:v>5.4425185860961824E-2</c:v>
                </c:pt>
                <c:pt idx="9935" formatCode="0.0%">
                  <c:v>4.8568295452570243E-2</c:v>
                </c:pt>
                <c:pt idx="9936" formatCode="0.0%">
                  <c:v>4.5694924636625625E-2</c:v>
                </c:pt>
                <c:pt idx="9937" formatCode="0.0%">
                  <c:v>5.2970491381662405E-2</c:v>
                </c:pt>
                <c:pt idx="9938" formatCode="0.0%">
                  <c:v>5.2221660274512485E-2</c:v>
                </c:pt>
                <c:pt idx="9939" formatCode="0.0%">
                  <c:v>5.7113587182455607E-2</c:v>
                </c:pt>
                <c:pt idx="9940" formatCode="0.0%">
                  <c:v>5.7505512030125022E-2</c:v>
                </c:pt>
                <c:pt idx="9941" formatCode="0.0%">
                  <c:v>5.7186417610882771E-2</c:v>
                </c:pt>
                <c:pt idx="9942" formatCode="0.0%">
                  <c:v>5.6873930095957134E-2</c:v>
                </c:pt>
                <c:pt idx="9943" formatCode="0.0%">
                  <c:v>5.60837717111951E-2</c:v>
                </c:pt>
                <c:pt idx="9944" formatCode="0.0%">
                  <c:v>5.5495640944558298E-2</c:v>
                </c:pt>
                <c:pt idx="9945" formatCode="0.0%">
                  <c:v>6.6407042889236906E-2</c:v>
                </c:pt>
                <c:pt idx="9946" formatCode="0.0%">
                  <c:v>6.5662829352821292E-2</c:v>
                </c:pt>
                <c:pt idx="9947" formatCode="0.0%">
                  <c:v>6.5664634433581559E-2</c:v>
                </c:pt>
                <c:pt idx="9948" formatCode="0.0%">
                  <c:v>6.594589586821957E-2</c:v>
                </c:pt>
                <c:pt idx="9949" formatCode="0.0%">
                  <c:v>6.3790543703818661E-2</c:v>
                </c:pt>
                <c:pt idx="9950" formatCode="0.0%">
                  <c:v>5.941735922410523E-2</c:v>
                </c:pt>
                <c:pt idx="9951" formatCode="0.0%">
                  <c:v>6.1249658382261297E-2</c:v>
                </c:pt>
                <c:pt idx="9952" formatCode="0.0%">
                  <c:v>5.5023166369166765E-2</c:v>
                </c:pt>
                <c:pt idx="9953" formatCode="0.0%">
                  <c:v>5.1494073411330117E-2</c:v>
                </c:pt>
                <c:pt idx="9954" formatCode="0.0%">
                  <c:v>6.41137990341243E-2</c:v>
                </c:pt>
                <c:pt idx="9955" formatCode="0.0%">
                  <c:v>6.4428687077370664E-2</c:v>
                </c:pt>
                <c:pt idx="9956" formatCode="0.0%">
                  <c:v>6.4843365363980082E-2</c:v>
                </c:pt>
                <c:pt idx="9957" formatCode="0.0%">
                  <c:v>6.3622074134676312E-2</c:v>
                </c:pt>
                <c:pt idx="9958" formatCode="0.0%">
                  <c:v>6.6632116201989763E-2</c:v>
                </c:pt>
                <c:pt idx="9959" formatCode="0.0%">
                  <c:v>6.5203230173918048E-2</c:v>
                </c:pt>
                <c:pt idx="9960" formatCode="0.0%">
                  <c:v>6.6350611293514744E-2</c:v>
                </c:pt>
                <c:pt idx="9961" formatCode="0.0%">
                  <c:v>6.6211812148645507E-2</c:v>
                </c:pt>
                <c:pt idx="9962" formatCode="0.0%">
                  <c:v>6.8295244223858007E-2</c:v>
                </c:pt>
                <c:pt idx="9963" formatCode="0.0%">
                  <c:v>6.8385911657656645E-2</c:v>
                </c:pt>
                <c:pt idx="9964" formatCode="0.0%">
                  <c:v>7.345638624685058E-2</c:v>
                </c:pt>
                <c:pt idx="9965" formatCode="0.0%">
                  <c:v>6.7019165012936574E-2</c:v>
                </c:pt>
                <c:pt idx="9966" formatCode="0.0%">
                  <c:v>7.0544458264843457E-2</c:v>
                </c:pt>
                <c:pt idx="9967" formatCode="0.0%">
                  <c:v>7.1197138577124924E-2</c:v>
                </c:pt>
                <c:pt idx="9968" formatCode="0.0%">
                  <c:v>7.5335933634522331E-2</c:v>
                </c:pt>
                <c:pt idx="9969" formatCode="0.0%">
                  <c:v>7.4838211152256792E-2</c:v>
                </c:pt>
                <c:pt idx="9970" formatCode="0.0%">
                  <c:v>7.5718869603480024E-2</c:v>
                </c:pt>
                <c:pt idx="9971" formatCode="0.0%">
                  <c:v>7.1856714239770261E-2</c:v>
                </c:pt>
                <c:pt idx="9972" formatCode="0.0%">
                  <c:v>7.0821892247790216E-2</c:v>
                </c:pt>
                <c:pt idx="9973" formatCode="0.0%">
                  <c:v>6.692903996812942E-2</c:v>
                </c:pt>
                <c:pt idx="9974" formatCode="0.0%">
                  <c:v>6.3566853236369361E-2</c:v>
                </c:pt>
                <c:pt idx="9975" formatCode="0.0%">
                  <c:v>6.3861291726378625E-2</c:v>
                </c:pt>
                <c:pt idx="9976" formatCode="0.0%">
                  <c:v>6.6824419132254995E-2</c:v>
                </c:pt>
                <c:pt idx="9977" formatCode="0.0%">
                  <c:v>6.6954204111616067E-2</c:v>
                </c:pt>
                <c:pt idx="9978" formatCode="0.0%">
                  <c:v>6.6030300107481746E-2</c:v>
                </c:pt>
                <c:pt idx="9979" formatCode="0.0%">
                  <c:v>7.072917017105726E-2</c:v>
                </c:pt>
                <c:pt idx="9980" formatCode="0.0%">
                  <c:v>8.1347311856422522E-2</c:v>
                </c:pt>
                <c:pt idx="9981" formatCode="0.0%">
                  <c:v>7.9882915134652288E-2</c:v>
                </c:pt>
                <c:pt idx="9982" formatCode="0.0%">
                  <c:v>7.445321927845848E-2</c:v>
                </c:pt>
                <c:pt idx="9983" formatCode="0.0%">
                  <c:v>7.1597015119849977E-2</c:v>
                </c:pt>
                <c:pt idx="9984" formatCode="0.0%">
                  <c:v>7.0294668918511646E-2</c:v>
                </c:pt>
                <c:pt idx="9985" formatCode="0.0%">
                  <c:v>7.5321396698564011E-2</c:v>
                </c:pt>
                <c:pt idx="9986" formatCode="0.0%">
                  <c:v>8.0620149140649855E-2</c:v>
                </c:pt>
                <c:pt idx="9987" formatCode="0.0%">
                  <c:v>7.8873194819108525E-2</c:v>
                </c:pt>
                <c:pt idx="9988" formatCode="0.0%">
                  <c:v>7.759299927349296E-2</c:v>
                </c:pt>
                <c:pt idx="9989" formatCode="0.0%">
                  <c:v>8.0510776745486123E-2</c:v>
                </c:pt>
                <c:pt idx="9990" formatCode="0.0%">
                  <c:v>8.8104007208688939E-2</c:v>
                </c:pt>
                <c:pt idx="9991" formatCode="0.0%">
                  <c:v>8.8361307640824269E-2</c:v>
                </c:pt>
                <c:pt idx="9992" formatCode="0.0%">
                  <c:v>9.6917167481325742E-2</c:v>
                </c:pt>
                <c:pt idx="9993" formatCode="0.0%">
                  <c:v>0.11488483311563574</c:v>
                </c:pt>
                <c:pt idx="9994" formatCode="0.0%">
                  <c:v>0.11594126124521968</c:v>
                </c:pt>
                <c:pt idx="9995" formatCode="0.0%">
                  <c:v>0.11635086697563943</c:v>
                </c:pt>
                <c:pt idx="9996" formatCode="0.0%">
                  <c:v>0.11563258097112648</c:v>
                </c:pt>
                <c:pt idx="9997" formatCode="0.0%">
                  <c:v>0.11632159130751718</c:v>
                </c:pt>
                <c:pt idx="9998" formatCode="0.0%">
                  <c:v>0.1161821619233816</c:v>
                </c:pt>
                <c:pt idx="9999" formatCode="0.0%">
                  <c:v>0.11249331827722518</c:v>
                </c:pt>
                <c:pt idx="10000" formatCode="0.0%">
                  <c:v>0.10309601509045815</c:v>
                </c:pt>
                <c:pt idx="10001" formatCode="0.0%">
                  <c:v>0.10303052854950576</c:v>
                </c:pt>
                <c:pt idx="10002" formatCode="0.0%">
                  <c:v>9.9103433240190636E-2</c:v>
                </c:pt>
                <c:pt idx="10003" formatCode="0.0%">
                  <c:v>9.7547990147583433E-2</c:v>
                </c:pt>
                <c:pt idx="10004" formatCode="0.0%">
                  <c:v>9.5880880319128531E-2</c:v>
                </c:pt>
                <c:pt idx="10005" formatCode="0.0%">
                  <c:v>9.6144204199133443E-2</c:v>
                </c:pt>
                <c:pt idx="10006" formatCode="0.0%">
                  <c:v>9.6147137166251881E-2</c:v>
                </c:pt>
                <c:pt idx="10007" formatCode="0.0%">
                  <c:v>9.5450717899287357E-2</c:v>
                </c:pt>
                <c:pt idx="10008" formatCode="0.0%">
                  <c:v>9.0848432409293453E-2</c:v>
                </c:pt>
                <c:pt idx="10009" formatCode="0.0%">
                  <c:v>9.0592874321293204E-2</c:v>
                </c:pt>
                <c:pt idx="10010" formatCode="0.0%">
                  <c:v>8.9361881306247476E-2</c:v>
                </c:pt>
                <c:pt idx="10011" formatCode="0.0%">
                  <c:v>9.0381044738442384E-2</c:v>
                </c:pt>
                <c:pt idx="10012" formatCode="0.0%">
                  <c:v>7.5307272797655173E-2</c:v>
                </c:pt>
                <c:pt idx="10013" formatCode="0.0%">
                  <c:v>5.6265384005934206E-2</c:v>
                </c:pt>
                <c:pt idx="10014" formatCode="0.0%">
                  <c:v>5.3622175568236334E-2</c:v>
                </c:pt>
                <c:pt idx="10015" formatCode="0.0%">
                  <c:v>5.4085316470076167E-2</c:v>
                </c:pt>
                <c:pt idx="10016" formatCode="0.0%">
                  <c:v>5.3466649414116232E-2</c:v>
                </c:pt>
                <c:pt idx="10017" formatCode="0.0%">
                  <c:v>5.7218023535086267E-2</c:v>
                </c:pt>
                <c:pt idx="10018" formatCode="0.0%">
                  <c:v>5.7259363230300099E-2</c:v>
                </c:pt>
                <c:pt idx="10019" formatCode="0.0%">
                  <c:v>5.5968765209019243E-2</c:v>
                </c:pt>
                <c:pt idx="10020" formatCode="0.0%">
                  <c:v>5.6581774625250991E-2</c:v>
                </c:pt>
                <c:pt idx="10021" formatCode="0.0%">
                  <c:v>5.5812538315453977E-2</c:v>
                </c:pt>
                <c:pt idx="10022" formatCode="0.0%">
                  <c:v>5.7030226169189617E-2</c:v>
                </c:pt>
                <c:pt idx="10023" formatCode="0.0%">
                  <c:v>5.9076756022051383E-2</c:v>
                </c:pt>
                <c:pt idx="10024" formatCode="0.0%">
                  <c:v>6.3680788232281751E-2</c:v>
                </c:pt>
                <c:pt idx="10025" formatCode="0.0%">
                  <c:v>6.3714042640320892E-2</c:v>
                </c:pt>
                <c:pt idx="10026" formatCode="0.0%">
                  <c:v>6.2217072662222872E-2</c:v>
                </c:pt>
                <c:pt idx="10027" formatCode="0.0%">
                  <c:v>6.1820302342807242E-2</c:v>
                </c:pt>
                <c:pt idx="10028" formatCode="0.0%">
                  <c:v>6.104740874328083E-2</c:v>
                </c:pt>
                <c:pt idx="10029" formatCode="0.0%">
                  <c:v>6.246676324058846E-2</c:v>
                </c:pt>
                <c:pt idx="10030" formatCode="0.0%">
                  <c:v>6.4462701207875783E-2</c:v>
                </c:pt>
                <c:pt idx="10031" formatCode="0.0%">
                  <c:v>6.3975386912899432E-2</c:v>
                </c:pt>
                <c:pt idx="10032" formatCode="0.0%">
                  <c:v>6.3758156076789307E-2</c:v>
                </c:pt>
                <c:pt idx="10033" formatCode="0.0%">
                  <c:v>6.2280500542220799E-2</c:v>
                </c:pt>
                <c:pt idx="10034" formatCode="0.0%">
                  <c:v>7.6391875000251852E-2</c:v>
                </c:pt>
                <c:pt idx="10035" formatCode="0.0%">
                  <c:v>7.7155290496584233E-2</c:v>
                </c:pt>
                <c:pt idx="10036" formatCode="0.0%">
                  <c:v>7.8502354462530982E-2</c:v>
                </c:pt>
                <c:pt idx="10037" formatCode="0.0%">
                  <c:v>7.3461759945776167E-2</c:v>
                </c:pt>
                <c:pt idx="10038" formatCode="0.0%">
                  <c:v>7.4124973042745748E-2</c:v>
                </c:pt>
                <c:pt idx="10039" formatCode="0.0%">
                  <c:v>6.8928939794470803E-2</c:v>
                </c:pt>
                <c:pt idx="10040" formatCode="0.0%">
                  <c:v>6.9542263848984959E-2</c:v>
                </c:pt>
                <c:pt idx="10041" formatCode="0.0%">
                  <c:v>7.1392998783600892E-2</c:v>
                </c:pt>
                <c:pt idx="10042" formatCode="0.0%">
                  <c:v>7.3561884382775944E-2</c:v>
                </c:pt>
                <c:pt idx="10043" formatCode="0.0%">
                  <c:v>6.8076446660296677E-2</c:v>
                </c:pt>
                <c:pt idx="10044" formatCode="0.0%">
                  <c:v>5.9554442436987029E-2</c:v>
                </c:pt>
                <c:pt idx="10045" formatCode="0.0%">
                  <c:v>6.0257365195144082E-2</c:v>
                </c:pt>
                <c:pt idx="10046" formatCode="0.0%">
                  <c:v>6.1385804930372281E-2</c:v>
                </c:pt>
                <c:pt idx="10047" formatCode="0.0%">
                  <c:v>7.0008916453435169E-2</c:v>
                </c:pt>
                <c:pt idx="10048" formatCode="0.0%">
                  <c:v>7.4322677462183684E-2</c:v>
                </c:pt>
                <c:pt idx="10049" formatCode="0.0%">
                  <c:v>7.6484232354702114E-2</c:v>
                </c:pt>
                <c:pt idx="10050" formatCode="0.0%">
                  <c:v>9.4431715838406607E-2</c:v>
                </c:pt>
                <c:pt idx="10051" formatCode="0.0%">
                  <c:v>9.5913736732241364E-2</c:v>
                </c:pt>
                <c:pt idx="10052" formatCode="0.0%">
                  <c:v>9.5652980720003694E-2</c:v>
                </c:pt>
                <c:pt idx="10053" formatCode="0.0%">
                  <c:v>9.8717737450980558E-2</c:v>
                </c:pt>
                <c:pt idx="10054" formatCode="0.0%">
                  <c:v>9.5354836899192968E-2</c:v>
                </c:pt>
                <c:pt idx="10055" formatCode="0.0%">
                  <c:v>9.7447291034473096E-2</c:v>
                </c:pt>
                <c:pt idx="10056" formatCode="0.0%">
                  <c:v>9.6821182125583286E-2</c:v>
                </c:pt>
                <c:pt idx="10057" formatCode="0.0%">
                  <c:v>9.9015988679685057E-2</c:v>
                </c:pt>
                <c:pt idx="10058" formatCode="0.0%">
                  <c:v>0.10033851799779654</c:v>
                </c:pt>
                <c:pt idx="10059" formatCode="0.0%">
                  <c:v>0.10103007690711024</c:v>
                </c:pt>
                <c:pt idx="10060" formatCode="0.0%">
                  <c:v>0.10288519576612776</c:v>
                </c:pt>
                <c:pt idx="10061" formatCode="0.0%">
                  <c:v>0.10119543634209895</c:v>
                </c:pt>
                <c:pt idx="10062" formatCode="0.0%">
                  <c:v>0.1073079993881576</c:v>
                </c:pt>
                <c:pt idx="10063" formatCode="0.0%">
                  <c:v>0.10729121965136773</c:v>
                </c:pt>
                <c:pt idx="10064" formatCode="0.0%">
                  <c:v>0.12815322056988379</c:v>
                </c:pt>
                <c:pt idx="10065" formatCode="0.0%">
                  <c:v>0.12798625682148432</c:v>
                </c:pt>
                <c:pt idx="10066" formatCode="0.0%">
                  <c:v>0.1274388935068691</c:v>
                </c:pt>
                <c:pt idx="10067" formatCode="0.0%">
                  <c:v>0.12962540739205627</c:v>
                </c:pt>
                <c:pt idx="10068" formatCode="0.0%">
                  <c:v>0.12288055611564332</c:v>
                </c:pt>
                <c:pt idx="10069" formatCode="0.0%">
                  <c:v>0.11859903820436965</c:v>
                </c:pt>
                <c:pt idx="10070" formatCode="0.0%">
                  <c:v>0.12981539588328384</c:v>
                </c:pt>
                <c:pt idx="10071" formatCode="0.0%">
                  <c:v>0.13413781330507571</c:v>
                </c:pt>
                <c:pt idx="10072" formatCode="0.0%">
                  <c:v>0.13531655134081333</c:v>
                </c:pt>
                <c:pt idx="10073" formatCode="0.0%">
                  <c:v>0.13629733963690122</c:v>
                </c:pt>
                <c:pt idx="10074" formatCode="0.0%">
                  <c:v>0.13417481878197585</c:v>
                </c:pt>
                <c:pt idx="10075" formatCode="0.0%">
                  <c:v>0.13427918116604456</c:v>
                </c:pt>
                <c:pt idx="10076" formatCode="0.0%">
                  <c:v>0.13432077187464153</c:v>
                </c:pt>
                <c:pt idx="10077" formatCode="0.0%">
                  <c:v>0.13213098932453515</c:v>
                </c:pt>
                <c:pt idx="10078" formatCode="0.0%">
                  <c:v>0.13394583279539382</c:v>
                </c:pt>
                <c:pt idx="10079" formatCode="0.0%">
                  <c:v>0.13672947878318825</c:v>
                </c:pt>
                <c:pt idx="10080" formatCode="0.0%">
                  <c:v>0.13366001704346273</c:v>
                </c:pt>
                <c:pt idx="10081" formatCode="0.0%">
                  <c:v>0.13534434883849639</c:v>
                </c:pt>
                <c:pt idx="10082" formatCode="0.0%">
                  <c:v>0.15029367177311567</c:v>
                </c:pt>
                <c:pt idx="10083" formatCode="0.0%">
                  <c:v>0.14926394226426368</c:v>
                </c:pt>
                <c:pt idx="10084" formatCode="0.0%">
                  <c:v>0.14101082665893167</c:v>
                </c:pt>
                <c:pt idx="10085" formatCode="0.0%">
                  <c:v>0.14026876750911157</c:v>
                </c:pt>
                <c:pt idx="10086" formatCode="0.0%">
                  <c:v>0.14303255075631674</c:v>
                </c:pt>
                <c:pt idx="10087" formatCode="0.0%">
                  <c:v>0.14910769421517461</c:v>
                </c:pt>
                <c:pt idx="10088" formatCode="0.0%">
                  <c:v>0.1500026082081444</c:v>
                </c:pt>
                <c:pt idx="10089" formatCode="0.0%">
                  <c:v>0.15015922348057129</c:v>
                </c:pt>
                <c:pt idx="10090" formatCode="0.0%">
                  <c:v>0.12484075833410697</c:v>
                </c:pt>
                <c:pt idx="10091" formatCode="0.0%">
                  <c:v>0.12458071064261997</c:v>
                </c:pt>
                <c:pt idx="10092" formatCode="0.0%">
                  <c:v>0.12467019084085877</c:v>
                </c:pt>
                <c:pt idx="10093" formatCode="0.0%">
                  <c:v>0.11836240631845267</c:v>
                </c:pt>
                <c:pt idx="10094" formatCode="0.0%">
                  <c:v>0.13235750287970091</c:v>
                </c:pt>
                <c:pt idx="10095" formatCode="0.0%">
                  <c:v>0.13051790355151544</c:v>
                </c:pt>
                <c:pt idx="10096" formatCode="0.0%">
                  <c:v>0.1332719372114983</c:v>
                </c:pt>
                <c:pt idx="10097" formatCode="0.0%">
                  <c:v>0.13223423654737795</c:v>
                </c:pt>
                <c:pt idx="10098" formatCode="0.0%">
                  <c:v>0.13203482338643932</c:v>
                </c:pt>
                <c:pt idx="10099" formatCode="0.0%">
                  <c:v>0.1312983835514446</c:v>
                </c:pt>
                <c:pt idx="10100" formatCode="0.0%">
                  <c:v>0.13008385724266111</c:v>
                </c:pt>
                <c:pt idx="10101" formatCode="0.0%">
                  <c:v>0.13003071550804896</c:v>
                </c:pt>
                <c:pt idx="10102" formatCode="0.0%">
                  <c:v>0.10368245906906656</c:v>
                </c:pt>
                <c:pt idx="10103" formatCode="0.0%">
                  <c:v>0.10427869562880067</c:v>
                </c:pt>
                <c:pt idx="10104" formatCode="0.0%">
                  <c:v>0.10226756277567259</c:v>
                </c:pt>
                <c:pt idx="10105" formatCode="0.0%">
                  <c:v>0.10420320827352321</c:v>
                </c:pt>
                <c:pt idx="10106" formatCode="0.0%">
                  <c:v>0.10006145714953402</c:v>
                </c:pt>
                <c:pt idx="10107" formatCode="0.0%">
                  <c:v>8.39094305275878E-2</c:v>
                </c:pt>
                <c:pt idx="10108" formatCode="0.0%">
                  <c:v>8.5078675331939912E-2</c:v>
                </c:pt>
                <c:pt idx="10109" formatCode="0.0%">
                  <c:v>8.0270016358620633E-2</c:v>
                </c:pt>
                <c:pt idx="10110" formatCode="0.0%">
                  <c:v>8.1618682612666513E-2</c:v>
                </c:pt>
                <c:pt idx="10111" formatCode="0.0%">
                  <c:v>8.1784396995041739E-2</c:v>
                </c:pt>
                <c:pt idx="10112" formatCode="0.0%">
                  <c:v>8.17767744458507E-2</c:v>
                </c:pt>
                <c:pt idx="10113" formatCode="0.0%">
                  <c:v>8.3562088647371344E-2</c:v>
                </c:pt>
                <c:pt idx="10114" formatCode="0.0%">
                  <c:v>7.3848525364407308E-2</c:v>
                </c:pt>
                <c:pt idx="10115" formatCode="0.0%">
                  <c:v>7.2937060440723345E-2</c:v>
                </c:pt>
                <c:pt idx="10116" formatCode="0.0%">
                  <c:v>6.1512791201268249E-2</c:v>
                </c:pt>
                <c:pt idx="10117" formatCode="0.0%">
                  <c:v>6.1936657375701622E-2</c:v>
                </c:pt>
                <c:pt idx="10118" formatCode="0.0%">
                  <c:v>6.1585063773397092E-2</c:v>
                </c:pt>
                <c:pt idx="10119" formatCode="0.0%">
                  <c:v>6.0990722408779119E-2</c:v>
                </c:pt>
                <c:pt idx="10120" formatCode="0.0%">
                  <c:v>6.0441391205887041E-2</c:v>
                </c:pt>
                <c:pt idx="10121" formatCode="0.0%">
                  <c:v>6.4815211761130601E-2</c:v>
                </c:pt>
                <c:pt idx="10122" formatCode="0.0%">
                  <c:v>6.4229757151683595E-2</c:v>
                </c:pt>
                <c:pt idx="10123" formatCode="0.0%">
                  <c:v>6.6257496558684584E-2</c:v>
                </c:pt>
                <c:pt idx="10124" formatCode="0.0%">
                  <c:v>8.1066338555092793E-2</c:v>
                </c:pt>
                <c:pt idx="10125" formatCode="0.0%">
                  <c:v>8.052010943271723E-2</c:v>
                </c:pt>
                <c:pt idx="10126" formatCode="0.0%">
                  <c:v>8.1238014718027135E-2</c:v>
                </c:pt>
                <c:pt idx="10127" formatCode="0.0%">
                  <c:v>8.5003312865884931E-2</c:v>
                </c:pt>
                <c:pt idx="10128" formatCode="0.0%">
                  <c:v>8.3707258780251509E-2</c:v>
                </c:pt>
                <c:pt idx="10129" formatCode="0.0%">
                  <c:v>8.3698900366049142E-2</c:v>
                </c:pt>
                <c:pt idx="10130" formatCode="0.0%">
                  <c:v>8.1953769826553197E-2</c:v>
                </c:pt>
                <c:pt idx="10131" formatCode="0.0%">
                  <c:v>8.4096567307006098E-2</c:v>
                </c:pt>
                <c:pt idx="10132" formatCode="0.0%">
                  <c:v>8.4352223704660792E-2</c:v>
                </c:pt>
                <c:pt idx="10133" formatCode="0.0%">
                  <c:v>9.116307094450242E-2</c:v>
                </c:pt>
                <c:pt idx="10134" formatCode="0.0%">
                  <c:v>8.6199576076941967E-2</c:v>
                </c:pt>
                <c:pt idx="10135" formatCode="0.0%">
                  <c:v>8.3820385853976179E-2</c:v>
                </c:pt>
                <c:pt idx="10136" formatCode="0.0%">
                  <c:v>8.3128942871569508E-2</c:v>
                </c:pt>
                <c:pt idx="10137" formatCode="0.0%">
                  <c:v>8.46360100896002E-2</c:v>
                </c:pt>
                <c:pt idx="10138" formatCode="0.0%">
                  <c:v>8.5249848603976108E-2</c:v>
                </c:pt>
                <c:pt idx="10139" formatCode="0.0%">
                  <c:v>8.5727934142686119E-2</c:v>
                </c:pt>
                <c:pt idx="10140" formatCode="0.0%">
                  <c:v>8.7250186346092579E-2</c:v>
                </c:pt>
                <c:pt idx="10141" formatCode="0.0%">
                  <c:v>8.56975075953499E-2</c:v>
                </c:pt>
                <c:pt idx="10142" formatCode="0.0%">
                  <c:v>8.5822248708020465E-2</c:v>
                </c:pt>
                <c:pt idx="10143" formatCode="0.0%">
                  <c:v>9.094106868755765E-2</c:v>
                </c:pt>
                <c:pt idx="10144" formatCode="0.0%">
                  <c:v>8.6111420340381967E-2</c:v>
                </c:pt>
                <c:pt idx="10145" formatCode="0.0%">
                  <c:v>8.5717192397692626E-2</c:v>
                </c:pt>
                <c:pt idx="10146" formatCode="0.0%">
                  <c:v>8.2935079108966067E-2</c:v>
                </c:pt>
                <c:pt idx="10147" formatCode="0.0%">
                  <c:v>7.9628979134138578E-2</c:v>
                </c:pt>
                <c:pt idx="10148" formatCode="0.0%">
                  <c:v>7.7264534826113063E-2</c:v>
                </c:pt>
                <c:pt idx="10149" formatCode="0.0%">
                  <c:v>8.0011187756379762E-2</c:v>
                </c:pt>
                <c:pt idx="10150" formatCode="0.0%">
                  <c:v>8.0066139622356453E-2</c:v>
                </c:pt>
                <c:pt idx="10151" formatCode="0.0%">
                  <c:v>8.606019055325817E-2</c:v>
                </c:pt>
                <c:pt idx="10152" formatCode="0.0%">
                  <c:v>9.4401666370994161E-2</c:v>
                </c:pt>
                <c:pt idx="10153" formatCode="0.0%">
                  <c:v>8.8196712055026508E-2</c:v>
                </c:pt>
                <c:pt idx="10154" formatCode="0.0%">
                  <c:v>9.8621486641204195E-2</c:v>
                </c:pt>
                <c:pt idx="10155" formatCode="0.0%">
                  <c:v>9.7766703174413744E-2</c:v>
                </c:pt>
                <c:pt idx="10156" formatCode="0.0%">
                  <c:v>9.9454093498780163E-2</c:v>
                </c:pt>
                <c:pt idx="10157" formatCode="0.0%">
                  <c:v>9.9716125646624118E-2</c:v>
                </c:pt>
                <c:pt idx="10158" formatCode="0.0%">
                  <c:v>0.10026071474507564</c:v>
                </c:pt>
                <c:pt idx="10159" formatCode="0.0%">
                  <c:v>0.10197453476716475</c:v>
                </c:pt>
                <c:pt idx="10160" formatCode="0.0%">
                  <c:v>0.10252841161539414</c:v>
                </c:pt>
                <c:pt idx="10161" formatCode="0.0%">
                  <c:v>0.10435183435254426</c:v>
                </c:pt>
                <c:pt idx="10162" formatCode="0.0%">
                  <c:v>0.10302563861632745</c:v>
                </c:pt>
                <c:pt idx="10163" formatCode="0.0%">
                  <c:v>9.099930543711314E-2</c:v>
                </c:pt>
                <c:pt idx="10164" formatCode="0.0%">
                  <c:v>9.1176694796822194E-2</c:v>
                </c:pt>
                <c:pt idx="10165" formatCode="0.0%">
                  <c:v>9.3280987091802256E-2</c:v>
                </c:pt>
                <c:pt idx="10166" formatCode="0.0%">
                  <c:v>9.2888276774775777E-2</c:v>
                </c:pt>
                <c:pt idx="10167" formatCode="0.0%">
                  <c:v>9.7405390127471569E-2</c:v>
                </c:pt>
                <c:pt idx="10168" formatCode="0.0%">
                  <c:v>9.9005858719756396E-2</c:v>
                </c:pt>
                <c:pt idx="10169" formatCode="0.0%">
                  <c:v>9.800930646436895E-2</c:v>
                </c:pt>
                <c:pt idx="10170" formatCode="0.0%">
                  <c:v>9.8021098871426932E-2</c:v>
                </c:pt>
                <c:pt idx="10171" formatCode="0.0%">
                  <c:v>9.2983920055620436E-2</c:v>
                </c:pt>
                <c:pt idx="10172" formatCode="0.0%">
                  <c:v>8.5047157375126164E-2</c:v>
                </c:pt>
                <c:pt idx="10173" formatCode="0.0%">
                  <c:v>8.5064713331887837E-2</c:v>
                </c:pt>
                <c:pt idx="10174" formatCode="0.0%">
                  <c:v>7.0767444531674356E-2</c:v>
                </c:pt>
                <c:pt idx="10175" formatCode="0.0%">
                  <c:v>6.9517685125116316E-2</c:v>
                </c:pt>
                <c:pt idx="10176" formatCode="0.0%">
                  <c:v>6.5488331995496363E-2</c:v>
                </c:pt>
                <c:pt idx="10177" formatCode="0.0%">
                  <c:v>6.9063350643260454E-2</c:v>
                </c:pt>
                <c:pt idx="10178" formatCode="0.0%">
                  <c:v>6.8553241857203615E-2</c:v>
                </c:pt>
                <c:pt idx="10179" formatCode="0.0%">
                  <c:v>6.1422144189470368E-2</c:v>
                </c:pt>
                <c:pt idx="10180" formatCode="0.0%">
                  <c:v>6.1837451662192087E-2</c:v>
                </c:pt>
                <c:pt idx="10181" formatCode="0.0%">
                  <c:v>6.6343205588933571E-2</c:v>
                </c:pt>
                <c:pt idx="10182" formatCode="0.0%">
                  <c:v>6.6285128038915272E-2</c:v>
                </c:pt>
                <c:pt idx="10183" formatCode="0.0%">
                  <c:v>6.6048649677511492E-2</c:v>
                </c:pt>
                <c:pt idx="10184" formatCode="0.0%">
                  <c:v>5.8841585040176801E-2</c:v>
                </c:pt>
                <c:pt idx="10185" formatCode="0.0%">
                  <c:v>5.7363221618325175E-2</c:v>
                </c:pt>
                <c:pt idx="10186" formatCode="0.0%">
                  <c:v>5.2637838229127494E-2</c:v>
                </c:pt>
                <c:pt idx="10187" formatCode="0.0%">
                  <c:v>5.0047188747838152E-2</c:v>
                </c:pt>
                <c:pt idx="10188" formatCode="0.0%">
                  <c:v>5.190613801070549E-2</c:v>
                </c:pt>
                <c:pt idx="10189" formatCode="0.0%">
                  <c:v>5.1711427470033725E-2</c:v>
                </c:pt>
                <c:pt idx="10190" formatCode="0.0%">
                  <c:v>5.1288724585304708E-2</c:v>
                </c:pt>
                <c:pt idx="10191" formatCode="0.0%">
                  <c:v>5.1499185166031518E-2</c:v>
                </c:pt>
                <c:pt idx="10192" formatCode="0.0%">
                  <c:v>5.1800824489587158E-2</c:v>
                </c:pt>
                <c:pt idx="10193" formatCode="0.0%">
                  <c:v>5.0436284593173182E-2</c:v>
                </c:pt>
                <c:pt idx="10194" formatCode="0.0%">
                  <c:v>5.0197161406329266E-2</c:v>
                </c:pt>
                <c:pt idx="10195" formatCode="0.0%">
                  <c:v>5.0233675146742526E-2</c:v>
                </c:pt>
                <c:pt idx="10196" formatCode="0.0%">
                  <c:v>5.0237818829015013E-2</c:v>
                </c:pt>
                <c:pt idx="10197" formatCode="0.0%">
                  <c:v>4.7141271225919108E-2</c:v>
                </c:pt>
                <c:pt idx="10198" formatCode="0.0%">
                  <c:v>4.7544992416159386E-2</c:v>
                </c:pt>
                <c:pt idx="10199" formatCode="0.0%">
                  <c:v>4.6537302549384089E-2</c:v>
                </c:pt>
                <c:pt idx="10200" formatCode="0.0%">
                  <c:v>4.648620067067101E-2</c:v>
                </c:pt>
                <c:pt idx="10201" formatCode="0.0%">
                  <c:v>4.0852218203411832E-2</c:v>
                </c:pt>
                <c:pt idx="10202" formatCode="0.0%">
                  <c:v>4.0260896308244427E-2</c:v>
                </c:pt>
                <c:pt idx="10203" formatCode="0.0%">
                  <c:v>4.5352447010509833E-2</c:v>
                </c:pt>
                <c:pt idx="10204" formatCode="0.0%">
                  <c:v>4.4837300384049775E-2</c:v>
                </c:pt>
                <c:pt idx="10205" formatCode="0.0%">
                  <c:v>4.9240971094723501E-2</c:v>
                </c:pt>
                <c:pt idx="10206" formatCode="0.0%">
                  <c:v>5.7755985997056787E-2</c:v>
                </c:pt>
                <c:pt idx="10207" formatCode="0.0%">
                  <c:v>5.8332545411242213E-2</c:v>
                </c:pt>
                <c:pt idx="10208" formatCode="0.0%">
                  <c:v>5.7580568760179626E-2</c:v>
                </c:pt>
                <c:pt idx="10209" formatCode="0.0%">
                  <c:v>5.7041786086047583E-2</c:v>
                </c:pt>
                <c:pt idx="10210" formatCode="0.0%">
                  <c:v>5.8283740062394E-2</c:v>
                </c:pt>
                <c:pt idx="10211" formatCode="0.0%">
                  <c:v>5.9832874474769107E-2</c:v>
                </c:pt>
                <c:pt idx="10212" formatCode="0.0%">
                  <c:v>5.8669615549860714E-2</c:v>
                </c:pt>
                <c:pt idx="10213" formatCode="0.0%">
                  <c:v>5.859928034872168E-2</c:v>
                </c:pt>
                <c:pt idx="10214" formatCode="0.0%">
                  <c:v>5.6753342425822903E-2</c:v>
                </c:pt>
                <c:pt idx="10215" formatCode="0.0%">
                  <c:v>5.7438689089369666E-2</c:v>
                </c:pt>
                <c:pt idx="10216" formatCode="0.0%">
                  <c:v>6.1630761828829095E-2</c:v>
                </c:pt>
                <c:pt idx="10217" formatCode="0.0%">
                  <c:v>6.3594681715924806E-2</c:v>
                </c:pt>
                <c:pt idx="10218" formatCode="0.0%">
                  <c:v>6.0781198947973646E-2</c:v>
                </c:pt>
                <c:pt idx="10219" formatCode="0.0%">
                  <c:v>6.2387172225982106E-2</c:v>
                </c:pt>
                <c:pt idx="10220" formatCode="0.0%">
                  <c:v>6.238649396362636E-2</c:v>
                </c:pt>
                <c:pt idx="10221" formatCode="0.0%">
                  <c:v>6.2394133736762128E-2</c:v>
                </c:pt>
                <c:pt idx="10222" formatCode="0.0%">
                  <c:v>6.1832641185212901E-2</c:v>
                </c:pt>
                <c:pt idx="10223" formatCode="0.0%">
                  <c:v>5.7044663762616493E-2</c:v>
                </c:pt>
                <c:pt idx="10224" formatCode="0.0%">
                  <c:v>5.7060482888166772E-2</c:v>
                </c:pt>
                <c:pt idx="10225" formatCode="0.0%">
                  <c:v>5.8763966293327009E-2</c:v>
                </c:pt>
                <c:pt idx="10226" formatCode="0.0%">
                  <c:v>5.1052958715900591E-2</c:v>
                </c:pt>
                <c:pt idx="10227" formatCode="0.0%">
                  <c:v>5.253244253762962E-2</c:v>
                </c:pt>
                <c:pt idx="10228" formatCode="0.0%">
                  <c:v>5.1865932334729026E-2</c:v>
                </c:pt>
                <c:pt idx="10229" formatCode="0.0%">
                  <c:v>5.1837696753455363E-2</c:v>
                </c:pt>
                <c:pt idx="10230" formatCode="0.0%">
                  <c:v>5.1100876712641873E-2</c:v>
                </c:pt>
                <c:pt idx="10231" formatCode="0.0%">
                  <c:v>4.6936261115147815E-2</c:v>
                </c:pt>
                <c:pt idx="10232" formatCode="0.0%">
                  <c:v>4.955629036528067E-2</c:v>
                </c:pt>
                <c:pt idx="10233" formatCode="0.0%">
                  <c:v>5.2256030660118642E-2</c:v>
                </c:pt>
                <c:pt idx="10234" formatCode="0.0%">
                  <c:v>5.3051504998350124E-2</c:v>
                </c:pt>
                <c:pt idx="10235" formatCode="0.0%">
                  <c:v>5.2271152097498344E-2</c:v>
                </c:pt>
                <c:pt idx="10236" formatCode="0.0%">
                  <c:v>5.3547724454893732E-2</c:v>
                </c:pt>
                <c:pt idx="10237" formatCode="0.0%">
                  <c:v>5.4809172853427596E-2</c:v>
                </c:pt>
                <c:pt idx="10238" formatCode="0.0%">
                  <c:v>5.5350744865014255E-2</c:v>
                </c:pt>
                <c:pt idx="10239" formatCode="0.0%">
                  <c:v>5.7373040579153919E-2</c:v>
                </c:pt>
                <c:pt idx="10240" formatCode="0.0%">
                  <c:v>6.9070075957533103E-2</c:v>
                </c:pt>
                <c:pt idx="10241" formatCode="0.0%">
                  <c:v>6.860237594114578E-2</c:v>
                </c:pt>
                <c:pt idx="10242" formatCode="0.0%">
                  <c:v>6.8692736460676113E-2</c:v>
                </c:pt>
                <c:pt idx="10243" formatCode="0.0%">
                  <c:v>6.8468816821140741E-2</c:v>
                </c:pt>
                <c:pt idx="10244" formatCode="0.0%">
                  <c:v>7.3769698535244108E-2</c:v>
                </c:pt>
                <c:pt idx="10245" formatCode="0.0%">
                  <c:v>6.6952913930021535E-2</c:v>
                </c:pt>
                <c:pt idx="10246" formatCode="0.0%">
                  <c:v>6.3414836707817654E-2</c:v>
                </c:pt>
                <c:pt idx="10247" formatCode="0.0%">
                  <c:v>5.7818548130784825E-2</c:v>
                </c:pt>
                <c:pt idx="10248" formatCode="0.0%">
                  <c:v>7.3255307140215969E-2</c:v>
                </c:pt>
                <c:pt idx="10249" formatCode="0.0%">
                  <c:v>8.0372577917940405E-2</c:v>
                </c:pt>
                <c:pt idx="10250" formatCode="0.0%">
                  <c:v>8.04369920084506E-2</c:v>
                </c:pt>
                <c:pt idx="10251" formatCode="0.0%">
                  <c:v>8.2297852901741658E-2</c:v>
                </c:pt>
                <c:pt idx="10252" formatCode="0.0%">
                  <c:v>8.2266634696448696E-2</c:v>
                </c:pt>
                <c:pt idx="10253" formatCode="0.0%">
                  <c:v>8.2419324467536137E-2</c:v>
                </c:pt>
                <c:pt idx="10254" formatCode="0.0%">
                  <c:v>8.9649768099809429E-2</c:v>
                </c:pt>
                <c:pt idx="10255" formatCode="0.0%">
                  <c:v>9.1954466850455621E-2</c:v>
                </c:pt>
                <c:pt idx="10256" formatCode="0.0%">
                  <c:v>9.6325216702532454E-2</c:v>
                </c:pt>
                <c:pt idx="10257" formatCode="0.0%">
                  <c:v>9.6139924742219371E-2</c:v>
                </c:pt>
                <c:pt idx="10258" formatCode="0.0%">
                  <c:v>9.4264638902198869E-2</c:v>
                </c:pt>
                <c:pt idx="10259" formatCode="0.0%">
                  <c:v>9.3626242882026436E-2</c:v>
                </c:pt>
                <c:pt idx="10260" formatCode="0.0%">
                  <c:v>9.0139642065871967E-2</c:v>
                </c:pt>
                <c:pt idx="10261" formatCode="0.0%">
                  <c:v>9.258791765743854E-2</c:v>
                </c:pt>
                <c:pt idx="10262" formatCode="0.0%">
                  <c:v>9.2240814579071725E-2</c:v>
                </c:pt>
                <c:pt idx="10263" formatCode="0.0%">
                  <c:v>9.1872331461108708E-2</c:v>
                </c:pt>
                <c:pt idx="10264" formatCode="0.0%">
                  <c:v>8.7067435095046622E-2</c:v>
                </c:pt>
                <c:pt idx="10265" formatCode="0.0%">
                  <c:v>8.7154786858195291E-2</c:v>
                </c:pt>
                <c:pt idx="10266" formatCode="0.0%">
                  <c:v>8.7103270088993504E-2</c:v>
                </c:pt>
                <c:pt idx="10267" formatCode="0.0%">
                  <c:v>8.8922839151075753E-2</c:v>
                </c:pt>
                <c:pt idx="10268" formatCode="0.0%">
                  <c:v>7.1400203622380878E-2</c:v>
                </c:pt>
                <c:pt idx="10269" formatCode="0.0%">
                  <c:v>5.4113137914237247E-2</c:v>
                </c:pt>
                <c:pt idx="10270" formatCode="0.0%">
                  <c:v>5.1123485579864909E-2</c:v>
                </c:pt>
                <c:pt idx="10271" formatCode="0.0%">
                  <c:v>5.0541141369930695E-2</c:v>
                </c:pt>
                <c:pt idx="10272" formatCode="0.0%">
                  <c:v>4.8548077350990468E-2</c:v>
                </c:pt>
                <c:pt idx="10273" formatCode="0.0%">
                  <c:v>4.281658286889671E-2</c:v>
                </c:pt>
                <c:pt idx="10274" formatCode="0.0%">
                  <c:v>3.8378912292339709E-2</c:v>
                </c:pt>
                <c:pt idx="10275" formatCode="0.0%">
                  <c:v>3.59386510098995E-2</c:v>
                </c:pt>
                <c:pt idx="10276" formatCode="0.0%">
                  <c:v>3.2405567310636416E-2</c:v>
                </c:pt>
                <c:pt idx="10277" formatCode="0.0%">
                  <c:v>5.3380690082830515E-2</c:v>
                </c:pt>
                <c:pt idx="10278" formatCode="0.0%">
                  <c:v>6.3937535039765833E-2</c:v>
                </c:pt>
                <c:pt idx="10279" formatCode="0.0%">
                  <c:v>6.8974859925006238E-2</c:v>
                </c:pt>
                <c:pt idx="10280" formatCode="0.0%">
                  <c:v>7.077957424082594E-2</c:v>
                </c:pt>
                <c:pt idx="10281" formatCode="0.0%">
                  <c:v>8.110350460353298E-2</c:v>
                </c:pt>
                <c:pt idx="10282" formatCode="0.0%">
                  <c:v>8.2375629089924463E-2</c:v>
                </c:pt>
                <c:pt idx="10283" formatCode="0.0%">
                  <c:v>8.5687962696130826E-2</c:v>
                </c:pt>
                <c:pt idx="10284" formatCode="0.0%">
                  <c:v>8.5425801123541714E-2</c:v>
                </c:pt>
                <c:pt idx="10285" formatCode="0.0%">
                  <c:v>8.4990670475584507E-2</c:v>
                </c:pt>
                <c:pt idx="10286" formatCode="0.0%">
                  <c:v>8.6191363058556111E-2</c:v>
                </c:pt>
                <c:pt idx="10287" formatCode="0.0%">
                  <c:v>9.2860171429907448E-2</c:v>
                </c:pt>
                <c:pt idx="10288" formatCode="0.0%">
                  <c:v>9.5066078672705417E-2</c:v>
                </c:pt>
                <c:pt idx="10289" formatCode="0.0%">
                  <c:v>9.9510822754659473E-2</c:v>
                </c:pt>
                <c:pt idx="10290" formatCode="0.0%">
                  <c:v>9.8091875731900077E-2</c:v>
                </c:pt>
                <c:pt idx="10291" formatCode="0.0%">
                  <c:v>9.8206799503889677E-2</c:v>
                </c:pt>
                <c:pt idx="10292" formatCode="0.0%">
                  <c:v>9.993851625896262E-2</c:v>
                </c:pt>
                <c:pt idx="10293" formatCode="0.0%">
                  <c:v>9.9219632898878168E-2</c:v>
                </c:pt>
                <c:pt idx="10294" formatCode="0.0%">
                  <c:v>0.10008998087053059</c:v>
                </c:pt>
                <c:pt idx="10295" formatCode="0.0%">
                  <c:v>9.9387960823069221E-2</c:v>
                </c:pt>
                <c:pt idx="10296" formatCode="0.0%">
                  <c:v>0.10103147340147185</c:v>
                </c:pt>
                <c:pt idx="10297" formatCode="0.0%">
                  <c:v>9.7064340273093311E-2</c:v>
                </c:pt>
                <c:pt idx="10298" formatCode="0.0%">
                  <c:v>9.7228428693509741E-2</c:v>
                </c:pt>
                <c:pt idx="10299" formatCode="0.0%">
                  <c:v>9.7604704365852904E-2</c:v>
                </c:pt>
                <c:pt idx="10300" formatCode="0.0%">
                  <c:v>9.4929304105059398E-2</c:v>
                </c:pt>
                <c:pt idx="10301" formatCode="0.0%">
                  <c:v>8.0384720116450689E-2</c:v>
                </c:pt>
                <c:pt idx="10302" formatCode="0.0%">
                  <c:v>7.6362863532779546E-2</c:v>
                </c:pt>
                <c:pt idx="10303" formatCode="0.0%">
                  <c:v>7.8569432814665829E-2</c:v>
                </c:pt>
                <c:pt idx="10304" formatCode="0.0%">
                  <c:v>7.9793163227380379E-2</c:v>
                </c:pt>
                <c:pt idx="10305" formatCode="0.0%">
                  <c:v>8.0056978506263615E-2</c:v>
                </c:pt>
                <c:pt idx="10306" formatCode="0.0%">
                  <c:v>8.0498456358433487E-2</c:v>
                </c:pt>
                <c:pt idx="10307" formatCode="0.0%">
                  <c:v>7.9278579301301236E-2</c:v>
                </c:pt>
                <c:pt idx="10308" formatCode="0.0%">
                  <c:v>7.8571802203415461E-2</c:v>
                </c:pt>
                <c:pt idx="10309" formatCode="0.0%">
                  <c:v>7.4757786607821883E-2</c:v>
                </c:pt>
                <c:pt idx="10310" formatCode="0.0%">
                  <c:v>7.4929370056207797E-2</c:v>
                </c:pt>
                <c:pt idx="10311" formatCode="0.0%">
                  <c:v>7.9677248101687109E-2</c:v>
                </c:pt>
                <c:pt idx="10312" formatCode="0.0%">
                  <c:v>8.0691015112338949E-2</c:v>
                </c:pt>
                <c:pt idx="10313" formatCode="0.0%">
                  <c:v>7.9418762708901455E-2</c:v>
                </c:pt>
                <c:pt idx="10314" formatCode="0.0%">
                  <c:v>7.4141515790195178E-2</c:v>
                </c:pt>
                <c:pt idx="10315" formatCode="0.0%">
                  <c:v>7.1626617757377775E-2</c:v>
                </c:pt>
                <c:pt idx="10316" formatCode="0.0%">
                  <c:v>8.090909390557606E-2</c:v>
                </c:pt>
                <c:pt idx="10317" formatCode="0.0%">
                  <c:v>8.0785683547097184E-2</c:v>
                </c:pt>
                <c:pt idx="10318" formatCode="0.0%">
                  <c:v>7.858758694710552E-2</c:v>
                </c:pt>
                <c:pt idx="10319" formatCode="0.0%">
                  <c:v>8.0528176454245676E-2</c:v>
                </c:pt>
                <c:pt idx="10320" formatCode="0.0%">
                  <c:v>8.0226072648375946E-2</c:v>
                </c:pt>
                <c:pt idx="10321" formatCode="0.0%">
                  <c:v>7.9935840886995416E-2</c:v>
                </c:pt>
                <c:pt idx="10322" formatCode="0.0%">
                  <c:v>8.114144887538377E-2</c:v>
                </c:pt>
                <c:pt idx="10323" formatCode="0.0%">
                  <c:v>7.8699796612634015E-2</c:v>
                </c:pt>
                <c:pt idx="10324" formatCode="0.0%">
                  <c:v>7.5610770549342857E-2</c:v>
                </c:pt>
                <c:pt idx="10325" formatCode="0.0%">
                  <c:v>7.8623601430401688E-2</c:v>
                </c:pt>
                <c:pt idx="10326" formatCode="0.0%">
                  <c:v>8.3416963290609589E-2</c:v>
                </c:pt>
                <c:pt idx="10327" formatCode="0.0%">
                  <c:v>7.9486424397668856E-2</c:v>
                </c:pt>
                <c:pt idx="10328" formatCode="0.0%">
                  <c:v>7.9853372648750781E-2</c:v>
                </c:pt>
                <c:pt idx="10329" formatCode="0.0%">
                  <c:v>7.1710233312344301E-2</c:v>
                </c:pt>
                <c:pt idx="10330" formatCode="0.0%">
                  <c:v>7.2250944481449919E-2</c:v>
                </c:pt>
                <c:pt idx="10331" formatCode="0.0%">
                  <c:v>6.9424604286280778E-2</c:v>
                </c:pt>
                <c:pt idx="10332" formatCode="0.0%">
                  <c:v>6.8789664258980948E-2</c:v>
                </c:pt>
                <c:pt idx="10333" formatCode="0.0%">
                  <c:v>6.9190322008303273E-2</c:v>
                </c:pt>
                <c:pt idx="10334" formatCode="0.0%">
                  <c:v>6.9582257714422349E-2</c:v>
                </c:pt>
                <c:pt idx="10335" formatCode="0.0%">
                  <c:v>6.9776687533924006E-2</c:v>
                </c:pt>
                <c:pt idx="10336" formatCode="0.0%">
                  <c:v>6.0140120183254875E-2</c:v>
                </c:pt>
                <c:pt idx="10337" formatCode="0.0%">
                  <c:v>6.3254237375340971E-2</c:v>
                </c:pt>
                <c:pt idx="10338" formatCode="0.0%">
                  <c:v>6.298929736142983E-2</c:v>
                </c:pt>
                <c:pt idx="10339" formatCode="0.0%">
                  <c:v>6.8054501359436789E-2</c:v>
                </c:pt>
                <c:pt idx="10340" formatCode="0.0%">
                  <c:v>7.8536360743833661E-2</c:v>
                </c:pt>
                <c:pt idx="10341" formatCode="0.0%">
                  <c:v>7.8848388966489019E-2</c:v>
                </c:pt>
                <c:pt idx="10342" formatCode="0.0%">
                  <c:v>7.8131443972099368E-2</c:v>
                </c:pt>
                <c:pt idx="10343" formatCode="0.0%">
                  <c:v>7.7618749309704083E-2</c:v>
                </c:pt>
                <c:pt idx="10344" formatCode="0.0%">
                  <c:v>7.8367326891519332E-2</c:v>
                </c:pt>
                <c:pt idx="10345" formatCode="0.0%">
                  <c:v>8.0479903464053509E-2</c:v>
                </c:pt>
                <c:pt idx="10346" formatCode="0.0%">
                  <c:v>7.4931204673291701E-2</c:v>
                </c:pt>
                <c:pt idx="10347" formatCode="0.0%">
                  <c:v>7.5070661091986457E-2</c:v>
                </c:pt>
                <c:pt idx="10348" formatCode="0.0%">
                  <c:v>7.4880462425220506E-2</c:v>
                </c:pt>
                <c:pt idx="10349" formatCode="0.0%">
                  <c:v>7.3774068691420946E-2</c:v>
                </c:pt>
                <c:pt idx="10350" formatCode="0.0%">
                  <c:v>7.0876312763187066E-2</c:v>
                </c:pt>
                <c:pt idx="10351" formatCode="0.0%">
                  <c:v>7.147663838992438E-2</c:v>
                </c:pt>
                <c:pt idx="10352" formatCode="0.0%">
                  <c:v>7.1273635085736461E-2</c:v>
                </c:pt>
                <c:pt idx="10353" formatCode="0.0%">
                  <c:v>7.6074490157404279E-2</c:v>
                </c:pt>
                <c:pt idx="10354" formatCode="0.0%">
                  <c:v>7.8849563217551571E-2</c:v>
                </c:pt>
                <c:pt idx="10355" formatCode="0.0%">
                  <c:v>8.4975535420626663E-2</c:v>
                </c:pt>
                <c:pt idx="10356" formatCode="0.0%">
                  <c:v>7.6301976362895568E-2</c:v>
                </c:pt>
                <c:pt idx="10357" formatCode="0.0%">
                  <c:v>8.1187775315595859E-2</c:v>
                </c:pt>
                <c:pt idx="10358" formatCode="0.0%">
                  <c:v>7.9539990299210592E-2</c:v>
                </c:pt>
                <c:pt idx="10359" formatCode="0.0%">
                  <c:v>7.6881863527775623E-2</c:v>
                </c:pt>
                <c:pt idx="10360" formatCode="0.0%">
                  <c:v>7.4406026242532175E-2</c:v>
                </c:pt>
                <c:pt idx="10361" formatCode="0.0%">
                  <c:v>6.9866561085611387E-2</c:v>
                </c:pt>
                <c:pt idx="10362" formatCode="0.0%">
                  <c:v>6.7882895881525546E-2</c:v>
                </c:pt>
                <c:pt idx="10363" formatCode="0.0%">
                  <c:v>6.6360596674615815E-2</c:v>
                </c:pt>
                <c:pt idx="10364" formatCode="0.0%">
                  <c:v>8.5962603718409969E-2</c:v>
                </c:pt>
                <c:pt idx="10365" formatCode="0.0%">
                  <c:v>8.4582570811245719E-2</c:v>
                </c:pt>
                <c:pt idx="10366" formatCode="0.0%">
                  <c:v>8.7010162840797253E-2</c:v>
                </c:pt>
                <c:pt idx="10367" formatCode="0.0%">
                  <c:v>8.6259838348774778E-2</c:v>
                </c:pt>
                <c:pt idx="10368" formatCode="0.0%">
                  <c:v>8.9310135277838695E-2</c:v>
                </c:pt>
                <c:pt idx="10369" formatCode="0.0%">
                  <c:v>9.2111122621093833E-2</c:v>
                </c:pt>
                <c:pt idx="10370" formatCode="0.0%">
                  <c:v>9.9933244789617487E-2</c:v>
                </c:pt>
                <c:pt idx="10371" formatCode="0.0%">
                  <c:v>0.10383606387638344</c:v>
                </c:pt>
                <c:pt idx="10372" formatCode="0.0%">
                  <c:v>0.10360151539150911</c:v>
                </c:pt>
                <c:pt idx="10373" formatCode="0.0%">
                  <c:v>0.11002939921649232</c:v>
                </c:pt>
                <c:pt idx="10374" formatCode="0.0%">
                  <c:v>0.11001106983221665</c:v>
                </c:pt>
                <c:pt idx="10375" formatCode="0.0%">
                  <c:v>0.11286272793882321</c:v>
                </c:pt>
                <c:pt idx="10376" formatCode="0.0%">
                  <c:v>0.11232446548417532</c:v>
                </c:pt>
                <c:pt idx="10377" formatCode="0.0%">
                  <c:v>0.11760382775533576</c:v>
                </c:pt>
                <c:pt idx="10378" formatCode="0.0%">
                  <c:v>0.11759482716607551</c:v>
                </c:pt>
                <c:pt idx="10379" formatCode="0.0%">
                  <c:v>0.12486794850037282</c:v>
                </c:pt>
                <c:pt idx="10380" formatCode="0.0%">
                  <c:v>0.12768166843254272</c:v>
                </c:pt>
                <c:pt idx="10381" formatCode="0.0%">
                  <c:v>0.12933477505694124</c:v>
                </c:pt>
                <c:pt idx="10382" formatCode="0.0%">
                  <c:v>0.13773969389260099</c:v>
                </c:pt>
                <c:pt idx="10383" formatCode="0.0%">
                  <c:v>0.13766603444961889</c:v>
                </c:pt>
                <c:pt idx="10384" formatCode="0.0%">
                  <c:v>0.1290051142935362</c:v>
                </c:pt>
                <c:pt idx="10385" formatCode="0.0%">
                  <c:v>0.13053090396812758</c:v>
                </c:pt>
                <c:pt idx="10386" formatCode="0.0%">
                  <c:v>0.1431693157209098</c:v>
                </c:pt>
                <c:pt idx="10387" formatCode="0.0%">
                  <c:v>0.14289594624654078</c:v>
                </c:pt>
                <c:pt idx="10388" formatCode="0.0%">
                  <c:v>0.14379045500374277</c:v>
                </c:pt>
                <c:pt idx="10389" formatCode="0.0%">
                  <c:v>0.16725482178525755</c:v>
                </c:pt>
                <c:pt idx="10390" formatCode="0.0%">
                  <c:v>0.17846381272809594</c:v>
                </c:pt>
                <c:pt idx="10391" formatCode="0.0%">
                  <c:v>0.17494419897914687</c:v>
                </c:pt>
                <c:pt idx="10392" formatCode="0.0%">
                  <c:v>0.17690454953127818</c:v>
                </c:pt>
                <c:pt idx="10393" formatCode="0.0%">
                  <c:v>0.17397705748699935</c:v>
                </c:pt>
                <c:pt idx="10394" formatCode="0.0%">
                  <c:v>0.17284015717731357</c:v>
                </c:pt>
                <c:pt idx="10395" formatCode="0.0%">
                  <c:v>0.16462920151004631</c:v>
                </c:pt>
                <c:pt idx="10396" formatCode="0.0%">
                  <c:v>0.16466138171062666</c:v>
                </c:pt>
                <c:pt idx="10397" formatCode="0.0%">
                  <c:v>0.16094172779166382</c:v>
                </c:pt>
                <c:pt idx="10398" formatCode="0.0%">
                  <c:v>0.1608286598728402</c:v>
                </c:pt>
                <c:pt idx="10399" formatCode="0.0%">
                  <c:v>0.15847554337323039</c:v>
                </c:pt>
                <c:pt idx="10400" formatCode="0.0%">
                  <c:v>0.15908475402964081</c:v>
                </c:pt>
                <c:pt idx="10401" formatCode="0.0%">
                  <c:v>0.15828199578570179</c:v>
                </c:pt>
                <c:pt idx="10402" formatCode="0.0%">
                  <c:v>0.14899383451381373</c:v>
                </c:pt>
                <c:pt idx="10403" formatCode="0.0%">
                  <c:v>0.14781694082994024</c:v>
                </c:pt>
                <c:pt idx="10404" formatCode="0.0%">
                  <c:v>0.14698610489966285</c:v>
                </c:pt>
                <c:pt idx="10405" formatCode="0.0%">
                  <c:v>0.14350765211479041</c:v>
                </c:pt>
                <c:pt idx="10406" formatCode="0.0%">
                  <c:v>0.1262942267825076</c:v>
                </c:pt>
                <c:pt idx="10407" formatCode="0.0%">
                  <c:v>0.12474791898497635</c:v>
                </c:pt>
                <c:pt idx="10408" formatCode="0.0%">
                  <c:v>0.1244389130783857</c:v>
                </c:pt>
                <c:pt idx="10409" formatCode="0.0%">
                  <c:v>0.10408648163217653</c:v>
                </c:pt>
                <c:pt idx="10410" formatCode="0.0%">
                  <c:v>8.7430272319657609E-2</c:v>
                </c:pt>
                <c:pt idx="10411" formatCode="0.0%">
                  <c:v>8.4365686893063799E-2</c:v>
                </c:pt>
                <c:pt idx="10412" formatCode="0.0%">
                  <c:v>8.7222031416887544E-2</c:v>
                </c:pt>
                <c:pt idx="10413" formatCode="0.0%">
                  <c:v>9.1075295390461594E-2</c:v>
                </c:pt>
                <c:pt idx="10414" formatCode="0.0%">
                  <c:v>9.3570955870261527E-2</c:v>
                </c:pt>
                <c:pt idx="10415" formatCode="0.0%">
                  <c:v>9.996990700357114E-2</c:v>
                </c:pt>
                <c:pt idx="10416" formatCode="0.0%">
                  <c:v>0.10154207160840455</c:v>
                </c:pt>
                <c:pt idx="10417" formatCode="0.0%">
                  <c:v>0.11302583236737246</c:v>
                </c:pt>
                <c:pt idx="10418" formatCode="0.0%">
                  <c:v>0.11742108260092639</c:v>
                </c:pt>
                <c:pt idx="10419" formatCode="0.0%">
                  <c:v>0.11532685187980551</c:v>
                </c:pt>
                <c:pt idx="10420" formatCode="0.0%">
                  <c:v>0.11595659413451914</c:v>
                </c:pt>
                <c:pt idx="10421" formatCode="0.0%">
                  <c:v>0.11408869445168152</c:v>
                </c:pt>
                <c:pt idx="10422" formatCode="0.0%">
                  <c:v>0.11271307391206034</c:v>
                </c:pt>
                <c:pt idx="10423" formatCode="0.0%">
                  <c:v>0.11286316698876622</c:v>
                </c:pt>
                <c:pt idx="10424" formatCode="0.0%">
                  <c:v>0.11290312534534888</c:v>
                </c:pt>
                <c:pt idx="10425" formatCode="0.0%">
                  <c:v>0.11204385381355773</c:v>
                </c:pt>
                <c:pt idx="10426" formatCode="0.0%">
                  <c:v>0.10534006795363296</c:v>
                </c:pt>
                <c:pt idx="10427" formatCode="0.0%">
                  <c:v>0.10228775306602</c:v>
                </c:pt>
                <c:pt idx="10428" formatCode="0.0%">
                  <c:v>0.1062554390159221</c:v>
                </c:pt>
                <c:pt idx="10429" formatCode="0.0%">
                  <c:v>0.10757716761995081</c:v>
                </c:pt>
                <c:pt idx="10430" formatCode="0.0%">
                  <c:v>0.10756523363961062</c:v>
                </c:pt>
                <c:pt idx="10431" formatCode="0.0%">
                  <c:v>0.10764982388106126</c:v>
                </c:pt>
                <c:pt idx="10432" formatCode="0.0%">
                  <c:v>0.10800083603602166</c:v>
                </c:pt>
                <c:pt idx="10433" formatCode="0.0%">
                  <c:v>0.10929958942168183</c:v>
                </c:pt>
                <c:pt idx="10434" formatCode="0.0%">
                  <c:v>0.10739124787168251</c:v>
                </c:pt>
                <c:pt idx="10435" formatCode="0.0%">
                  <c:v>0.1010389684135593</c:v>
                </c:pt>
                <c:pt idx="10436" formatCode="0.0%">
                  <c:v>9.817639937661056E-2</c:v>
                </c:pt>
                <c:pt idx="10437" formatCode="0.0%">
                  <c:v>7.6402478705383886E-2</c:v>
                </c:pt>
                <c:pt idx="10438" formatCode="0.0%">
                  <c:v>7.437277220806808E-2</c:v>
                </c:pt>
                <c:pt idx="10439" formatCode="0.0%">
                  <c:v>7.765248012516289E-2</c:v>
                </c:pt>
                <c:pt idx="10440" formatCode="0.0%">
                  <c:v>9.0139817926612145E-2</c:v>
                </c:pt>
                <c:pt idx="10441" formatCode="0.0%">
                  <c:v>9.4319751182944972E-2</c:v>
                </c:pt>
                <c:pt idx="10442" formatCode="0.0%">
                  <c:v>9.3900222130286537E-2</c:v>
                </c:pt>
                <c:pt idx="10443" formatCode="0.0%">
                  <c:v>9.6470252382616709E-2</c:v>
                </c:pt>
                <c:pt idx="10444" formatCode="0.0%">
                  <c:v>9.6327486163809928E-2</c:v>
                </c:pt>
                <c:pt idx="10445" formatCode="0.0%">
                  <c:v>9.5350454591481226E-2</c:v>
                </c:pt>
                <c:pt idx="10446" formatCode="0.0%">
                  <c:v>9.8691508818583212E-2</c:v>
                </c:pt>
                <c:pt idx="10447" formatCode="0.0%">
                  <c:v>0.10029746956597475</c:v>
                </c:pt>
                <c:pt idx="10448" formatCode="0.0%">
                  <c:v>9.6617281917378561E-2</c:v>
                </c:pt>
                <c:pt idx="10449" formatCode="0.0%">
                  <c:v>9.3702051810830758E-2</c:v>
                </c:pt>
                <c:pt idx="10450" formatCode="0.0%">
                  <c:v>8.7262711745298094E-2</c:v>
                </c:pt>
                <c:pt idx="10451" formatCode="0.0%">
                  <c:v>8.7061709646063495E-2</c:v>
                </c:pt>
                <c:pt idx="10452" formatCode="0.0%">
                  <c:v>9.0440303958897461E-2</c:v>
                </c:pt>
                <c:pt idx="10453" formatCode="0.0%">
                  <c:v>8.8125996960023545E-2</c:v>
                </c:pt>
                <c:pt idx="10454" formatCode="0.0%">
                  <c:v>8.7729106554872482E-2</c:v>
                </c:pt>
                <c:pt idx="10455" formatCode="0.0%">
                  <c:v>8.8395614374407877E-2</c:v>
                </c:pt>
                <c:pt idx="10456" formatCode="0.0%">
                  <c:v>8.66830845974009E-2</c:v>
                </c:pt>
                <c:pt idx="10457" formatCode="0.0%">
                  <c:v>8.3276172852992394E-2</c:v>
                </c:pt>
                <c:pt idx="10458" formatCode="0.0%">
                  <c:v>8.3520679909703729E-2</c:v>
                </c:pt>
                <c:pt idx="10459" formatCode="0.0%">
                  <c:v>8.3705464241735569E-2</c:v>
                </c:pt>
                <c:pt idx="10460" formatCode="0.0%">
                  <c:v>7.007511208319335E-2</c:v>
                </c:pt>
                <c:pt idx="10461" formatCode="0.0%">
                  <c:v>6.780103537814143E-2</c:v>
                </c:pt>
                <c:pt idx="10462" formatCode="0.0%">
                  <c:v>6.8591359657147188E-2</c:v>
                </c:pt>
                <c:pt idx="10463" formatCode="0.0%">
                  <c:v>6.8263496478566249E-2</c:v>
                </c:pt>
                <c:pt idx="10464" formatCode="0.0%">
                  <c:v>6.9579266205656631E-2</c:v>
                </c:pt>
                <c:pt idx="10465" formatCode="0.0%">
                  <c:v>7.3777807500783776E-2</c:v>
                </c:pt>
                <c:pt idx="10466" formatCode="0.0%">
                  <c:v>6.7991498868861425E-2</c:v>
                </c:pt>
                <c:pt idx="10467" formatCode="0.0%">
                  <c:v>6.4783537615170167E-2</c:v>
                </c:pt>
                <c:pt idx="10468" formatCode="0.0%">
                  <c:v>7.233101881115768E-2</c:v>
                </c:pt>
                <c:pt idx="10469" formatCode="0.0%">
                  <c:v>6.7638277716165859E-2</c:v>
                </c:pt>
                <c:pt idx="10470" formatCode="0.0%">
                  <c:v>7.5630882468573774E-2</c:v>
                </c:pt>
                <c:pt idx="10471" formatCode="0.0%">
                  <c:v>7.5667140669905902E-2</c:v>
                </c:pt>
                <c:pt idx="10472" formatCode="0.0%">
                  <c:v>7.473767748116783E-2</c:v>
                </c:pt>
                <c:pt idx="10473" formatCode="0.0%">
                  <c:v>7.885287956157512E-2</c:v>
                </c:pt>
                <c:pt idx="10474" formatCode="0.0%">
                  <c:v>7.8347168859219177E-2</c:v>
                </c:pt>
                <c:pt idx="10475" formatCode="0.0%">
                  <c:v>7.947489721449405E-2</c:v>
                </c:pt>
                <c:pt idx="10476" formatCode="0.0%">
                  <c:v>8.4050247958453533E-2</c:v>
                </c:pt>
                <c:pt idx="10477" formatCode="0.0%">
                  <c:v>8.2809135885897694E-2</c:v>
                </c:pt>
                <c:pt idx="10478" formatCode="0.0%">
                  <c:v>8.1927634935488894E-2</c:v>
                </c:pt>
                <c:pt idx="10479" formatCode="0.0%">
                  <c:v>8.0245453829485239E-2</c:v>
                </c:pt>
                <c:pt idx="10480" formatCode="0.0%">
                  <c:v>7.9184840880820159E-2</c:v>
                </c:pt>
                <c:pt idx="10481" formatCode="0.0%">
                  <c:v>7.9923543081975551E-2</c:v>
                </c:pt>
                <c:pt idx="10482" formatCode="0.0%">
                  <c:v>8.1152026183668291E-2</c:v>
                </c:pt>
                <c:pt idx="10483" formatCode="0.0%">
                  <c:v>8.4872093898034837E-2</c:v>
                </c:pt>
                <c:pt idx="10484" formatCode="0.0%">
                  <c:v>8.4892404826447748E-2</c:v>
                </c:pt>
                <c:pt idx="10485" formatCode="0.0%">
                  <c:v>8.6450013605114964E-2</c:v>
                </c:pt>
                <c:pt idx="10486" formatCode="0.0%">
                  <c:v>8.582353050261754E-2</c:v>
                </c:pt>
                <c:pt idx="10487" formatCode="0.0%">
                  <c:v>0.11015337228599195</c:v>
                </c:pt>
                <c:pt idx="10488" formatCode="0.0%">
                  <c:v>0.11330365008954271</c:v>
                </c:pt>
                <c:pt idx="10489" formatCode="0.0%">
                  <c:v>0.11495471775901546</c:v>
                </c:pt>
                <c:pt idx="10490" formatCode="0.0%">
                  <c:v>0.1096621944559306</c:v>
                </c:pt>
                <c:pt idx="10491" formatCode="0.0%">
                  <c:v>0.11753583340179594</c:v>
                </c:pt>
                <c:pt idx="10492" formatCode="0.0%">
                  <c:v>0.12058639467581846</c:v>
                </c:pt>
                <c:pt idx="10493" formatCode="0.0%">
                  <c:v>0.11994427069121279</c:v>
                </c:pt>
                <c:pt idx="10494" formatCode="0.0%">
                  <c:v>0.11982038621954295</c:v>
                </c:pt>
                <c:pt idx="10495" formatCode="0.0%">
                  <c:v>0.11986471875603817</c:v>
                </c:pt>
                <c:pt idx="10496" formatCode="0.0%">
                  <c:v>0.1185735827844033</c:v>
                </c:pt>
                <c:pt idx="10497" formatCode="0.0%">
                  <c:v>0.11919221680977707</c:v>
                </c:pt>
                <c:pt idx="10498" formatCode="0.0%">
                  <c:v>0.12182086850215097</c:v>
                </c:pt>
                <c:pt idx="10499" formatCode="0.0%">
                  <c:v>0.11288136010712499</c:v>
                </c:pt>
                <c:pt idx="10500" formatCode="0.0%">
                  <c:v>0.11266405373808473</c:v>
                </c:pt>
                <c:pt idx="10501" formatCode="0.0%">
                  <c:v>0.11345824717285521</c:v>
                </c:pt>
                <c:pt idx="10502" formatCode="0.0%">
                  <c:v>0.11755148389389229</c:v>
                </c:pt>
                <c:pt idx="10503" formatCode="0.0%">
                  <c:v>0.11717615866968088</c:v>
                </c:pt>
                <c:pt idx="10504" formatCode="0.0%">
                  <c:v>0.11671116999744859</c:v>
                </c:pt>
                <c:pt idx="10505" formatCode="0.0%">
                  <c:v>0.11096770334964903</c:v>
                </c:pt>
                <c:pt idx="10506" formatCode="0.0%">
                  <c:v>0.1133691254825798</c:v>
                </c:pt>
                <c:pt idx="10507" formatCode="0.0%">
                  <c:v>0.11127120910102539</c:v>
                </c:pt>
                <c:pt idx="10508" formatCode="0.0%">
                  <c:v>0.10661175033778778</c:v>
                </c:pt>
                <c:pt idx="10509" formatCode="0.0%">
                  <c:v>0.10251145133345937</c:v>
                </c:pt>
                <c:pt idx="10510" formatCode="0.0%">
                  <c:v>0.10169845953999961</c:v>
                </c:pt>
                <c:pt idx="10511" formatCode="0.0%">
                  <c:v>9.9058081921608976E-2</c:v>
                </c:pt>
                <c:pt idx="10512" formatCode="0.0%">
                  <c:v>9.8048330321712437E-2</c:v>
                </c:pt>
                <c:pt idx="10513" formatCode="0.0%">
                  <c:v>9.7594398319637718E-2</c:v>
                </c:pt>
                <c:pt idx="10514" formatCode="0.0%">
                  <c:v>9.8463772804313371E-2</c:v>
                </c:pt>
                <c:pt idx="10515" formatCode="0.0%">
                  <c:v>0.10019982526340356</c:v>
                </c:pt>
                <c:pt idx="10516" formatCode="0.0%">
                  <c:v>8.6952207578865001E-2</c:v>
                </c:pt>
                <c:pt idx="10517" formatCode="0.0%">
                  <c:v>9.2891345760658106E-2</c:v>
                </c:pt>
                <c:pt idx="10518" formatCode="0.0%">
                  <c:v>0.10844482452577346</c:v>
                </c:pt>
                <c:pt idx="10519" formatCode="0.0%">
                  <c:v>0.10875157845230185</c:v>
                </c:pt>
                <c:pt idx="10520" formatCode="0.0%">
                  <c:v>0.10766142240512779</c:v>
                </c:pt>
                <c:pt idx="10521" formatCode="0.0%">
                  <c:v>0.11209637909025237</c:v>
                </c:pt>
                <c:pt idx="10522" formatCode="0.0%">
                  <c:v>0.11768254047088343</c:v>
                </c:pt>
                <c:pt idx="10523" formatCode="0.0%">
                  <c:v>0.12006033236704421</c:v>
                </c:pt>
                <c:pt idx="10524" formatCode="0.0%">
                  <c:v>0.12846661940122114</c:v>
                </c:pt>
                <c:pt idx="10525" formatCode="0.0%">
                  <c:v>0.12799490589724885</c:v>
                </c:pt>
                <c:pt idx="10526" formatCode="0.0%">
                  <c:v>0.12630861141246902</c:v>
                </c:pt>
                <c:pt idx="10527" formatCode="0.0%">
                  <c:v>0.11870009869964109</c:v>
                </c:pt>
                <c:pt idx="10528" formatCode="0.0%">
                  <c:v>0.11788117119788155</c:v>
                </c:pt>
                <c:pt idx="10529" formatCode="0.0%">
                  <c:v>0.12808059946025713</c:v>
                </c:pt>
                <c:pt idx="10530" formatCode="0.0%">
                  <c:v>0.12919251984787533</c:v>
                </c:pt>
                <c:pt idx="10531" formatCode="0.0%">
                  <c:v>0.12587814672604336</c:v>
                </c:pt>
                <c:pt idx="10532" formatCode="0.0%">
                  <c:v>0.12070123429724186</c:v>
                </c:pt>
                <c:pt idx="10533" formatCode="0.0%">
                  <c:v>0.13007288213673299</c:v>
                </c:pt>
                <c:pt idx="10534" formatCode="0.0%">
                  <c:v>0.12620000460232084</c:v>
                </c:pt>
                <c:pt idx="10535" formatCode="0.0%">
                  <c:v>0.11617357141008902</c:v>
                </c:pt>
                <c:pt idx="10536" formatCode="0.0%">
                  <c:v>0.10997675586772122</c:v>
                </c:pt>
                <c:pt idx="10537" formatCode="0.0%">
                  <c:v>0.10844651860939208</c:v>
                </c:pt>
                <c:pt idx="10538" formatCode="0.0%">
                  <c:v>0.10381412287729996</c:v>
                </c:pt>
                <c:pt idx="10539" formatCode="0.0%">
                  <c:v>9.9909434878275055E-2</c:v>
                </c:pt>
                <c:pt idx="10540" formatCode="0.0%">
                  <c:v>0.10206787653152506</c:v>
                </c:pt>
                <c:pt idx="10541" formatCode="0.0%">
                  <c:v>0.11047764508530744</c:v>
                </c:pt>
                <c:pt idx="10542" formatCode="0.0%">
                  <c:v>0.10788210769108661</c:v>
                </c:pt>
                <c:pt idx="10543" formatCode="0.0%">
                  <c:v>9.9277536076120471E-2</c:v>
                </c:pt>
                <c:pt idx="10544" formatCode="0.0%">
                  <c:v>9.6129687652037984E-2</c:v>
                </c:pt>
                <c:pt idx="10545" formatCode="0.0%">
                  <c:v>9.7962176919219393E-2</c:v>
                </c:pt>
                <c:pt idx="10546" formatCode="0.0%">
                  <c:v>0.10582734122787094</c:v>
                </c:pt>
                <c:pt idx="10547" formatCode="0.0%">
                  <c:v>0.10675293074802425</c:v>
                </c:pt>
                <c:pt idx="10548" formatCode="0.0%">
                  <c:v>0.10689210824419469</c:v>
                </c:pt>
                <c:pt idx="10549" formatCode="0.0%">
                  <c:v>9.7776589887982754E-2</c:v>
                </c:pt>
                <c:pt idx="10550" formatCode="0.0%">
                  <c:v>9.7809155226233652E-2</c:v>
                </c:pt>
                <c:pt idx="10551" formatCode="0.0%">
                  <c:v>9.6948039402222949E-2</c:v>
                </c:pt>
                <c:pt idx="10552" formatCode="0.0%">
                  <c:v>0.10577483297350733</c:v>
                </c:pt>
                <c:pt idx="10553" formatCode="0.0%">
                  <c:v>0.1159051466261696</c:v>
                </c:pt>
                <c:pt idx="10554" formatCode="0.0%">
                  <c:v>0.11428527936588095</c:v>
                </c:pt>
                <c:pt idx="10555" formatCode="0.0%">
                  <c:v>0.1126247597017719</c:v>
                </c:pt>
                <c:pt idx="10556" formatCode="0.0%">
                  <c:v>0.11230475109271548</c:v>
                </c:pt>
                <c:pt idx="10557" formatCode="0.0%">
                  <c:v>0.11173989641572014</c:v>
                </c:pt>
                <c:pt idx="10558" formatCode="0.0%">
                  <c:v>0.11203752464460436</c:v>
                </c:pt>
                <c:pt idx="10559" formatCode="0.0%">
                  <c:v>0.11308684871935537</c:v>
                </c:pt>
                <c:pt idx="10560" formatCode="0.0%">
                  <c:v>0.11369889462512818</c:v>
                </c:pt>
                <c:pt idx="10561" formatCode="0.0%">
                  <c:v>0.10776935644399251</c:v>
                </c:pt>
                <c:pt idx="10562" formatCode="0.0%">
                  <c:v>0.10729773577439157</c:v>
                </c:pt>
                <c:pt idx="10563" formatCode="0.0%">
                  <c:v>0.1072986156543554</c:v>
                </c:pt>
                <c:pt idx="10564" formatCode="0.0%">
                  <c:v>0.10694781979435088</c:v>
                </c:pt>
                <c:pt idx="10565" formatCode="0.0%">
                  <c:v>0.10804746111912762</c:v>
                </c:pt>
                <c:pt idx="10566" formatCode="0.0%">
                  <c:v>0.10531150647865362</c:v>
                </c:pt>
                <c:pt idx="10567" formatCode="0.0%">
                  <c:v>0.10419060343787594</c:v>
                </c:pt>
                <c:pt idx="10568" formatCode="0.0%">
                  <c:v>0.10871125002627401</c:v>
                </c:pt>
                <c:pt idx="10569" formatCode="0.0%">
                  <c:v>0.10883278289464092</c:v>
                </c:pt>
                <c:pt idx="10570" formatCode="0.0%">
                  <c:v>0.10863610527672939</c:v>
                </c:pt>
                <c:pt idx="10571" formatCode="0.0%">
                  <c:v>0.10982965187627243</c:v>
                </c:pt>
                <c:pt idx="10572" formatCode="0.0%">
                  <c:v>0.10786924046775009</c:v>
                </c:pt>
                <c:pt idx="10573" formatCode="0.0%">
                  <c:v>7.9538486851286033E-2</c:v>
                </c:pt>
                <c:pt idx="10574" formatCode="0.0%">
                  <c:v>7.6842776792566694E-2</c:v>
                </c:pt>
                <c:pt idx="10575" formatCode="0.0%">
                  <c:v>8.7387491095812286E-2</c:v>
                </c:pt>
                <c:pt idx="10576" formatCode="0.0%">
                  <c:v>9.21942372631296E-2</c:v>
                </c:pt>
                <c:pt idx="10577" formatCode="0.0%">
                  <c:v>0.1220782196281482</c:v>
                </c:pt>
                <c:pt idx="10578" formatCode="0.0%">
                  <c:v>0.12200746118002261</c:v>
                </c:pt>
                <c:pt idx="10579" formatCode="0.0%">
                  <c:v>0.1227702285744498</c:v>
                </c:pt>
                <c:pt idx="10580" formatCode="0.0%">
                  <c:v>0.15308791992524112</c:v>
                </c:pt>
                <c:pt idx="10581" formatCode="0.0%">
                  <c:v>0.15267864995302471</c:v>
                </c:pt>
                <c:pt idx="10582" formatCode="0.0%">
                  <c:v>0.16315559204302987</c:v>
                </c:pt>
                <c:pt idx="10583" formatCode="0.0%">
                  <c:v>0.16570170345719767</c:v>
                </c:pt>
                <c:pt idx="10584" formatCode="0.0%">
                  <c:v>0.16555632212161855</c:v>
                </c:pt>
                <c:pt idx="10585" formatCode="0.0%">
                  <c:v>0.16658365990284163</c:v>
                </c:pt>
                <c:pt idx="10586" formatCode="0.0%">
                  <c:v>0.16686992617273119</c:v>
                </c:pt>
                <c:pt idx="10587" formatCode="0.0%">
                  <c:v>0.17117737358849086</c:v>
                </c:pt>
                <c:pt idx="10588" formatCode="0.0%">
                  <c:v>0.17316167767121193</c:v>
                </c:pt>
                <c:pt idx="10589" formatCode="0.0%">
                  <c:v>0.19540934812193253</c:v>
                </c:pt>
                <c:pt idx="10590" formatCode="0.0%">
                  <c:v>0.19491119061488188</c:v>
                </c:pt>
                <c:pt idx="10591" formatCode="0.0%">
                  <c:v>0.20133836811408456</c:v>
                </c:pt>
                <c:pt idx="10592" formatCode="0.0%">
                  <c:v>0.2121998743188914</c:v>
                </c:pt>
                <c:pt idx="10593" formatCode="0.0%">
                  <c:v>0.21460808980124566</c:v>
                </c:pt>
                <c:pt idx="10594" formatCode="0.0%">
                  <c:v>0.21624498998376429</c:v>
                </c:pt>
                <c:pt idx="10595" formatCode="0.0%">
                  <c:v>0.22705912897042882</c:v>
                </c:pt>
                <c:pt idx="10596" formatCode="0.0%">
                  <c:v>0.22667559104630769</c:v>
                </c:pt>
                <c:pt idx="10597" formatCode="0.0%">
                  <c:v>0.28930429959386245</c:v>
                </c:pt>
                <c:pt idx="10598" formatCode="0.0%">
                  <c:v>0.30933793589019676</c:v>
                </c:pt>
                <c:pt idx="10599" formatCode="0.0%">
                  <c:v>0.3272254765372612</c:v>
                </c:pt>
                <c:pt idx="10600" formatCode="0.0%">
                  <c:v>0.31765676370036477</c:v>
                </c:pt>
                <c:pt idx="10601" formatCode="0.0%">
                  <c:v>0.31724843056892377</c:v>
                </c:pt>
                <c:pt idx="10602" formatCode="0.0%">
                  <c:v>0.31624282647640978</c:v>
                </c:pt>
                <c:pt idx="10603" formatCode="0.0%">
                  <c:v>0.31955822343619983</c:v>
                </c:pt>
                <c:pt idx="10604" formatCode="0.0%">
                  <c:v>0.3232183031409151</c:v>
                </c:pt>
                <c:pt idx="10605" formatCode="0.0%">
                  <c:v>0.32165017305818988</c:v>
                </c:pt>
                <c:pt idx="10606" formatCode="0.0%">
                  <c:v>0.32069776312005321</c:v>
                </c:pt>
                <c:pt idx="10607" formatCode="0.0%">
                  <c:v>0.31700792495408192</c:v>
                </c:pt>
                <c:pt idx="10608" formatCode="0.0%">
                  <c:v>0.31666927175974841</c:v>
                </c:pt>
                <c:pt idx="10609" formatCode="0.0%">
                  <c:v>0.30792769875552234</c:v>
                </c:pt>
                <c:pt idx="10610" formatCode="0.0%">
                  <c:v>0.30814049138219529</c:v>
                </c:pt>
                <c:pt idx="10611" formatCode="0.0%">
                  <c:v>0.31283225142042426</c:v>
                </c:pt>
                <c:pt idx="10612" formatCode="0.0%">
                  <c:v>0.29705808968496905</c:v>
                </c:pt>
                <c:pt idx="10613" formatCode="0.0%">
                  <c:v>0.28752479232956124</c:v>
                </c:pt>
                <c:pt idx="10614" formatCode="0.0%">
                  <c:v>0.28780982330111415</c:v>
                </c:pt>
                <c:pt idx="10615" formatCode="0.0%">
                  <c:v>0.26547629344346446</c:v>
                </c:pt>
                <c:pt idx="10616" formatCode="0.0%">
                  <c:v>0.27811028797728132</c:v>
                </c:pt>
                <c:pt idx="10617" formatCode="0.0%">
                  <c:v>0.22504310307764472</c:v>
                </c:pt>
                <c:pt idx="10618" formatCode="0.0%">
                  <c:v>0.206193988414102</c:v>
                </c:pt>
                <c:pt idx="10619" formatCode="0.0%">
                  <c:v>0.18285963678146314</c:v>
                </c:pt>
                <c:pt idx="10620" formatCode="0.0%">
                  <c:v>0.16977152425283709</c:v>
                </c:pt>
                <c:pt idx="10621" formatCode="0.0%">
                  <c:v>0.1693741023595923</c:v>
                </c:pt>
                <c:pt idx="10622" formatCode="0.0%">
                  <c:v>0.16594846029902763</c:v>
                </c:pt>
                <c:pt idx="10623" formatCode="0.0%">
                  <c:v>0.1605952244676718</c:v>
                </c:pt>
                <c:pt idx="10624" formatCode="0.0%">
                  <c:v>0.16086167955751673</c:v>
                </c:pt>
                <c:pt idx="10625" formatCode="0.0%">
                  <c:v>0.16169581151434578</c:v>
                </c:pt>
                <c:pt idx="10626" formatCode="0.0%">
                  <c:v>0.18847091053550588</c:v>
                </c:pt>
                <c:pt idx="10627" formatCode="0.0%">
                  <c:v>0.19475724089197674</c:v>
                </c:pt>
                <c:pt idx="10628" formatCode="0.0%">
                  <c:v>0.19049569718830062</c:v>
                </c:pt>
                <c:pt idx="10629" formatCode="0.0%">
                  <c:v>0.19016480439405897</c:v>
                </c:pt>
                <c:pt idx="10630" formatCode="0.0%">
                  <c:v>0.19002731250103519</c:v>
                </c:pt>
                <c:pt idx="10631" formatCode="0.0%">
                  <c:v>0.17387088708875137</c:v>
                </c:pt>
                <c:pt idx="10632" formatCode="0.0%">
                  <c:v>0.18196064546327634</c:v>
                </c:pt>
                <c:pt idx="10633" formatCode="0.0%">
                  <c:v>0.19091837050897253</c:v>
                </c:pt>
                <c:pt idx="10634" formatCode="0.0%">
                  <c:v>0.18947657947545307</c:v>
                </c:pt>
                <c:pt idx="10635" formatCode="0.0%">
                  <c:v>0.19176670710421456</c:v>
                </c:pt>
                <c:pt idx="10636" formatCode="0.0%">
                  <c:v>0.16738739165104508</c:v>
                </c:pt>
                <c:pt idx="10637" formatCode="0.0%">
                  <c:v>0.16530502953157858</c:v>
                </c:pt>
                <c:pt idx="10638" formatCode="0.0%">
                  <c:v>0.16611646487039966</c:v>
                </c:pt>
                <c:pt idx="10639" formatCode="0.0%">
                  <c:v>0.16294761127869617</c:v>
                </c:pt>
                <c:pt idx="10640" formatCode="0.0%">
                  <c:v>0.15810099830892327</c:v>
                </c:pt>
                <c:pt idx="10641" formatCode="0.0%">
                  <c:v>0.15672276801833832</c:v>
                </c:pt>
                <c:pt idx="10642" formatCode="0.0%">
                  <c:v>0.15707584712932512</c:v>
                </c:pt>
                <c:pt idx="10643" formatCode="0.0%">
                  <c:v>0.15656930009837544</c:v>
                </c:pt>
                <c:pt idx="10644" formatCode="0.0%">
                  <c:v>0.15275652142598795</c:v>
                </c:pt>
                <c:pt idx="10645" formatCode="0.0%">
                  <c:v>0.14705280637859805</c:v>
                </c:pt>
                <c:pt idx="10646" formatCode="0.0%">
                  <c:v>0.12593669445440811</c:v>
                </c:pt>
                <c:pt idx="10647" formatCode="0.0%">
                  <c:v>0.11883851234183002</c:v>
                </c:pt>
                <c:pt idx="10648" formatCode="0.0%">
                  <c:v>0.11747906968341468</c:v>
                </c:pt>
                <c:pt idx="10649" formatCode="0.0%">
                  <c:v>0.13003227455637176</c:v>
                </c:pt>
                <c:pt idx="10650" formatCode="0.0%">
                  <c:v>0.13170645686321014</c:v>
                </c:pt>
                <c:pt idx="10651" formatCode="0.0%">
                  <c:v>0.12802161889468139</c:v>
                </c:pt>
                <c:pt idx="10652" formatCode="0.0%">
                  <c:v>0.11951130087464884</c:v>
                </c:pt>
                <c:pt idx="10653" formatCode="0.0%">
                  <c:v>0.1009875442885346</c:v>
                </c:pt>
                <c:pt idx="10654" formatCode="0.0%">
                  <c:v>0.10157505648906408</c:v>
                </c:pt>
                <c:pt idx="10655" formatCode="0.0%">
                  <c:v>0.10691399831832296</c:v>
                </c:pt>
                <c:pt idx="10656" formatCode="0.0%">
                  <c:v>0.11313517209192729</c:v>
                </c:pt>
                <c:pt idx="10657" formatCode="0.0%">
                  <c:v>0.10832977827511298</c:v>
                </c:pt>
                <c:pt idx="10658" formatCode="0.0%">
                  <c:v>0.13030985482289467</c:v>
                </c:pt>
                <c:pt idx="10659" formatCode="0.0%">
                  <c:v>0.14928769542472534</c:v>
                </c:pt>
                <c:pt idx="10660" formatCode="0.0%">
                  <c:v>0.14928487003090535</c:v>
                </c:pt>
                <c:pt idx="10661" formatCode="0.0%">
                  <c:v>0.14923512090050867</c:v>
                </c:pt>
                <c:pt idx="10662" formatCode="0.0%">
                  <c:v>0.14968463202673474</c:v>
                </c:pt>
                <c:pt idx="10663" formatCode="0.0%">
                  <c:v>0.15186524369383272</c:v>
                </c:pt>
                <c:pt idx="10664" formatCode="0.0%">
                  <c:v>0.1425492934368684</c:v>
                </c:pt>
                <c:pt idx="10665" formatCode="0.0%">
                  <c:v>0.14678872793390016</c:v>
                </c:pt>
                <c:pt idx="10666" formatCode="0.0%">
                  <c:v>0.14673412308702538</c:v>
                </c:pt>
                <c:pt idx="10667" formatCode="0.0%">
                  <c:v>0.15147016176467132</c:v>
                </c:pt>
                <c:pt idx="10668" formatCode="0.0%">
                  <c:v>0.15284690757904398</c:v>
                </c:pt>
                <c:pt idx="10669" formatCode="0.0%">
                  <c:v>0.13823819336985993</c:v>
                </c:pt>
                <c:pt idx="10670" formatCode="0.0%">
                  <c:v>0.1366383812829676</c:v>
                </c:pt>
                <c:pt idx="10671" formatCode="0.0%">
                  <c:v>0.1372641666627748</c:v>
                </c:pt>
                <c:pt idx="10672" formatCode="0.0%">
                  <c:v>0.12844238152333715</c:v>
                </c:pt>
                <c:pt idx="10673" formatCode="0.0%">
                  <c:v>0.13359089160446602</c:v>
                </c:pt>
                <c:pt idx="10674" formatCode="0.0%">
                  <c:v>0.1412862171601928</c:v>
                </c:pt>
                <c:pt idx="10675" formatCode="0.0%">
                  <c:v>0.13852903328380836</c:v>
                </c:pt>
                <c:pt idx="10676" formatCode="0.0%">
                  <c:v>0.13684474796460155</c:v>
                </c:pt>
                <c:pt idx="10677" formatCode="0.0%">
                  <c:v>0.13536300076998481</c:v>
                </c:pt>
                <c:pt idx="10678" formatCode="0.0%">
                  <c:v>0.12500847934318834</c:v>
                </c:pt>
                <c:pt idx="10679" formatCode="0.0%">
                  <c:v>0.10052576120493245</c:v>
                </c:pt>
                <c:pt idx="10680" formatCode="0.0%">
                  <c:v>0.11185674616870847</c:v>
                </c:pt>
                <c:pt idx="10681" formatCode="0.0%">
                  <c:v>0.11958524209152861</c:v>
                </c:pt>
                <c:pt idx="10682" formatCode="0.0%">
                  <c:v>0.11903487693917612</c:v>
                </c:pt>
                <c:pt idx="10683" formatCode="0.0%">
                  <c:v>0.11577300993766369</c:v>
                </c:pt>
                <c:pt idx="10684" formatCode="0.0%">
                  <c:v>0.11479341565098802</c:v>
                </c:pt>
                <c:pt idx="10685" formatCode="0.0%">
                  <c:v>0.11068707538306619</c:v>
                </c:pt>
                <c:pt idx="10686" formatCode="0.0%">
                  <c:v>0.11050435113893793</c:v>
                </c:pt>
                <c:pt idx="10687" formatCode="0.0%">
                  <c:v>0.10568289273240423</c:v>
                </c:pt>
                <c:pt idx="10688" formatCode="0.0%">
                  <c:v>0.11339738227891499</c:v>
                </c:pt>
                <c:pt idx="10689" formatCode="0.0%">
                  <c:v>0.11367051286412057</c:v>
                </c:pt>
                <c:pt idx="10690" formatCode="0.0%">
                  <c:v>0.11219811685501925</c:v>
                </c:pt>
                <c:pt idx="10691" formatCode="0.0%">
                  <c:v>0.11828286479668258</c:v>
                </c:pt>
                <c:pt idx="10692" formatCode="0.0%">
                  <c:v>0.12609094349377548</c:v>
                </c:pt>
                <c:pt idx="10693" formatCode="0.0%">
                  <c:v>0.13126952714475223</c:v>
                </c:pt>
                <c:pt idx="10694" formatCode="0.0%">
                  <c:v>0.12637086124537758</c:v>
                </c:pt>
                <c:pt idx="10695" formatCode="0.0%">
                  <c:v>0.12563783374582135</c:v>
                </c:pt>
                <c:pt idx="10696" formatCode="0.0%">
                  <c:v>0.12534154791264657</c:v>
                </c:pt>
                <c:pt idx="10697" formatCode="0.0%">
                  <c:v>0.12657147188589685</c:v>
                </c:pt>
                <c:pt idx="10698" formatCode="0.0%">
                  <c:v>0.13252066603421062</c:v>
                </c:pt>
                <c:pt idx="10699" formatCode="0.0%">
                  <c:v>0.13290886682530567</c:v>
                </c:pt>
                <c:pt idx="10700" formatCode="0.0%">
                  <c:v>0.12367712643615532</c:v>
                </c:pt>
                <c:pt idx="10701" formatCode="0.0%">
                  <c:v>0.11514597975289241</c:v>
                </c:pt>
                <c:pt idx="10702" formatCode="0.0%">
                  <c:v>0.11646240845464037</c:v>
                </c:pt>
                <c:pt idx="10703" formatCode="0.0%">
                  <c:v>0.11797414205762345</c:v>
                </c:pt>
                <c:pt idx="10704" formatCode="0.0%">
                  <c:v>0.11627879763856185</c:v>
                </c:pt>
                <c:pt idx="10705" formatCode="0.0%">
                  <c:v>0.11731911164976377</c:v>
                </c:pt>
                <c:pt idx="10706" formatCode="0.0%">
                  <c:v>0.11713665030887202</c:v>
                </c:pt>
                <c:pt idx="10707" formatCode="0.0%">
                  <c:v>0.1103927866330844</c:v>
                </c:pt>
                <c:pt idx="10708" formatCode="0.0%">
                  <c:v>9.3602065579270505E-2</c:v>
                </c:pt>
                <c:pt idx="10709" formatCode="0.0%">
                  <c:v>9.8155153436324499E-2</c:v>
                </c:pt>
                <c:pt idx="10710" formatCode="0.0%">
                  <c:v>9.8728967448929908E-2</c:v>
                </c:pt>
                <c:pt idx="10711" formatCode="0.0%">
                  <c:v>9.2663815028949201E-2</c:v>
                </c:pt>
                <c:pt idx="10712" formatCode="0.0%">
                  <c:v>8.6523260609094627E-2</c:v>
                </c:pt>
                <c:pt idx="10713" formatCode="0.0%">
                  <c:v>7.9839834298418635E-2</c:v>
                </c:pt>
                <c:pt idx="10714" formatCode="0.0%">
                  <c:v>7.9699442588583261E-2</c:v>
                </c:pt>
                <c:pt idx="10715" formatCode="0.0%">
                  <c:v>8.0065655578966013E-2</c:v>
                </c:pt>
                <c:pt idx="10716" formatCode="0.0%">
                  <c:v>8.6569225316359119E-2</c:v>
                </c:pt>
                <c:pt idx="10717" formatCode="0.0%">
                  <c:v>9.1296395008012926E-2</c:v>
                </c:pt>
                <c:pt idx="10718" formatCode="0.0%">
                  <c:v>7.7640704712253303E-2</c:v>
                </c:pt>
                <c:pt idx="10719" formatCode="0.0%">
                  <c:v>7.4709578931057133E-2</c:v>
                </c:pt>
                <c:pt idx="10720" formatCode="0.0%">
                  <c:v>7.809188087981217E-2</c:v>
                </c:pt>
                <c:pt idx="10721" formatCode="0.0%">
                  <c:v>7.7642628303873099E-2</c:v>
                </c:pt>
                <c:pt idx="10722" formatCode="0.0%">
                  <c:v>8.3750621870866696E-2</c:v>
                </c:pt>
                <c:pt idx="10723" formatCode="0.0%">
                  <c:v>8.3899069842318749E-2</c:v>
                </c:pt>
                <c:pt idx="10724" formatCode="0.0%">
                  <c:v>8.5637928778564479E-2</c:v>
                </c:pt>
                <c:pt idx="10725" formatCode="0.0%">
                  <c:v>8.5607506997428376E-2</c:v>
                </c:pt>
                <c:pt idx="10726" formatCode="0.0%">
                  <c:v>9.080299221445394E-2</c:v>
                </c:pt>
                <c:pt idx="10727" formatCode="0.0%">
                  <c:v>0.10130791459214901</c:v>
                </c:pt>
                <c:pt idx="10728" formatCode="0.0%">
                  <c:v>0.10130515989849544</c:v>
                </c:pt>
                <c:pt idx="10729" formatCode="0.0%">
                  <c:v>0.10425451879075771</c:v>
                </c:pt>
                <c:pt idx="10730" formatCode="0.0%">
                  <c:v>0.104544988238318</c:v>
                </c:pt>
                <c:pt idx="10731" formatCode="0.0%">
                  <c:v>0.10276909511787134</c:v>
                </c:pt>
                <c:pt idx="10732" formatCode="0.0%">
                  <c:v>0.10287093840432658</c:v>
                </c:pt>
                <c:pt idx="10733" formatCode="0.0%">
                  <c:v>0.10684976885780996</c:v>
                </c:pt>
                <c:pt idx="10734" formatCode="0.0%">
                  <c:v>0.10697895606189842</c:v>
                </c:pt>
                <c:pt idx="10735" formatCode="0.0%">
                  <c:v>0.10711334600322546</c:v>
                </c:pt>
                <c:pt idx="10736" formatCode="0.0%">
                  <c:v>9.5089628170922841E-2</c:v>
                </c:pt>
                <c:pt idx="10737" formatCode="0.0%">
                  <c:v>8.8519210716053856E-2</c:v>
                </c:pt>
                <c:pt idx="10738" formatCode="0.0%">
                  <c:v>8.8518978086865027E-2</c:v>
                </c:pt>
                <c:pt idx="10739" formatCode="0.0%">
                  <c:v>8.8739102992352561E-2</c:v>
                </c:pt>
                <c:pt idx="10740" formatCode="0.0%">
                  <c:v>7.9977411099898033E-2</c:v>
                </c:pt>
                <c:pt idx="10741" formatCode="0.0%">
                  <c:v>7.9750662530899977E-2</c:v>
                </c:pt>
                <c:pt idx="10742" formatCode="0.0%">
                  <c:v>8.1014699678228455E-2</c:v>
                </c:pt>
                <c:pt idx="10743" formatCode="0.0%">
                  <c:v>8.0852025487527832E-2</c:v>
                </c:pt>
                <c:pt idx="10744" formatCode="0.0%">
                  <c:v>8.053040893517141E-2</c:v>
                </c:pt>
                <c:pt idx="10745" formatCode="0.0%">
                  <c:v>8.1039370139999969E-2</c:v>
                </c:pt>
                <c:pt idx="10746" formatCode="0.0%">
                  <c:v>7.760492927241941E-2</c:v>
                </c:pt>
                <c:pt idx="10747" formatCode="0.0%">
                  <c:v>7.075485105614851E-2</c:v>
                </c:pt>
                <c:pt idx="10748" formatCode="0.0%">
                  <c:v>7.0778117265198767E-2</c:v>
                </c:pt>
                <c:pt idx="10749" formatCode="0.0%">
                  <c:v>6.3884139965959819E-2</c:v>
                </c:pt>
                <c:pt idx="10750" formatCode="0.0%">
                  <c:v>7.7742062892638283E-2</c:v>
                </c:pt>
                <c:pt idx="10751" formatCode="0.0%">
                  <c:v>7.8502757115689797E-2</c:v>
                </c:pt>
                <c:pt idx="10752" formatCode="0.0%">
                  <c:v>7.8959327129958887E-2</c:v>
                </c:pt>
                <c:pt idx="10753" formatCode="0.0%">
                  <c:v>7.5207743797477383E-2</c:v>
                </c:pt>
                <c:pt idx="10754" formatCode="0.0%">
                  <c:v>7.6286052227567541E-2</c:v>
                </c:pt>
                <c:pt idx="10755" formatCode="0.0%">
                  <c:v>7.6645665601162691E-2</c:v>
                </c:pt>
                <c:pt idx="10756" formatCode="0.0%">
                  <c:v>7.9987462909964835E-2</c:v>
                </c:pt>
                <c:pt idx="10757" formatCode="0.0%">
                  <c:v>7.7221065185852367E-2</c:v>
                </c:pt>
                <c:pt idx="10758" formatCode="0.0%">
                  <c:v>7.6431081276113449E-2</c:v>
                </c:pt>
                <c:pt idx="10759" formatCode="0.0%">
                  <c:v>7.6370219484739266E-2</c:v>
                </c:pt>
                <c:pt idx="10760" formatCode="0.0%">
                  <c:v>7.6548729228379353E-2</c:v>
                </c:pt>
                <c:pt idx="10761" formatCode="0.0%">
                  <c:v>7.6846410426031547E-2</c:v>
                </c:pt>
                <c:pt idx="10762" formatCode="0.0%">
                  <c:v>7.4839520714580457E-2</c:v>
                </c:pt>
                <c:pt idx="10763" formatCode="0.0%">
                  <c:v>7.5164412412666998E-2</c:v>
                </c:pt>
                <c:pt idx="10764" formatCode="0.0%">
                  <c:v>7.6972807616692271E-2</c:v>
                </c:pt>
                <c:pt idx="10765" formatCode="0.0%">
                  <c:v>7.6381796699295332E-2</c:v>
                </c:pt>
                <c:pt idx="10766" formatCode="0.0%">
                  <c:v>7.5741603955777115E-2</c:v>
                </c:pt>
                <c:pt idx="10767" formatCode="0.0%">
                  <c:v>7.6460339112225537E-2</c:v>
                </c:pt>
                <c:pt idx="10768" formatCode="0.0%">
                  <c:v>7.6726683918157262E-2</c:v>
                </c:pt>
                <c:pt idx="10769" formatCode="0.0%">
                  <c:v>7.826254580303646E-2</c:v>
                </c:pt>
                <c:pt idx="10770" formatCode="0.0%">
                  <c:v>6.2557139187114849E-2</c:v>
                </c:pt>
                <c:pt idx="10771" formatCode="0.0%">
                  <c:v>6.1100989927542072E-2</c:v>
                </c:pt>
                <c:pt idx="10772" formatCode="0.0%">
                  <c:v>5.9678634872175722E-2</c:v>
                </c:pt>
                <c:pt idx="10773" formatCode="0.0%">
                  <c:v>5.9882345844632111E-2</c:v>
                </c:pt>
                <c:pt idx="10774" formatCode="0.0%">
                  <c:v>5.7742630420929343E-2</c:v>
                </c:pt>
                <c:pt idx="10775" formatCode="0.0%">
                  <c:v>5.5667372467524991E-2</c:v>
                </c:pt>
                <c:pt idx="10776" formatCode="0.0%">
                  <c:v>5.2751973682799699E-2</c:v>
                </c:pt>
                <c:pt idx="10777" formatCode="0.0%">
                  <c:v>5.2249772795746538E-2</c:v>
                </c:pt>
                <c:pt idx="10778" formatCode="0.0%">
                  <c:v>5.3175988095446478E-2</c:v>
                </c:pt>
                <c:pt idx="10779" formatCode="0.0%">
                  <c:v>5.396920136288879E-2</c:v>
                </c:pt>
                <c:pt idx="10780" formatCode="0.0%">
                  <c:v>5.3785808564939842E-2</c:v>
                </c:pt>
                <c:pt idx="10781" formatCode="0.0%">
                  <c:v>5.9668292220796865E-2</c:v>
                </c:pt>
                <c:pt idx="10782" formatCode="0.0%">
                  <c:v>6.7162921611305881E-2</c:v>
                </c:pt>
                <c:pt idx="10783" formatCode="0.0%">
                  <c:v>7.5932086275266999E-2</c:v>
                </c:pt>
                <c:pt idx="10784" formatCode="0.0%">
                  <c:v>8.349226383893002E-2</c:v>
                </c:pt>
                <c:pt idx="10785" formatCode="0.0%">
                  <c:v>8.3292411381237566E-2</c:v>
                </c:pt>
                <c:pt idx="10786" formatCode="0.0%">
                  <c:v>8.565321060228212E-2</c:v>
                </c:pt>
                <c:pt idx="10787" formatCode="0.0%">
                  <c:v>8.0418441238411048E-2</c:v>
                </c:pt>
                <c:pt idx="10788" formatCode="0.0%">
                  <c:v>8.0523784360804554E-2</c:v>
                </c:pt>
                <c:pt idx="10789" formatCode="0.0%">
                  <c:v>7.7469301911838873E-2</c:v>
                </c:pt>
                <c:pt idx="10790" formatCode="0.0%">
                  <c:v>7.5172543323619348E-2</c:v>
                </c:pt>
                <c:pt idx="10791" formatCode="0.0%">
                  <c:v>7.520038547077379E-2</c:v>
                </c:pt>
                <c:pt idx="10792" formatCode="0.0%">
                  <c:v>8.2554438821225762E-2</c:v>
                </c:pt>
                <c:pt idx="10793" formatCode="0.0%">
                  <c:v>8.9623475265528788E-2</c:v>
                </c:pt>
                <c:pt idx="10794" formatCode="0.0%">
                  <c:v>9.0003952132125753E-2</c:v>
                </c:pt>
                <c:pt idx="10795" formatCode="0.0%">
                  <c:v>8.8692818045557675E-2</c:v>
                </c:pt>
                <c:pt idx="10796" formatCode="0.0%">
                  <c:v>8.9178179885814973E-2</c:v>
                </c:pt>
                <c:pt idx="10797" formatCode="0.0%">
                  <c:v>8.8819623916660026E-2</c:v>
                </c:pt>
                <c:pt idx="10798" formatCode="0.0%">
                  <c:v>8.7423303476748399E-2</c:v>
                </c:pt>
                <c:pt idx="10799" formatCode="0.0%">
                  <c:v>9.3964322236963965E-2</c:v>
                </c:pt>
                <c:pt idx="10800" formatCode="0.0%">
                  <c:v>9.4859226967586321E-2</c:v>
                </c:pt>
                <c:pt idx="10801" formatCode="0.0%">
                  <c:v>9.2636610664352692E-2</c:v>
                </c:pt>
                <c:pt idx="10802" formatCode="0.0%">
                  <c:v>8.7779061232131556E-2</c:v>
                </c:pt>
                <c:pt idx="10803" formatCode="0.0%">
                  <c:v>8.0312903239159239E-2</c:v>
                </c:pt>
                <c:pt idx="10804" formatCode="0.0%">
                  <c:v>6.886815570642088E-2</c:v>
                </c:pt>
                <c:pt idx="10805" formatCode="0.0%">
                  <c:v>7.1708816029744743E-2</c:v>
                </c:pt>
                <c:pt idx="10806" formatCode="0.0%">
                  <c:v>7.5956017657897681E-2</c:v>
                </c:pt>
                <c:pt idx="10807" formatCode="0.0%">
                  <c:v>7.6132100400729694E-2</c:v>
                </c:pt>
                <c:pt idx="10808" formatCode="0.0%">
                  <c:v>7.5525290547137969E-2</c:v>
                </c:pt>
                <c:pt idx="10809" formatCode="0.0%">
                  <c:v>7.5491546658566611E-2</c:v>
                </c:pt>
                <c:pt idx="10810" formatCode="0.0%">
                  <c:v>7.5246968042658458E-2</c:v>
                </c:pt>
                <c:pt idx="10811" formatCode="0.0%">
                  <c:v>7.5020372801240409E-2</c:v>
                </c:pt>
                <c:pt idx="10812" formatCode="0.0%">
                  <c:v>6.8411852233780004E-2</c:v>
                </c:pt>
                <c:pt idx="10813" formatCode="0.0%">
                  <c:v>5.8980612662973261E-2</c:v>
                </c:pt>
                <c:pt idx="10814" formatCode="0.0%">
                  <c:v>5.7870651532041253E-2</c:v>
                </c:pt>
                <c:pt idx="10815" formatCode="0.0%">
                  <c:v>6.21935891007721E-2</c:v>
                </c:pt>
                <c:pt idx="10816" formatCode="0.0%">
                  <c:v>6.2628974990554198E-2</c:v>
                </c:pt>
                <c:pt idx="10817" formatCode="0.0%">
                  <c:v>6.2611966510706399E-2</c:v>
                </c:pt>
                <c:pt idx="10818" formatCode="0.0%">
                  <c:v>6.6451049809506252E-2</c:v>
                </c:pt>
                <c:pt idx="10819" formatCode="0.0%">
                  <c:v>5.557960671066E-2</c:v>
                </c:pt>
                <c:pt idx="10820" formatCode="0.0%">
                  <c:v>5.4653883572980337E-2</c:v>
                </c:pt>
                <c:pt idx="10821" formatCode="0.0%">
                  <c:v>5.4178198166130079E-2</c:v>
                </c:pt>
                <c:pt idx="10822" formatCode="0.0%">
                  <c:v>5.4405396968294779E-2</c:v>
                </c:pt>
                <c:pt idx="10823" formatCode="0.0%">
                  <c:v>5.4936429223139835E-2</c:v>
                </c:pt>
                <c:pt idx="10824" formatCode="0.0%">
                  <c:v>5.4916784923783886E-2</c:v>
                </c:pt>
                <c:pt idx="10825" formatCode="0.0%">
                  <c:v>5.3879975384379594E-2</c:v>
                </c:pt>
                <c:pt idx="10826" formatCode="0.0%">
                  <c:v>4.4535984372429838E-2</c:v>
                </c:pt>
                <c:pt idx="10827" formatCode="0.0%">
                  <c:v>4.4893574203934548E-2</c:v>
                </c:pt>
                <c:pt idx="10828" formatCode="0.0%">
                  <c:v>4.6057757767551721E-2</c:v>
                </c:pt>
                <c:pt idx="10829" formatCode="0.0%">
                  <c:v>4.6576750478349423E-2</c:v>
                </c:pt>
                <c:pt idx="10830" formatCode="0.0%">
                  <c:v>4.6879759859997316E-2</c:v>
                </c:pt>
                <c:pt idx="10831" formatCode="0.0%">
                  <c:v>4.8197775051912799E-2</c:v>
                </c:pt>
                <c:pt idx="10832" formatCode="0.0%">
                  <c:v>5.702794028884775E-2</c:v>
                </c:pt>
                <c:pt idx="10833" formatCode="0.0%">
                  <c:v>6.3888912633352238E-2</c:v>
                </c:pt>
                <c:pt idx="10834" formatCode="0.0%">
                  <c:v>6.5016711085666104E-2</c:v>
                </c:pt>
                <c:pt idx="10835" formatCode="0.0%">
                  <c:v>6.1655592484772904E-2</c:v>
                </c:pt>
                <c:pt idx="10836" formatCode="0.0%">
                  <c:v>6.4178080905845855E-2</c:v>
                </c:pt>
                <c:pt idx="10837" formatCode="0.0%">
                  <c:v>6.5752113490713263E-2</c:v>
                </c:pt>
                <c:pt idx="10838" formatCode="0.0%">
                  <c:v>6.2475276605247855E-2</c:v>
                </c:pt>
                <c:pt idx="10839" formatCode="0.0%">
                  <c:v>6.3126000815292099E-2</c:v>
                </c:pt>
                <c:pt idx="10840" formatCode="0.0%">
                  <c:v>6.2355567862188717E-2</c:v>
                </c:pt>
                <c:pt idx="10841" formatCode="0.0%">
                  <c:v>6.2341633589298028E-2</c:v>
                </c:pt>
                <c:pt idx="10842" formatCode="0.0%">
                  <c:v>6.4162040716270588E-2</c:v>
                </c:pt>
                <c:pt idx="10843" formatCode="0.0%">
                  <c:v>7.8523023208202647E-2</c:v>
                </c:pt>
                <c:pt idx="10844" formatCode="0.0%">
                  <c:v>7.8752113109643501E-2</c:v>
                </c:pt>
                <c:pt idx="10845" formatCode="0.0%">
                  <c:v>7.9731578267535019E-2</c:v>
                </c:pt>
                <c:pt idx="10846" formatCode="0.0%">
                  <c:v>7.9969232658371872E-2</c:v>
                </c:pt>
                <c:pt idx="10847" formatCode="0.0%">
                  <c:v>7.7209961212552816E-2</c:v>
                </c:pt>
                <c:pt idx="10848" formatCode="0.0%">
                  <c:v>8.1133491840412145E-2</c:v>
                </c:pt>
                <c:pt idx="10849" formatCode="0.0%">
                  <c:v>7.9337076382239677E-2</c:v>
                </c:pt>
                <c:pt idx="10850" formatCode="0.0%">
                  <c:v>7.7325066751295149E-2</c:v>
                </c:pt>
                <c:pt idx="10851" formatCode="0.0%">
                  <c:v>7.7234063978846162E-2</c:v>
                </c:pt>
                <c:pt idx="10852" formatCode="0.0%">
                  <c:v>7.7595046529850178E-2</c:v>
                </c:pt>
                <c:pt idx="10853" formatCode="0.0%">
                  <c:v>8.0607924917135712E-2</c:v>
                </c:pt>
                <c:pt idx="10854" formatCode="0.0%">
                  <c:v>8.3967535290521547E-2</c:v>
                </c:pt>
                <c:pt idx="10855" formatCode="0.0%">
                  <c:v>8.411379500037619E-2</c:v>
                </c:pt>
                <c:pt idx="10856" formatCode="0.0%">
                  <c:v>8.4016649643796446E-2</c:v>
                </c:pt>
                <c:pt idx="10857" formatCode="0.0%">
                  <c:v>8.3519602264096229E-2</c:v>
                </c:pt>
                <c:pt idx="10858" formatCode="0.0%">
                  <c:v>8.6306798939358581E-2</c:v>
                </c:pt>
                <c:pt idx="10859" formatCode="0.0%">
                  <c:v>8.53442563399021E-2</c:v>
                </c:pt>
                <c:pt idx="10860" formatCode="0.0%">
                  <c:v>8.5842188178752873E-2</c:v>
                </c:pt>
                <c:pt idx="10861" formatCode="0.0%">
                  <c:v>8.7829402189955982E-2</c:v>
                </c:pt>
                <c:pt idx="10862" formatCode="0.0%">
                  <c:v>9.0995646233216473E-2</c:v>
                </c:pt>
                <c:pt idx="10863" formatCode="0.0%">
                  <c:v>7.4587640423419546E-2</c:v>
                </c:pt>
                <c:pt idx="10864" formatCode="0.0%">
                  <c:v>7.4786500525430344E-2</c:v>
                </c:pt>
                <c:pt idx="10865" formatCode="0.0%">
                  <c:v>7.418663663135916E-2</c:v>
                </c:pt>
                <c:pt idx="10866" formatCode="0.0%">
                  <c:v>9.0606501735159023E-2</c:v>
                </c:pt>
                <c:pt idx="10867" formatCode="0.0%">
                  <c:v>9.7173422763187009E-2</c:v>
                </c:pt>
                <c:pt idx="10868" formatCode="0.0%">
                  <c:v>9.3790952939944383E-2</c:v>
                </c:pt>
                <c:pt idx="10869" formatCode="0.0%">
                  <c:v>9.750369967659768E-2</c:v>
                </c:pt>
                <c:pt idx="10870" formatCode="0.0%">
                  <c:v>9.7499321240324593E-2</c:v>
                </c:pt>
                <c:pt idx="10871" formatCode="0.0%">
                  <c:v>9.7487617169886118E-2</c:v>
                </c:pt>
                <c:pt idx="10872" formatCode="0.0%">
                  <c:v>9.7013601352870821E-2</c:v>
                </c:pt>
                <c:pt idx="10873" formatCode="0.0%">
                  <c:v>0.10342807394003839</c:v>
                </c:pt>
                <c:pt idx="10874" formatCode="0.0%">
                  <c:v>0.10490720471832139</c:v>
                </c:pt>
                <c:pt idx="10875" formatCode="0.0%">
                  <c:v>0.10495643596089171</c:v>
                </c:pt>
                <c:pt idx="10876" formatCode="0.0%">
                  <c:v>0.10418640120933659</c:v>
                </c:pt>
                <c:pt idx="10877" formatCode="0.0%">
                  <c:v>0.10415667356370255</c:v>
                </c:pt>
                <c:pt idx="10878" formatCode="0.0%">
                  <c:v>0.10096457448596285</c:v>
                </c:pt>
                <c:pt idx="10879" formatCode="0.0%">
                  <c:v>0.1015706202679096</c:v>
                </c:pt>
                <c:pt idx="10880" formatCode="0.0%">
                  <c:v>0.10156983772775677</c:v>
                </c:pt>
                <c:pt idx="10881" formatCode="0.0%">
                  <c:v>0.10046647178163669</c:v>
                </c:pt>
                <c:pt idx="10882" formatCode="0.0%">
                  <c:v>0.10686783948548183</c:v>
                </c:pt>
                <c:pt idx="10883" formatCode="0.0%">
                  <c:v>0.10708282398672361</c:v>
                </c:pt>
                <c:pt idx="10884" formatCode="0.0%">
                  <c:v>0.10675864675168724</c:v>
                </c:pt>
                <c:pt idx="10885" formatCode="0.0%">
                  <c:v>0.10681469308538974</c:v>
                </c:pt>
                <c:pt idx="10886" formatCode="0.0%">
                  <c:v>9.1979975092574162E-2</c:v>
                </c:pt>
                <c:pt idx="10887" formatCode="0.0%">
                  <c:v>8.2858198127495189E-2</c:v>
                </c:pt>
                <c:pt idx="10888" formatCode="0.0%">
                  <c:v>8.1894534785029227E-2</c:v>
                </c:pt>
                <c:pt idx="10889" formatCode="0.0%">
                  <c:v>7.7325551495605771E-2</c:v>
                </c:pt>
                <c:pt idx="10890" formatCode="0.0%">
                  <c:v>7.7020052321703641E-2</c:v>
                </c:pt>
                <c:pt idx="10891" formatCode="0.0%">
                  <c:v>7.7428830111233624E-2</c:v>
                </c:pt>
                <c:pt idx="10892" formatCode="0.0%">
                  <c:v>8.3840197816013456E-2</c:v>
                </c:pt>
                <c:pt idx="10893" formatCode="0.0%">
                  <c:v>7.6943597440184461E-2</c:v>
                </c:pt>
                <c:pt idx="10894" formatCode="0.0%">
                  <c:v>7.5633124542488592E-2</c:v>
                </c:pt>
                <c:pt idx="10895" formatCode="0.0%">
                  <c:v>7.5519584635516848E-2</c:v>
                </c:pt>
                <c:pt idx="10896" formatCode="0.0%">
                  <c:v>7.8280865132448182E-2</c:v>
                </c:pt>
                <c:pt idx="10897" formatCode="0.0%">
                  <c:v>9.0963972080238806E-2</c:v>
                </c:pt>
                <c:pt idx="10898" formatCode="0.0%">
                  <c:v>8.9518172282811392E-2</c:v>
                </c:pt>
                <c:pt idx="10899" formatCode="0.0%">
                  <c:v>8.8776313257570905E-2</c:v>
                </c:pt>
                <c:pt idx="10900" formatCode="0.0%">
                  <c:v>8.720384657405307E-2</c:v>
                </c:pt>
                <c:pt idx="10901" formatCode="0.0%">
                  <c:v>8.673989147573101E-2</c:v>
                </c:pt>
                <c:pt idx="10902" formatCode="0.0%">
                  <c:v>8.0161140886109455E-2</c:v>
                </c:pt>
                <c:pt idx="10903" formatCode="0.0%">
                  <c:v>9.6237667243627562E-2</c:v>
                </c:pt>
                <c:pt idx="10904" formatCode="0.0%">
                  <c:v>0.1122360177588104</c:v>
                </c:pt>
                <c:pt idx="10905" formatCode="0.0%">
                  <c:v>0.11237183322365524</c:v>
                </c:pt>
                <c:pt idx="10906" formatCode="0.0%">
                  <c:v>0.16317406655681019</c:v>
                </c:pt>
                <c:pt idx="10907" formatCode="0.0%">
                  <c:v>0.16859539081130823</c:v>
                </c:pt>
                <c:pt idx="10908" formatCode="0.0%">
                  <c:v>0.17612518828531881</c:v>
                </c:pt>
                <c:pt idx="10909" formatCode="0.0%">
                  <c:v>0.17668116708003059</c:v>
                </c:pt>
                <c:pt idx="10910" formatCode="0.0%">
                  <c:v>0.1767852168706501</c:v>
                </c:pt>
                <c:pt idx="10911" formatCode="0.0%">
                  <c:v>0.18037196943370939</c:v>
                </c:pt>
                <c:pt idx="10912" formatCode="0.0%">
                  <c:v>0.18029421277552971</c:v>
                </c:pt>
                <c:pt idx="10913" formatCode="0.0%">
                  <c:v>0.17750058075088285</c:v>
                </c:pt>
                <c:pt idx="10914" formatCode="0.0%">
                  <c:v>0.17177851023648552</c:v>
                </c:pt>
                <c:pt idx="10915" formatCode="0.0%">
                  <c:v>0.16992100031269586</c:v>
                </c:pt>
                <c:pt idx="10916" formatCode="0.0%">
                  <c:v>0.17511220656577323</c:v>
                </c:pt>
                <c:pt idx="10917" formatCode="0.0%">
                  <c:v>0.16536416699690853</c:v>
                </c:pt>
                <c:pt idx="10918" formatCode="0.0%">
                  <c:v>0.16219653041127022</c:v>
                </c:pt>
                <c:pt idx="10919" formatCode="0.0%">
                  <c:v>0.16219273219159872</c:v>
                </c:pt>
                <c:pt idx="10920" formatCode="0.0%">
                  <c:v>0.1670037726826504</c:v>
                </c:pt>
                <c:pt idx="10921" formatCode="0.0%">
                  <c:v>0.16191008575122137</c:v>
                </c:pt>
                <c:pt idx="10922" formatCode="0.0%">
                  <c:v>0.16147915592040593</c:v>
                </c:pt>
                <c:pt idx="10923" formatCode="0.0%">
                  <c:v>0.16189464218097183</c:v>
                </c:pt>
                <c:pt idx="10924" formatCode="0.0%">
                  <c:v>0.15828462513982952</c:v>
                </c:pt>
                <c:pt idx="10925" formatCode="0.0%">
                  <c:v>0.15840535534455832</c:v>
                </c:pt>
                <c:pt idx="10926" formatCode="0.0%">
                  <c:v>0.11782418078963017</c:v>
                </c:pt>
                <c:pt idx="10927" formatCode="0.0%">
                  <c:v>0.11007969058680811</c:v>
                </c:pt>
                <c:pt idx="10928" formatCode="0.0%">
                  <c:v>9.7272251037643434E-2</c:v>
                </c:pt>
                <c:pt idx="10929" formatCode="0.0%">
                  <c:v>9.5777177670015909E-2</c:v>
                </c:pt>
                <c:pt idx="10930" formatCode="0.0%">
                  <c:v>9.6610458336886904E-2</c:v>
                </c:pt>
                <c:pt idx="10931" formatCode="0.0%">
                  <c:v>9.0700826148097088E-2</c:v>
                </c:pt>
                <c:pt idx="10932" formatCode="0.0%">
                  <c:v>8.6653816462421013E-2</c:v>
                </c:pt>
                <c:pt idx="10933" formatCode="0.0%">
                  <c:v>8.6562438109463277E-2</c:v>
                </c:pt>
                <c:pt idx="10934" formatCode="0.0%">
                  <c:v>8.6659420720829286E-2</c:v>
                </c:pt>
                <c:pt idx="10935" formatCode="0.0%">
                  <c:v>8.6972939515456052E-2</c:v>
                </c:pt>
                <c:pt idx="10936" formatCode="0.0%">
                  <c:v>8.2496318495883778E-2</c:v>
                </c:pt>
                <c:pt idx="10937" formatCode="0.0%">
                  <c:v>8.1110035218584148E-2</c:v>
                </c:pt>
                <c:pt idx="10938" formatCode="0.0%">
                  <c:v>8.3032838701697295E-2</c:v>
                </c:pt>
                <c:pt idx="10939" formatCode="0.0%">
                  <c:v>8.5622875810091412E-2</c:v>
                </c:pt>
                <c:pt idx="10940" formatCode="0.0%">
                  <c:v>6.8559306280032581E-2</c:v>
                </c:pt>
                <c:pt idx="10941" formatCode="0.0%">
                  <c:v>6.5638689497092464E-2</c:v>
                </c:pt>
                <c:pt idx="10942" formatCode="0.0%">
                  <c:v>7.1143264256484484E-2</c:v>
                </c:pt>
                <c:pt idx="10943" formatCode="0.0%">
                  <c:v>6.9622794184276013E-2</c:v>
                </c:pt>
                <c:pt idx="10944" formatCode="0.0%">
                  <c:v>7.2144400927813726E-2</c:v>
                </c:pt>
                <c:pt idx="10945" formatCode="0.0%">
                  <c:v>7.1528429759389445E-2</c:v>
                </c:pt>
                <c:pt idx="10946" formatCode="0.0%">
                  <c:v>6.8431982130071983E-2</c:v>
                </c:pt>
                <c:pt idx="10947" formatCode="0.0%">
                  <c:v>6.924248688602315E-2</c:v>
                </c:pt>
                <c:pt idx="10948" formatCode="0.0%">
                  <c:v>7.5907225978447429E-2</c:v>
                </c:pt>
                <c:pt idx="10949" formatCode="0.0%">
                  <c:v>7.5107556409250667E-2</c:v>
                </c:pt>
                <c:pt idx="10950" formatCode="0.0%">
                  <c:v>7.5861491915844764E-2</c:v>
                </c:pt>
                <c:pt idx="10951" formatCode="0.0%">
                  <c:v>7.5936561643885736E-2</c:v>
                </c:pt>
                <c:pt idx="10952" formatCode="0.0%">
                  <c:v>8.4630391664959878E-2</c:v>
                </c:pt>
                <c:pt idx="10953" formatCode="0.0%">
                  <c:v>8.4674827835919009E-2</c:v>
                </c:pt>
                <c:pt idx="10954" formatCode="0.0%">
                  <c:v>8.4621577451278615E-2</c:v>
                </c:pt>
                <c:pt idx="10955" formatCode="0.0%">
                  <c:v>8.4005048760866188E-2</c:v>
                </c:pt>
                <c:pt idx="10956" formatCode="0.0%">
                  <c:v>8.3080458274917265E-2</c:v>
                </c:pt>
                <c:pt idx="10957" formatCode="0.0%">
                  <c:v>8.7943893614195912E-2</c:v>
                </c:pt>
                <c:pt idx="10958" formatCode="0.0%">
                  <c:v>8.5756066701016168E-2</c:v>
                </c:pt>
                <c:pt idx="10959" formatCode="0.0%">
                  <c:v>8.2427270323582491E-2</c:v>
                </c:pt>
                <c:pt idx="10960" formatCode="0.0%">
                  <c:v>9.1664968185853485E-2</c:v>
                </c:pt>
                <c:pt idx="10961" formatCode="0.0%">
                  <c:v>9.510307672962498E-2</c:v>
                </c:pt>
                <c:pt idx="10962" formatCode="0.0%">
                  <c:v>0.11702292060995544</c:v>
                </c:pt>
                <c:pt idx="10963" formatCode="0.0%">
                  <c:v>0.11591737021832499</c:v>
                </c:pt>
                <c:pt idx="10964" formatCode="0.0%">
                  <c:v>0.11503680545829928</c:v>
                </c:pt>
                <c:pt idx="10965" formatCode="0.0%">
                  <c:v>0.11520095517720091</c:v>
                </c:pt>
                <c:pt idx="10966" formatCode="0.0%">
                  <c:v>0.11324226967482934</c:v>
                </c:pt>
                <c:pt idx="10967" formatCode="0.0%">
                  <c:v>0.11690109073106486</c:v>
                </c:pt>
                <c:pt idx="10968" formatCode="0.0%">
                  <c:v>0.12140841233462481</c:v>
                </c:pt>
                <c:pt idx="10969" formatCode="0.0%">
                  <c:v>0.12191463429302338</c:v>
                </c:pt>
                <c:pt idx="10970" formatCode="0.0%">
                  <c:v>0.12179289742894245</c:v>
                </c:pt>
                <c:pt idx="10971" formatCode="0.0%">
                  <c:v>0.12978161280731257</c:v>
                </c:pt>
                <c:pt idx="10972" formatCode="0.0%">
                  <c:v>0.12263673585264384</c:v>
                </c:pt>
                <c:pt idx="10973" formatCode="0.0%">
                  <c:v>0.12457439251208081</c:v>
                </c:pt>
                <c:pt idx="10974" formatCode="0.0%">
                  <c:v>0.12524296261384021</c:v>
                </c:pt>
                <c:pt idx="10975" formatCode="0.0%">
                  <c:v>0.12743114964881005</c:v>
                </c:pt>
                <c:pt idx="10976" formatCode="0.0%">
                  <c:v>0.12841069114550713</c:v>
                </c:pt>
                <c:pt idx="10977" formatCode="0.0%">
                  <c:v>0.12601787699050887</c:v>
                </c:pt>
                <c:pt idx="10978" formatCode="0.0%">
                  <c:v>0.14352801971910711</c:v>
                </c:pt>
                <c:pt idx="10979" formatCode="0.0%">
                  <c:v>0.15521209321565313</c:v>
                </c:pt>
                <c:pt idx="10980" formatCode="0.0%">
                  <c:v>0.1464256365776479</c:v>
                </c:pt>
                <c:pt idx="10981" formatCode="0.0%">
                  <c:v>0.1563975363251458</c:v>
                </c:pt>
                <c:pt idx="10982" formatCode="0.0%">
                  <c:v>0.14301734004887351</c:v>
                </c:pt>
                <c:pt idx="10983" formatCode="0.0%">
                  <c:v>0.14915267606006086</c:v>
                </c:pt>
                <c:pt idx="10984" formatCode="0.0%">
                  <c:v>0.1502638636056553</c:v>
                </c:pt>
                <c:pt idx="10985" formatCode="0.0%">
                  <c:v>0.15038433525271361</c:v>
                </c:pt>
                <c:pt idx="10986" formatCode="0.0%">
                  <c:v>0.15039749774847369</c:v>
                </c:pt>
                <c:pt idx="10987" formatCode="0.0%">
                  <c:v>0.14310879526692882</c:v>
                </c:pt>
                <c:pt idx="10988" formatCode="0.0%">
                  <c:v>0.13152362733797709</c:v>
                </c:pt>
                <c:pt idx="10989" formatCode="0.0%">
                  <c:v>0.13109946007495324</c:v>
                </c:pt>
                <c:pt idx="10990" formatCode="0.0%">
                  <c:v>0.13054343657104514</c:v>
                </c:pt>
                <c:pt idx="10991" formatCode="0.0%">
                  <c:v>0.12997986096469558</c:v>
                </c:pt>
                <c:pt idx="10992" formatCode="0.0%">
                  <c:v>0.13370234964155051</c:v>
                </c:pt>
                <c:pt idx="10993" formatCode="0.0%">
                  <c:v>0.12683305656682034</c:v>
                </c:pt>
                <c:pt idx="10994" formatCode="0.0%">
                  <c:v>0.12463980264237903</c:v>
                </c:pt>
                <c:pt idx="10995" formatCode="0.0%">
                  <c:v>0.11354169512494969</c:v>
                </c:pt>
                <c:pt idx="10996" formatCode="0.0%">
                  <c:v>0.11230951704020865</c:v>
                </c:pt>
                <c:pt idx="10997" formatCode="0.0%">
                  <c:v>0.11724806489550491</c:v>
                </c:pt>
                <c:pt idx="10998" formatCode="0.0%">
                  <c:v>0.10843674692724146</c:v>
                </c:pt>
                <c:pt idx="10999" formatCode="0.0%">
                  <c:v>0.10213114791439852</c:v>
                </c:pt>
                <c:pt idx="11000" formatCode="0.0%">
                  <c:v>0.10209074983466354</c:v>
                </c:pt>
                <c:pt idx="11001" formatCode="0.0%">
                  <c:v>9.5482148174805062E-2</c:v>
                </c:pt>
                <c:pt idx="11002" formatCode="0.0%">
                  <c:v>9.5483100270223803E-2</c:v>
                </c:pt>
                <c:pt idx="11003" formatCode="0.0%">
                  <c:v>9.1864278527947624E-2</c:v>
                </c:pt>
                <c:pt idx="11004" formatCode="0.0%">
                  <c:v>8.6999563885633707E-2</c:v>
                </c:pt>
                <c:pt idx="11005" formatCode="0.0%">
                  <c:v>9.0213150598983854E-2</c:v>
                </c:pt>
                <c:pt idx="11006" formatCode="0.0%">
                  <c:v>8.9767541919004309E-2</c:v>
                </c:pt>
                <c:pt idx="11007" formatCode="0.0%">
                  <c:v>9.0151175853317125E-2</c:v>
                </c:pt>
                <c:pt idx="11008" formatCode="0.0%">
                  <c:v>9.0151714573370095E-2</c:v>
                </c:pt>
                <c:pt idx="11009" formatCode="0.0%">
                  <c:v>9.0137078779634922E-2</c:v>
                </c:pt>
                <c:pt idx="11010" formatCode="0.0%">
                  <c:v>8.8911341601088059E-2</c:v>
                </c:pt>
                <c:pt idx="11011" formatCode="0.0%">
                  <c:v>9.117226081636115E-2</c:v>
                </c:pt>
                <c:pt idx="11012" formatCode="0.0%">
                  <c:v>8.3699279057580109E-2</c:v>
                </c:pt>
                <c:pt idx="11013" formatCode="0.0%">
                  <c:v>8.287189810355497E-2</c:v>
                </c:pt>
                <c:pt idx="11014" formatCode="0.0%">
                  <c:v>7.220138895266745E-2</c:v>
                </c:pt>
                <c:pt idx="11015" formatCode="0.0%">
                  <c:v>7.2727292171279725E-2</c:v>
                </c:pt>
                <c:pt idx="11016" formatCode="0.0%">
                  <c:v>6.786493058599484E-2</c:v>
                </c:pt>
                <c:pt idx="11017" formatCode="0.0%">
                  <c:v>6.5886646786566028E-2</c:v>
                </c:pt>
                <c:pt idx="11018" formatCode="0.0%">
                  <c:v>7.8156007505045477E-2</c:v>
                </c:pt>
                <c:pt idx="11019" formatCode="0.0%">
                  <c:v>7.0708055622387231E-2</c:v>
                </c:pt>
                <c:pt idx="11020" formatCode="0.0%">
                  <c:v>7.1067327335679692E-2</c:v>
                </c:pt>
                <c:pt idx="11021" formatCode="0.0%">
                  <c:v>7.6707994095045987E-2</c:v>
                </c:pt>
                <c:pt idx="11022" formatCode="0.0%">
                  <c:v>7.884403303841514E-2</c:v>
                </c:pt>
                <c:pt idx="11023" formatCode="0.0%">
                  <c:v>7.7421762557423904E-2</c:v>
                </c:pt>
                <c:pt idx="11024" formatCode="0.0%">
                  <c:v>7.6601972017015046E-2</c:v>
                </c:pt>
                <c:pt idx="11025" formatCode="0.0%">
                  <c:v>7.2629601483091583E-2</c:v>
                </c:pt>
                <c:pt idx="11026" formatCode="0.0%">
                  <c:v>7.1536401817488326E-2</c:v>
                </c:pt>
                <c:pt idx="11027" formatCode="0.0%">
                  <c:v>7.1652406981048883E-2</c:v>
                </c:pt>
                <c:pt idx="11028" formatCode="0.0%">
                  <c:v>7.2503488719784889E-2</c:v>
                </c:pt>
                <c:pt idx="11029" formatCode="0.0%">
                  <c:v>7.2035717200037472E-2</c:v>
                </c:pt>
                <c:pt idx="11030" formatCode="0.0%">
                  <c:v>7.6232578756265545E-2</c:v>
                </c:pt>
                <c:pt idx="11031" formatCode="0.0%">
                  <c:v>7.201766214152043E-2</c:v>
                </c:pt>
                <c:pt idx="11032" formatCode="0.0%">
                  <c:v>7.4404617888163452E-2</c:v>
                </c:pt>
                <c:pt idx="11033" formatCode="0.0%">
                  <c:v>7.6372914211927823E-2</c:v>
                </c:pt>
                <c:pt idx="11034" formatCode="0.0%">
                  <c:v>7.6851444321771947E-2</c:v>
                </c:pt>
                <c:pt idx="11035" formatCode="0.0%">
                  <c:v>7.8499422837127214E-2</c:v>
                </c:pt>
                <c:pt idx="11036" formatCode="0.0%">
                  <c:v>7.8545750838343378E-2</c:v>
                </c:pt>
                <c:pt idx="11037" formatCode="0.0%">
                  <c:v>7.8957284103686368E-2</c:v>
                </c:pt>
                <c:pt idx="11038" formatCode="0.0%">
                  <c:v>6.6980803355785407E-2</c:v>
                </c:pt>
                <c:pt idx="11039" formatCode="0.0%">
                  <c:v>6.694047314134316E-2</c:v>
                </c:pt>
                <c:pt idx="11040" formatCode="0.0%">
                  <c:v>6.533108288517965E-2</c:v>
                </c:pt>
                <c:pt idx="11041" formatCode="0.0%">
                  <c:v>6.1234893222649842E-2</c:v>
                </c:pt>
                <c:pt idx="11042" formatCode="0.0%">
                  <c:v>5.8311625383037344E-2</c:v>
                </c:pt>
                <c:pt idx="11043" formatCode="0.0%">
                  <c:v>5.7820152097560487E-2</c:v>
                </c:pt>
                <c:pt idx="11044" formatCode="0.0%">
                  <c:v>6.1595971841464814E-2</c:v>
                </c:pt>
                <c:pt idx="11045" formatCode="0.0%">
                  <c:v>5.9155618796417606E-2</c:v>
                </c:pt>
                <c:pt idx="11046" formatCode="0.0%">
                  <c:v>6.0906665100383249E-2</c:v>
                </c:pt>
                <c:pt idx="11047" formatCode="0.0%">
                  <c:v>6.4652067114403272E-2</c:v>
                </c:pt>
                <c:pt idx="11048" formatCode="0.0%">
                  <c:v>6.2158600110065201E-2</c:v>
                </c:pt>
                <c:pt idx="11049" formatCode="0.0%">
                  <c:v>6.2305039800473729E-2</c:v>
                </c:pt>
                <c:pt idx="11050" formatCode="0.0%">
                  <c:v>5.8882864238813358E-2</c:v>
                </c:pt>
                <c:pt idx="11051" formatCode="0.0%">
                  <c:v>6.3601506237692174E-2</c:v>
                </c:pt>
                <c:pt idx="11052" formatCode="0.0%">
                  <c:v>7.1538610455830903E-2</c:v>
                </c:pt>
                <c:pt idx="11053" formatCode="0.0%">
                  <c:v>6.8398545575902511E-2</c:v>
                </c:pt>
                <c:pt idx="11054" formatCode="0.0%">
                  <c:v>6.760823367169598E-2</c:v>
                </c:pt>
                <c:pt idx="11055" formatCode="0.0%">
                  <c:v>6.6733303619017512E-2</c:v>
                </c:pt>
                <c:pt idx="11056" formatCode="0.0%">
                  <c:v>6.7412390657865098E-2</c:v>
                </c:pt>
                <c:pt idx="11057" formatCode="0.0%">
                  <c:v>6.7510726348300826E-2</c:v>
                </c:pt>
                <c:pt idx="11058" formatCode="0.0%">
                  <c:v>7.5433270548186715E-2</c:v>
                </c:pt>
                <c:pt idx="11059" formatCode="0.0%">
                  <c:v>7.5477347080589091E-2</c:v>
                </c:pt>
                <c:pt idx="11060" formatCode="0.0%">
                  <c:v>8.0385663187335032E-2</c:v>
                </c:pt>
                <c:pt idx="11061" formatCode="0.0%">
                  <c:v>7.807434977164833E-2</c:v>
                </c:pt>
                <c:pt idx="11062" formatCode="0.0%">
                  <c:v>7.8636634510620695E-2</c:v>
                </c:pt>
                <c:pt idx="11063" formatCode="0.0%">
                  <c:v>7.8005011528042137E-2</c:v>
                </c:pt>
                <c:pt idx="11064" formatCode="0.0%">
                  <c:v>7.6777746895817636E-2</c:v>
                </c:pt>
                <c:pt idx="11065" formatCode="0.0%">
                  <c:v>8.0756039311189937E-2</c:v>
                </c:pt>
                <c:pt idx="11066" formatCode="0.0%">
                  <c:v>7.8488255093589351E-2</c:v>
                </c:pt>
                <c:pt idx="11067" formatCode="0.0%">
                  <c:v>7.6406373014181711E-2</c:v>
                </c:pt>
                <c:pt idx="11068" formatCode="0.0%">
                  <c:v>8.1982521456154325E-2</c:v>
                </c:pt>
                <c:pt idx="11069" formatCode="0.0%">
                  <c:v>8.3050690370287894E-2</c:v>
                </c:pt>
                <c:pt idx="11070" formatCode="0.0%">
                  <c:v>8.3230358886987682E-2</c:v>
                </c:pt>
                <c:pt idx="11071" formatCode="0.0%">
                  <c:v>8.0961098035475604E-2</c:v>
                </c:pt>
                <c:pt idx="11072" formatCode="0.0%">
                  <c:v>7.1835163103088115E-2</c:v>
                </c:pt>
                <c:pt idx="11073" formatCode="0.0%">
                  <c:v>7.2295939417090171E-2</c:v>
                </c:pt>
                <c:pt idx="11074" formatCode="0.0%">
                  <c:v>7.34321796650418E-2</c:v>
                </c:pt>
                <c:pt idx="11075" formatCode="0.0%">
                  <c:v>7.2662509403568096E-2</c:v>
                </c:pt>
                <c:pt idx="11076" formatCode="0.0%">
                  <c:v>7.3238699260839646E-2</c:v>
                </c:pt>
                <c:pt idx="11077" formatCode="0.0%">
                  <c:v>7.2035470835584217E-2</c:v>
                </c:pt>
                <c:pt idx="11078" formatCode="0.0%">
                  <c:v>6.7237988057270853E-2</c:v>
                </c:pt>
                <c:pt idx="11079" formatCode="0.0%">
                  <c:v>6.7870234290114878E-2</c:v>
                </c:pt>
                <c:pt idx="11080" formatCode="0.0%">
                  <c:v>6.2285561696917804E-2</c:v>
                </c:pt>
                <c:pt idx="11081" formatCode="0.0%">
                  <c:v>6.6471396492240611E-2</c:v>
                </c:pt>
                <c:pt idx="11082" formatCode="0.0%">
                  <c:v>7.5476972747794996E-2</c:v>
                </c:pt>
                <c:pt idx="11083" formatCode="0.0%">
                  <c:v>7.5735649424237356E-2</c:v>
                </c:pt>
                <c:pt idx="11084" formatCode="0.0%">
                  <c:v>7.2211339959323786E-2</c:v>
                </c:pt>
                <c:pt idx="11085" formatCode="0.0%">
                  <c:v>7.1250844627959081E-2</c:v>
                </c:pt>
                <c:pt idx="11086" formatCode="0.0%">
                  <c:v>7.7922370678558478E-2</c:v>
                </c:pt>
                <c:pt idx="11087" formatCode="0.0%">
                  <c:v>7.6393355450917952E-2</c:v>
                </c:pt>
                <c:pt idx="11088" formatCode="0.0%">
                  <c:v>6.8516886467218041E-2</c:v>
                </c:pt>
                <c:pt idx="11089" formatCode="0.0%">
                  <c:v>6.7267251119188451E-2</c:v>
                </c:pt>
                <c:pt idx="11090" formatCode="0.0%">
                  <c:v>6.867082382985043E-2</c:v>
                </c:pt>
                <c:pt idx="11091" formatCode="0.0%">
                  <c:v>6.9619725123601206E-2</c:v>
                </c:pt>
                <c:pt idx="11092" formatCode="0.0%">
                  <c:v>7.9063911352876062E-2</c:v>
                </c:pt>
                <c:pt idx="11093" formatCode="0.0%">
                  <c:v>8.2298680687933154E-2</c:v>
                </c:pt>
                <c:pt idx="11094" formatCode="0.0%">
                  <c:v>8.4585697258005105E-2</c:v>
                </c:pt>
                <c:pt idx="11095" formatCode="0.0%">
                  <c:v>8.8804283823769606E-2</c:v>
                </c:pt>
                <c:pt idx="11096" formatCode="0.0%">
                  <c:v>9.1194169041062798E-2</c:v>
                </c:pt>
                <c:pt idx="11097" formatCode="0.0%">
                  <c:v>9.0213509040438025E-2</c:v>
                </c:pt>
                <c:pt idx="11098" formatCode="0.0%">
                  <c:v>8.9917583129549422E-2</c:v>
                </c:pt>
                <c:pt idx="11099" formatCode="0.0%">
                  <c:v>9.777015453459717E-2</c:v>
                </c:pt>
                <c:pt idx="11100" formatCode="0.0%">
                  <c:v>0.10402447104147582</c:v>
                </c:pt>
                <c:pt idx="11101" formatCode="0.0%">
                  <c:v>0.10345754824713277</c:v>
                </c:pt>
                <c:pt idx="11102" formatCode="0.0%">
                  <c:v>9.5545152254397525E-2</c:v>
                </c:pt>
                <c:pt idx="11103" formatCode="0.0%">
                  <c:v>9.5480170493803904E-2</c:v>
                </c:pt>
                <c:pt idx="11104" formatCode="0.0%">
                  <c:v>9.5482907826737518E-2</c:v>
                </c:pt>
                <c:pt idx="11105" formatCode="0.0%">
                  <c:v>9.4194326946624121E-2</c:v>
                </c:pt>
                <c:pt idx="11106" formatCode="0.0%">
                  <c:v>8.7242066059483023E-2</c:v>
                </c:pt>
                <c:pt idx="11107" formatCode="0.0%">
                  <c:v>8.9376453138811679E-2</c:v>
                </c:pt>
                <c:pt idx="11108" formatCode="0.0%">
                  <c:v>8.8911919962785746E-2</c:v>
                </c:pt>
                <c:pt idx="11109" formatCode="0.0%">
                  <c:v>8.899158871497187E-2</c:v>
                </c:pt>
                <c:pt idx="11110" formatCode="0.0%">
                  <c:v>9.5314978985266918E-2</c:v>
                </c:pt>
                <c:pt idx="11111" formatCode="0.0%">
                  <c:v>9.6173707143904386E-2</c:v>
                </c:pt>
                <c:pt idx="11112" formatCode="0.0%">
                  <c:v>8.3770472205300234E-2</c:v>
                </c:pt>
                <c:pt idx="11113" formatCode="0.0%">
                  <c:v>8.3153191410371849E-2</c:v>
                </c:pt>
                <c:pt idx="11114" formatCode="0.0%">
                  <c:v>8.4296937484203568E-2</c:v>
                </c:pt>
                <c:pt idx="11115" formatCode="0.0%">
                  <c:v>8.2097769856487729E-2</c:v>
                </c:pt>
                <c:pt idx="11116" formatCode="0.0%">
                  <c:v>8.2479841634905099E-2</c:v>
                </c:pt>
                <c:pt idx="11117" formatCode="0.0%">
                  <c:v>8.6110201238254691E-2</c:v>
                </c:pt>
                <c:pt idx="11118" formatCode="0.0%">
                  <c:v>8.5967855525713441E-2</c:v>
                </c:pt>
                <c:pt idx="11119" formatCode="0.0%">
                  <c:v>7.9106115283060205E-2</c:v>
                </c:pt>
                <c:pt idx="11120" formatCode="0.0%">
                  <c:v>7.1249130729033341E-2</c:v>
                </c:pt>
                <c:pt idx="11121" formatCode="0.0%">
                  <c:v>6.8683831929609945E-2</c:v>
                </c:pt>
                <c:pt idx="11122" formatCode="0.0%">
                  <c:v>6.9171118971159851E-2</c:v>
                </c:pt>
                <c:pt idx="11123" formatCode="0.0%">
                  <c:v>6.6317569656271586E-2</c:v>
                </c:pt>
                <c:pt idx="11124" formatCode="0.0%">
                  <c:v>6.6663607271927022E-2</c:v>
                </c:pt>
                <c:pt idx="11125" formatCode="0.0%">
                  <c:v>6.9383656631288523E-2</c:v>
                </c:pt>
                <c:pt idx="11126" formatCode="0.0%">
                  <c:v>6.921275038926071E-2</c:v>
                </c:pt>
                <c:pt idx="11127" formatCode="0.0%">
                  <c:v>6.5837346415074868E-2</c:v>
                </c:pt>
                <c:pt idx="11128" formatCode="0.0%">
                  <c:v>6.5137928109732027E-2</c:v>
                </c:pt>
                <c:pt idx="11129" formatCode="0.0%">
                  <c:v>6.6690673048362112E-2</c:v>
                </c:pt>
                <c:pt idx="11130" formatCode="0.0%">
                  <c:v>6.2825250089402873E-2</c:v>
                </c:pt>
                <c:pt idx="11131" formatCode="0.0%">
                  <c:v>6.3657120871187467E-2</c:v>
                </c:pt>
                <c:pt idx="11132" formatCode="0.0%">
                  <c:v>6.7682603108842915E-2</c:v>
                </c:pt>
                <c:pt idx="11133" formatCode="0.0%">
                  <c:v>6.7504724654154469E-2</c:v>
                </c:pt>
                <c:pt idx="11134" formatCode="0.0%">
                  <c:v>6.8962923197714798E-2</c:v>
                </c:pt>
                <c:pt idx="11135" formatCode="0.0%">
                  <c:v>7.4346231288170417E-2</c:v>
                </c:pt>
                <c:pt idx="11136" formatCode="0.0%">
                  <c:v>7.3386079694553491E-2</c:v>
                </c:pt>
                <c:pt idx="11137" formatCode="0.0%">
                  <c:v>6.9180857538156421E-2</c:v>
                </c:pt>
                <c:pt idx="11138" formatCode="0.0%">
                  <c:v>7.2120805188007758E-2</c:v>
                </c:pt>
                <c:pt idx="11139" formatCode="0.0%">
                  <c:v>7.7365675565293016E-2</c:v>
                </c:pt>
                <c:pt idx="11140" formatCode="0.0%">
                  <c:v>7.7277622999252504E-2</c:v>
                </c:pt>
                <c:pt idx="11141" formatCode="0.0%">
                  <c:v>7.6293628113268411E-2</c:v>
                </c:pt>
                <c:pt idx="11142" formatCode="0.0%">
                  <c:v>7.5600173912545532E-2</c:v>
                </c:pt>
                <c:pt idx="11143" formatCode="0.0%">
                  <c:v>8.2638036436537332E-2</c:v>
                </c:pt>
                <c:pt idx="11144" formatCode="0.0%">
                  <c:v>9.324871205315384E-2</c:v>
                </c:pt>
                <c:pt idx="11145" formatCode="0.0%">
                  <c:v>9.0039382621318373E-2</c:v>
                </c:pt>
                <c:pt idx="11146" formatCode="0.0%">
                  <c:v>8.99897553080201E-2</c:v>
                </c:pt>
                <c:pt idx="11147" formatCode="0.0%">
                  <c:v>8.9588979066855881E-2</c:v>
                </c:pt>
                <c:pt idx="11148" formatCode="0.0%">
                  <c:v>8.9314415686382084E-2</c:v>
                </c:pt>
                <c:pt idx="11149" formatCode="0.0%">
                  <c:v>8.8730141038466132E-2</c:v>
                </c:pt>
                <c:pt idx="11150" formatCode="0.0%">
                  <c:v>9.4077969284780974E-2</c:v>
                </c:pt>
                <c:pt idx="11151" formatCode="0.0%">
                  <c:v>9.633460342598564E-2</c:v>
                </c:pt>
                <c:pt idx="11152" formatCode="0.0%">
                  <c:v>9.5367063483557085E-2</c:v>
                </c:pt>
                <c:pt idx="11153" formatCode="0.0%">
                  <c:v>9.4599337308939241E-2</c:v>
                </c:pt>
                <c:pt idx="11154" formatCode="0.0%">
                  <c:v>9.1788854205147069E-2</c:v>
                </c:pt>
                <c:pt idx="11155" formatCode="0.0%">
                  <c:v>8.6205213851581891E-2</c:v>
                </c:pt>
                <c:pt idx="11156" formatCode="0.0%">
                  <c:v>8.3670817301272335E-2</c:v>
                </c:pt>
                <c:pt idx="11157" formatCode="0.0%">
                  <c:v>7.8796980431786234E-2</c:v>
                </c:pt>
                <c:pt idx="11158" formatCode="0.0%">
                  <c:v>8.1022146359244471E-2</c:v>
                </c:pt>
                <c:pt idx="11159" formatCode="0.0%">
                  <c:v>7.0332147041456114E-2</c:v>
                </c:pt>
                <c:pt idx="11160" formatCode="0.0%">
                  <c:v>7.4171132604206047E-2</c:v>
                </c:pt>
                <c:pt idx="11161" formatCode="0.0%">
                  <c:v>7.7605733617838291E-2</c:v>
                </c:pt>
                <c:pt idx="11162" formatCode="0.0%">
                  <c:v>7.7374670630193002E-2</c:v>
                </c:pt>
                <c:pt idx="11163" formatCode="0.0%">
                  <c:v>7.4833735708550689E-2</c:v>
                </c:pt>
                <c:pt idx="11164" formatCode="0.0%">
                  <c:v>6.652135108625308E-2</c:v>
                </c:pt>
                <c:pt idx="11165" formatCode="0.0%">
                  <c:v>6.5854459482011393E-2</c:v>
                </c:pt>
                <c:pt idx="11166" formatCode="0.0%">
                  <c:v>6.6289023425605859E-2</c:v>
                </c:pt>
                <c:pt idx="11167" formatCode="0.0%">
                  <c:v>8.0055086276689391E-2</c:v>
                </c:pt>
                <c:pt idx="11168" formatCode="0.0%">
                  <c:v>8.1879847186848209E-2</c:v>
                </c:pt>
                <c:pt idx="11169" formatCode="0.0%">
                  <c:v>8.4064497780027961E-2</c:v>
                </c:pt>
                <c:pt idx="11170" formatCode="0.0%">
                  <c:v>7.8535876765012502E-2</c:v>
                </c:pt>
                <c:pt idx="11171" formatCode="0.0%">
                  <c:v>7.377573074571632E-2</c:v>
                </c:pt>
                <c:pt idx="11172" formatCode="0.0%">
                  <c:v>7.0567312714626601E-2</c:v>
                </c:pt>
                <c:pt idx="11173" formatCode="0.0%">
                  <c:v>7.1154791698980868E-2</c:v>
                </c:pt>
                <c:pt idx="11174" formatCode="0.0%">
                  <c:v>7.178964677313715E-2</c:v>
                </c:pt>
                <c:pt idx="11175" formatCode="0.0%">
                  <c:v>7.5267706177993249E-2</c:v>
                </c:pt>
                <c:pt idx="11176" formatCode="0.0%">
                  <c:v>7.5438499018648866E-2</c:v>
                </c:pt>
                <c:pt idx="11177" formatCode="0.0%">
                  <c:v>7.5147735769241122E-2</c:v>
                </c:pt>
                <c:pt idx="11178" formatCode="0.0%">
                  <c:v>7.0393779410108381E-2</c:v>
                </c:pt>
                <c:pt idx="11179" formatCode="0.0%">
                  <c:v>7.2124216873510394E-2</c:v>
                </c:pt>
                <c:pt idx="11180" formatCode="0.0%">
                  <c:v>7.428696066581808E-2</c:v>
                </c:pt>
                <c:pt idx="11181" formatCode="0.0%">
                  <c:v>7.4069153374397165E-2</c:v>
                </c:pt>
                <c:pt idx="11182" formatCode="0.0%">
                  <c:v>7.3817828980928507E-2</c:v>
                </c:pt>
                <c:pt idx="11183" formatCode="0.0%">
                  <c:v>7.1513912729032778E-2</c:v>
                </c:pt>
                <c:pt idx="11184" formatCode="0.0%">
                  <c:v>7.1478564855015386E-2</c:v>
                </c:pt>
                <c:pt idx="11185" formatCode="0.0%">
                  <c:v>6.6107315694089855E-2</c:v>
                </c:pt>
                <c:pt idx="11186" formatCode="0.0%">
                  <c:v>6.6094370709560701E-2</c:v>
                </c:pt>
                <c:pt idx="11187" formatCode="0.0%">
                  <c:v>5.6536650397702955E-2</c:v>
                </c:pt>
                <c:pt idx="11188" formatCode="0.0%">
                  <c:v>5.7248260778605502E-2</c:v>
                </c:pt>
                <c:pt idx="11189" formatCode="0.0%">
                  <c:v>5.6814382937779434E-2</c:v>
                </c:pt>
                <c:pt idx="11190" formatCode="0.0%">
                  <c:v>7.668171900017888E-2</c:v>
                </c:pt>
                <c:pt idx="11191" formatCode="0.0%">
                  <c:v>8.0014217521091474E-2</c:v>
                </c:pt>
                <c:pt idx="11192" formatCode="0.0%">
                  <c:v>7.8362469793506098E-2</c:v>
                </c:pt>
                <c:pt idx="11193" formatCode="0.0%">
                  <c:v>7.7684093459095091E-2</c:v>
                </c:pt>
                <c:pt idx="11194" formatCode="0.0%">
                  <c:v>7.7614530342783261E-2</c:v>
                </c:pt>
                <c:pt idx="11195" formatCode="0.0%">
                  <c:v>7.4890948388710785E-2</c:v>
                </c:pt>
                <c:pt idx="11196" formatCode="0.0%">
                  <c:v>8.3854728470748083E-2</c:v>
                </c:pt>
                <c:pt idx="11197" formatCode="0.0%">
                  <c:v>8.7721965539718505E-2</c:v>
                </c:pt>
                <c:pt idx="11198" formatCode="0.0%">
                  <c:v>8.5662913001730179E-2</c:v>
                </c:pt>
                <c:pt idx="11199" formatCode="0.0%">
                  <c:v>7.7584254257940813E-2</c:v>
                </c:pt>
                <c:pt idx="11200" formatCode="0.0%">
                  <c:v>7.8641677641812208E-2</c:v>
                </c:pt>
                <c:pt idx="11201" formatCode="0.0%">
                  <c:v>8.4266448740972832E-2</c:v>
                </c:pt>
                <c:pt idx="11202" formatCode="0.0%">
                  <c:v>8.7002125594148619E-2</c:v>
                </c:pt>
                <c:pt idx="11203" formatCode="0.0%">
                  <c:v>9.43284539231449E-2</c:v>
                </c:pt>
                <c:pt idx="11204" formatCode="0.0%">
                  <c:v>9.8186309147773543E-2</c:v>
                </c:pt>
                <c:pt idx="11205" formatCode="0.0%">
                  <c:v>0.10116244726883633</c:v>
                </c:pt>
                <c:pt idx="11206" formatCode="0.0%">
                  <c:v>0.1011179594734842</c:v>
                </c:pt>
                <c:pt idx="11207" formatCode="0.0%">
                  <c:v>0.10856383005972625</c:v>
                </c:pt>
                <c:pt idx="11208" formatCode="0.0%">
                  <c:v>0.11236831554815804</c:v>
                </c:pt>
                <c:pt idx="11209" formatCode="0.0%">
                  <c:v>0.11290899190058035</c:v>
                </c:pt>
                <c:pt idx="11210" formatCode="0.0%">
                  <c:v>0.10295188901799908</c:v>
                </c:pt>
                <c:pt idx="11211" formatCode="0.0%">
                  <c:v>0.1009709858862167</c:v>
                </c:pt>
                <c:pt idx="11212" formatCode="0.0%">
                  <c:v>0.1015945438493704</c:v>
                </c:pt>
                <c:pt idx="11213" formatCode="0.0%">
                  <c:v>0.10073220543257322</c:v>
                </c:pt>
                <c:pt idx="11214" formatCode="0.0%">
                  <c:v>0.10536039076831316</c:v>
                </c:pt>
                <c:pt idx="11215" formatCode="0.0%">
                  <c:v>0.10972009384589397</c:v>
                </c:pt>
                <c:pt idx="11216" formatCode="0.0%">
                  <c:v>0.10056953766121288</c:v>
                </c:pt>
                <c:pt idx="11217" formatCode="0.0%">
                  <c:v>0.10207643229698744</c:v>
                </c:pt>
                <c:pt idx="11218" formatCode="0.0%">
                  <c:v>0.10310849286494227</c:v>
                </c:pt>
                <c:pt idx="11219" formatCode="0.0%">
                  <c:v>0.10635147853270671</c:v>
                </c:pt>
                <c:pt idx="11220" formatCode="0.0%">
                  <c:v>0.10400116099678282</c:v>
                </c:pt>
                <c:pt idx="11221" formatCode="0.0%">
                  <c:v>9.6995210428160783E-2</c:v>
                </c:pt>
                <c:pt idx="11222" formatCode="0.0%">
                  <c:v>9.1642473737311922E-2</c:v>
                </c:pt>
                <c:pt idx="11223" formatCode="0.0%">
                  <c:v>7.9422272517788134E-2</c:v>
                </c:pt>
                <c:pt idx="11224" formatCode="0.0%">
                  <c:v>8.2890917459668881E-2</c:v>
                </c:pt>
                <c:pt idx="11225" formatCode="0.0%">
                  <c:v>8.2480127898400729E-2</c:v>
                </c:pt>
                <c:pt idx="11226" formatCode="0.0%">
                  <c:v>8.0826061544064867E-2</c:v>
                </c:pt>
                <c:pt idx="11227" formatCode="0.0%">
                  <c:v>7.6193230555745672E-2</c:v>
                </c:pt>
                <c:pt idx="11228" formatCode="0.0%">
                  <c:v>7.2177415027730271E-2</c:v>
                </c:pt>
                <c:pt idx="11229" formatCode="0.0%">
                  <c:v>7.2952341475571419E-2</c:v>
                </c:pt>
                <c:pt idx="11230" formatCode="0.0%">
                  <c:v>7.1786987585122031E-2</c:v>
                </c:pt>
                <c:pt idx="11231" formatCode="0.0%">
                  <c:v>7.6668477812794733E-2</c:v>
                </c:pt>
                <c:pt idx="11232" formatCode="0.0%">
                  <c:v>7.556727595582545E-2</c:v>
                </c:pt>
                <c:pt idx="11233" formatCode="0.0%">
                  <c:v>7.5257433093349244E-2</c:v>
                </c:pt>
                <c:pt idx="11234" formatCode="0.0%">
                  <c:v>7.1567536665869E-2</c:v>
                </c:pt>
                <c:pt idx="11235" formatCode="0.0%">
                  <c:v>6.7557639865004168E-2</c:v>
                </c:pt>
                <c:pt idx="11236" formatCode="0.0%">
                  <c:v>6.6867659298999765E-2</c:v>
                </c:pt>
                <c:pt idx="11237" formatCode="0.0%">
                  <c:v>6.2993780250729672E-2</c:v>
                </c:pt>
                <c:pt idx="11238" formatCode="0.0%">
                  <c:v>6.1992460556805642E-2</c:v>
                </c:pt>
                <c:pt idx="11239" formatCode="0.0%">
                  <c:v>5.6627718174162518E-2</c:v>
                </c:pt>
                <c:pt idx="11240" formatCode="0.0%">
                  <c:v>5.6520077764381497E-2</c:v>
                </c:pt>
                <c:pt idx="11241" formatCode="0.0%">
                  <c:v>5.6512292222616875E-2</c:v>
                </c:pt>
                <c:pt idx="11242" formatCode="0.0%">
                  <c:v>6.0604273905474619E-2</c:v>
                </c:pt>
                <c:pt idx="11243" formatCode="0.0%">
                  <c:v>5.5163069160869556E-2</c:v>
                </c:pt>
                <c:pt idx="11244" formatCode="0.0%">
                  <c:v>5.3710116979245763E-2</c:v>
                </c:pt>
                <c:pt idx="11245" formatCode="0.0%">
                  <c:v>5.190159221523296E-2</c:v>
                </c:pt>
                <c:pt idx="11246" formatCode="0.0%">
                  <c:v>6.8691035124299721E-2</c:v>
                </c:pt>
                <c:pt idx="11247" formatCode="0.0%">
                  <c:v>7.1330074910638155E-2</c:v>
                </c:pt>
                <c:pt idx="11248" formatCode="0.0%">
                  <c:v>6.935251467562735E-2</c:v>
                </c:pt>
                <c:pt idx="11249" formatCode="0.0%">
                  <c:v>6.9939543495901133E-2</c:v>
                </c:pt>
                <c:pt idx="11250" formatCode="0.0%">
                  <c:v>7.3016665281656234E-2</c:v>
                </c:pt>
                <c:pt idx="11251" formatCode="0.0%">
                  <c:v>7.3132929309852698E-2</c:v>
                </c:pt>
                <c:pt idx="11252" formatCode="0.0%">
                  <c:v>7.53183942045762E-2</c:v>
                </c:pt>
                <c:pt idx="11253" formatCode="0.0%">
                  <c:v>8.2299111204171174E-2</c:v>
                </c:pt>
                <c:pt idx="11254" formatCode="0.0%">
                  <c:v>8.7305641143814394E-2</c:v>
                </c:pt>
                <c:pt idx="11255" formatCode="0.0%">
                  <c:v>8.5994128161954786E-2</c:v>
                </c:pt>
                <c:pt idx="11256" formatCode="0.0%">
                  <c:v>8.589073102132215E-2</c:v>
                </c:pt>
                <c:pt idx="11257" formatCode="0.0%">
                  <c:v>8.6173714160957093E-2</c:v>
                </c:pt>
                <c:pt idx="11258" formatCode="0.0%">
                  <c:v>8.5659409323086425E-2</c:v>
                </c:pt>
                <c:pt idx="11259" formatCode="0.0%">
                  <c:v>8.4380560781715366E-2</c:v>
                </c:pt>
                <c:pt idx="11260" formatCode="0.0%">
                  <c:v>8.4760894659567834E-2</c:v>
                </c:pt>
                <c:pt idx="11261" formatCode="0.0%">
                  <c:v>8.7659321002612783E-2</c:v>
                </c:pt>
                <c:pt idx="11262" formatCode="0.0%">
                  <c:v>9.1331675116522446E-2</c:v>
                </c:pt>
                <c:pt idx="11263" formatCode="0.0%">
                  <c:v>9.5104073424517266E-2</c:v>
                </c:pt>
                <c:pt idx="11264" formatCode="0.0%">
                  <c:v>9.5044288058929616E-2</c:v>
                </c:pt>
                <c:pt idx="11265" formatCode="0.0%">
                  <c:v>9.6441787540273965E-2</c:v>
                </c:pt>
                <c:pt idx="11266" formatCode="0.0%">
                  <c:v>8.5910236160400083E-2</c:v>
                </c:pt>
                <c:pt idx="11267" formatCode="0.0%">
                  <c:v>8.3517294895501235E-2</c:v>
                </c:pt>
                <c:pt idx="11268" formatCode="0.0%">
                  <c:v>8.4682224836325995E-2</c:v>
                </c:pt>
                <c:pt idx="11269" formatCode="0.0%">
                  <c:v>7.9030444998597169E-2</c:v>
                </c:pt>
                <c:pt idx="11270" formatCode="0.0%">
                  <c:v>9.1079377549565271E-2</c:v>
                </c:pt>
                <c:pt idx="11271" formatCode="0.0%">
                  <c:v>9.0515659410027427E-2</c:v>
                </c:pt>
                <c:pt idx="11272" formatCode="0.0%">
                  <c:v>8.9195187532957104E-2</c:v>
                </c:pt>
                <c:pt idx="11273" formatCode="0.0%">
                  <c:v>8.1147064265406493E-2</c:v>
                </c:pt>
                <c:pt idx="11274" formatCode="0.0%">
                  <c:v>7.3287431446698706E-2</c:v>
                </c:pt>
                <c:pt idx="11275" formatCode="0.0%">
                  <c:v>7.8141694575467824E-2</c:v>
                </c:pt>
                <c:pt idx="11276" formatCode="0.0%">
                  <c:v>7.8285786854011274E-2</c:v>
                </c:pt>
                <c:pt idx="11277" formatCode="0.0%">
                  <c:v>7.5078534735238373E-2</c:v>
                </c:pt>
                <c:pt idx="11278" formatCode="0.0%">
                  <c:v>7.626449614428453E-2</c:v>
                </c:pt>
                <c:pt idx="11279" formatCode="0.0%">
                  <c:v>7.7805682683377342E-2</c:v>
                </c:pt>
                <c:pt idx="11280" formatCode="0.0%">
                  <c:v>7.8067557125439058E-2</c:v>
                </c:pt>
                <c:pt idx="11281" formatCode="0.0%">
                  <c:v>9.1060397981657104E-2</c:v>
                </c:pt>
                <c:pt idx="11282" formatCode="0.0%">
                  <c:v>0.10176647639084951</c:v>
                </c:pt>
                <c:pt idx="11283" formatCode="0.0%">
                  <c:v>0.10266507651472827</c:v>
                </c:pt>
                <c:pt idx="11284" formatCode="0.0%">
                  <c:v>0.11367135179260358</c:v>
                </c:pt>
                <c:pt idx="11285" formatCode="0.0%">
                  <c:v>0.11246293002696459</c:v>
                </c:pt>
                <c:pt idx="11286" formatCode="0.0%">
                  <c:v>0.11423921581374288</c:v>
                </c:pt>
                <c:pt idx="11287" formatCode="0.0%">
                  <c:v>0.11574274152718302</c:v>
                </c:pt>
                <c:pt idx="11288" formatCode="0.0%">
                  <c:v>0.11636707703327841</c:v>
                </c:pt>
                <c:pt idx="11289" formatCode="0.0%">
                  <c:v>0.1162328150030838</c:v>
                </c:pt>
                <c:pt idx="11290" formatCode="0.0%">
                  <c:v>0.11452008032464145</c:v>
                </c:pt>
                <c:pt idx="11291" formatCode="0.0%">
                  <c:v>0.11721796946103445</c:v>
                </c:pt>
                <c:pt idx="11292" formatCode="0.0%">
                  <c:v>0.12206246836182204</c:v>
                </c:pt>
                <c:pt idx="11293" formatCode="0.0%">
                  <c:v>0.12641876674547664</c:v>
                </c:pt>
                <c:pt idx="11294" formatCode="0.0%">
                  <c:v>0.12638553598480015</c:v>
                </c:pt>
                <c:pt idx="11295" formatCode="0.0%">
                  <c:v>0.13013731962915301</c:v>
                </c:pt>
                <c:pt idx="11296" formatCode="0.0%">
                  <c:v>0.13079200231817062</c:v>
                </c:pt>
                <c:pt idx="11297" formatCode="0.0%">
                  <c:v>0.13897736461501958</c:v>
                </c:pt>
                <c:pt idx="11298" formatCode="0.0%">
                  <c:v>0.13925115270328792</c:v>
                </c:pt>
                <c:pt idx="11299" formatCode="0.0%">
                  <c:v>0.1370659317008594</c:v>
                </c:pt>
                <c:pt idx="11300" formatCode="0.0%">
                  <c:v>0.13683189610149873</c:v>
                </c:pt>
                <c:pt idx="11301" formatCode="0.0%">
                  <c:v>0.12787884001859065</c:v>
                </c:pt>
                <c:pt idx="11302" formatCode="0.0%">
                  <c:v>0.12147417911353704</c:v>
                </c:pt>
                <c:pt idx="11303" formatCode="0.0%">
                  <c:v>0.12027122963885749</c:v>
                </c:pt>
                <c:pt idx="11304" formatCode="0.0%">
                  <c:v>0.11197923063067289</c:v>
                </c:pt>
                <c:pt idx="11305" formatCode="0.0%">
                  <c:v>0.11164467776208198</c:v>
                </c:pt>
                <c:pt idx="11306" formatCode="0.0%">
                  <c:v>0.11735541929056328</c:v>
                </c:pt>
                <c:pt idx="11307" formatCode="0.0%">
                  <c:v>0.11594024827915587</c:v>
                </c:pt>
                <c:pt idx="11308" formatCode="0.0%">
                  <c:v>0.12210844831710274</c:v>
                </c:pt>
                <c:pt idx="11309" formatCode="0.0%">
                  <c:v>0.13078083581231068</c:v>
                </c:pt>
                <c:pt idx="11310" formatCode="0.0%">
                  <c:v>0.12692862769905316</c:v>
                </c:pt>
                <c:pt idx="11311" formatCode="0.0%">
                  <c:v>0.129763766763555</c:v>
                </c:pt>
                <c:pt idx="11312" formatCode="0.0%">
                  <c:v>0.13616378201565454</c:v>
                </c:pt>
                <c:pt idx="11313" formatCode="0.0%">
                  <c:v>0.1338508411536446</c:v>
                </c:pt>
                <c:pt idx="11314" formatCode="0.0%">
                  <c:v>0.13637568397025229</c:v>
                </c:pt>
                <c:pt idx="11315" formatCode="0.0%">
                  <c:v>0.13637704050621341</c:v>
                </c:pt>
                <c:pt idx="11316" formatCode="0.0%">
                  <c:v>0.14165418990110346</c:v>
                </c:pt>
                <c:pt idx="11317" formatCode="0.0%">
                  <c:v>0.13430130522922598</c:v>
                </c:pt>
                <c:pt idx="11318" formatCode="0.0%">
                  <c:v>0.13303078466647933</c:v>
                </c:pt>
                <c:pt idx="11319" formatCode="0.0%">
                  <c:v>0.13301417198848511</c:v>
                </c:pt>
                <c:pt idx="11320" formatCode="0.0%">
                  <c:v>0.13711472165199812</c:v>
                </c:pt>
                <c:pt idx="11321" formatCode="0.0%">
                  <c:v>0.14879583740017521</c:v>
                </c:pt>
                <c:pt idx="11322" formatCode="0.0%">
                  <c:v>0.15459302269760347</c:v>
                </c:pt>
                <c:pt idx="11323" formatCode="0.0%">
                  <c:v>0.15451234081794585</c:v>
                </c:pt>
                <c:pt idx="11324" formatCode="0.0%">
                  <c:v>0.15259517686853713</c:v>
                </c:pt>
                <c:pt idx="11325" formatCode="0.0%">
                  <c:v>0.15236489122367947</c:v>
                </c:pt>
                <c:pt idx="11326" formatCode="0.0%">
                  <c:v>0.14757445734404437</c:v>
                </c:pt>
                <c:pt idx="11327" formatCode="0.0%">
                  <c:v>0.14821977612639139</c:v>
                </c:pt>
                <c:pt idx="11328" formatCode="0.0%">
                  <c:v>0.14164924914993587</c:v>
                </c:pt>
                <c:pt idx="11329" formatCode="0.0%">
                  <c:v>0.13015261984860133</c:v>
                </c:pt>
                <c:pt idx="11330" formatCode="0.0%">
                  <c:v>0.13238853968962061</c:v>
                </c:pt>
                <c:pt idx="11331" formatCode="0.0%">
                  <c:v>0.13998750906377583</c:v>
                </c:pt>
                <c:pt idx="11332" formatCode="0.0%">
                  <c:v>0.13732080053286891</c:v>
                </c:pt>
                <c:pt idx="11333" formatCode="0.0%">
                  <c:v>0.13912401127377833</c:v>
                </c:pt>
                <c:pt idx="11334" formatCode="0.0%">
                  <c:v>0.14139368439981251</c:v>
                </c:pt>
                <c:pt idx="11335" formatCode="0.0%">
                  <c:v>0.13810443270738831</c:v>
                </c:pt>
                <c:pt idx="11336" formatCode="0.0%">
                  <c:v>0.13331101498169454</c:v>
                </c:pt>
                <c:pt idx="11337" formatCode="0.0%">
                  <c:v>0.13897753183212186</c:v>
                </c:pt>
                <c:pt idx="11338" formatCode="0.0%">
                  <c:v>0.1501478597417101</c:v>
                </c:pt>
                <c:pt idx="11339" formatCode="0.0%">
                  <c:v>0.15136518864246368</c:v>
                </c:pt>
                <c:pt idx="11340" formatCode="0.0%">
                  <c:v>0.15085436576621614</c:v>
                </c:pt>
                <c:pt idx="11341" formatCode="0.0%">
                  <c:v>0.14373868072464546</c:v>
                </c:pt>
                <c:pt idx="11342" formatCode="0.0%">
                  <c:v>0.13880367052135117</c:v>
                </c:pt>
                <c:pt idx="11343" formatCode="0.0%">
                  <c:v>0.13985965991539723</c:v>
                </c:pt>
                <c:pt idx="11344" formatCode="0.0%">
                  <c:v>0.14533382727912575</c:v>
                </c:pt>
                <c:pt idx="11345" formatCode="0.0%">
                  <c:v>0.16047028869926669</c:v>
                </c:pt>
                <c:pt idx="11346" formatCode="0.0%">
                  <c:v>0.16325595462990355</c:v>
                </c:pt>
                <c:pt idx="11347" formatCode="0.0%">
                  <c:v>0.16306167484131681</c:v>
                </c:pt>
                <c:pt idx="11348" formatCode="0.0%">
                  <c:v>0.16194260612254641</c:v>
                </c:pt>
                <c:pt idx="11349" formatCode="0.0%">
                  <c:v>0.16548547702547886</c:v>
                </c:pt>
                <c:pt idx="11350" formatCode="0.0%">
                  <c:v>0.16733589754643449</c:v>
                </c:pt>
                <c:pt idx="11351" formatCode="0.0%">
                  <c:v>0.1683202098212781</c:v>
                </c:pt>
                <c:pt idx="11352" formatCode="0.0%">
                  <c:v>0.16405994336250876</c:v>
                </c:pt>
                <c:pt idx="11353" formatCode="0.0%">
                  <c:v>0.19668253953364262</c:v>
                </c:pt>
                <c:pt idx="11354" formatCode="0.0%">
                  <c:v>0.19087473745179398</c:v>
                </c:pt>
                <c:pt idx="11355" formatCode="0.0%">
                  <c:v>0.19125478558033657</c:v>
                </c:pt>
                <c:pt idx="11356" formatCode="0.0%">
                  <c:v>0.19868253929228857</c:v>
                </c:pt>
                <c:pt idx="11357" formatCode="0.0%">
                  <c:v>0.19475958239508598</c:v>
                </c:pt>
                <c:pt idx="11358" formatCode="0.0%">
                  <c:v>0.18454408423989038</c:v>
                </c:pt>
                <c:pt idx="11359" formatCode="0.0%">
                  <c:v>0.18190503813066772</c:v>
                </c:pt>
                <c:pt idx="11360" formatCode="0.0%">
                  <c:v>0.19478028346158013</c:v>
                </c:pt>
                <c:pt idx="11361" formatCode="0.0%">
                  <c:v>0.19169802988811643</c:v>
                </c:pt>
                <c:pt idx="11362" formatCode="0.0%">
                  <c:v>0.20100551626004926</c:v>
                </c:pt>
                <c:pt idx="11363" formatCode="0.0%">
                  <c:v>0.20498080303219618</c:v>
                </c:pt>
                <c:pt idx="11364" formatCode="0.0%">
                  <c:v>0.20068607629031374</c:v>
                </c:pt>
                <c:pt idx="11365" formatCode="0.0%">
                  <c:v>0.19236604387014197</c:v>
                </c:pt>
                <c:pt idx="11366" formatCode="0.0%">
                  <c:v>0.19310106584573528</c:v>
                </c:pt>
                <c:pt idx="11367" formatCode="0.0%">
                  <c:v>0.19747054007359516</c:v>
                </c:pt>
                <c:pt idx="11368" formatCode="0.0%">
                  <c:v>0.20023202696722803</c:v>
                </c:pt>
                <c:pt idx="11369" formatCode="0.0%">
                  <c:v>0.19835802021191357</c:v>
                </c:pt>
                <c:pt idx="11370" formatCode="0.0%">
                  <c:v>0.19455459057205621</c:v>
                </c:pt>
                <c:pt idx="11371" formatCode="0.0%">
                  <c:v>0.19300632776607937</c:v>
                </c:pt>
                <c:pt idx="11372" formatCode="0.0%">
                  <c:v>0.1970208163033263</c:v>
                </c:pt>
                <c:pt idx="11373" formatCode="0.0%">
                  <c:v>0.16505718306831582</c:v>
                </c:pt>
                <c:pt idx="11374" formatCode="0.0%">
                  <c:v>0.16703635447099802</c:v>
                </c:pt>
                <c:pt idx="11375" formatCode="0.0%">
                  <c:v>0.17309204799014213</c:v>
                </c:pt>
                <c:pt idx="11376" formatCode="0.0%">
                  <c:v>0.16687474334143043</c:v>
                </c:pt>
                <c:pt idx="11377" formatCode="0.0%">
                  <c:v>0.16870116012821773</c:v>
                </c:pt>
                <c:pt idx="11378" formatCode="0.0%">
                  <c:v>0.1655810601395851</c:v>
                </c:pt>
                <c:pt idx="11379" formatCode="0.0%">
                  <c:v>0.1690202359639259</c:v>
                </c:pt>
                <c:pt idx="11380" formatCode="0.0%">
                  <c:v>0.16151814493738198</c:v>
                </c:pt>
                <c:pt idx="11381" formatCode="0.0%">
                  <c:v>0.16140759183705719</c:v>
                </c:pt>
                <c:pt idx="11382" formatCode="0.0%">
                  <c:v>0.15058384051552567</c:v>
                </c:pt>
                <c:pt idx="11383" formatCode="0.0%">
                  <c:v>0.14765381773913763</c:v>
                </c:pt>
                <c:pt idx="11384" formatCode="0.0%">
                  <c:v>0.15782005738253266</c:v>
                </c:pt>
                <c:pt idx="11385" formatCode="0.0%">
                  <c:v>0.16896277943098098</c:v>
                </c:pt>
                <c:pt idx="11386" formatCode="0.0%">
                  <c:v>0.16797223850631701</c:v>
                </c:pt>
                <c:pt idx="11387" formatCode="0.0%">
                  <c:v>0.16995798573073709</c:v>
                </c:pt>
                <c:pt idx="11388" formatCode="0.0%">
                  <c:v>0.17375729792984831</c:v>
                </c:pt>
                <c:pt idx="11389" formatCode="0.0%">
                  <c:v>0.16492774751620598</c:v>
                </c:pt>
                <c:pt idx="11390" formatCode="0.0%">
                  <c:v>0.16559066995152466</c:v>
                </c:pt>
                <c:pt idx="11391" formatCode="0.0%">
                  <c:v>0.1651921550965765</c:v>
                </c:pt>
                <c:pt idx="11392" formatCode="0.0%">
                  <c:v>0.15865226317029688</c:v>
                </c:pt>
                <c:pt idx="11393" formatCode="0.0%">
                  <c:v>0.15842217604056327</c:v>
                </c:pt>
                <c:pt idx="11394" formatCode="0.0%">
                  <c:v>0.14728855985814696</c:v>
                </c:pt>
                <c:pt idx="11395" formatCode="0.0%">
                  <c:v>0.15017879303720455</c:v>
                </c:pt>
                <c:pt idx="11396" formatCode="0.0%">
                  <c:v>0.15022519147154476</c:v>
                </c:pt>
                <c:pt idx="11397" formatCode="0.0%">
                  <c:v>0.14871224853913084</c:v>
                </c:pt>
                <c:pt idx="11398" formatCode="0.0%">
                  <c:v>0.14817845205105823</c:v>
                </c:pt>
                <c:pt idx="11399" formatCode="0.0%">
                  <c:v>0.14361314067826436</c:v>
                </c:pt>
                <c:pt idx="11400" formatCode="0.0%">
                  <c:v>0.14725885503261027</c:v>
                </c:pt>
                <c:pt idx="11401" formatCode="0.0%">
                  <c:v>0.1474555179678978</c:v>
                </c:pt>
                <c:pt idx="11402" formatCode="0.0%">
                  <c:v>0.1457770961081139</c:v>
                </c:pt>
                <c:pt idx="11403" formatCode="0.0%">
                  <c:v>0.14407351751988506</c:v>
                </c:pt>
                <c:pt idx="11404" formatCode="0.0%">
                  <c:v>0.13833165209247664</c:v>
                </c:pt>
                <c:pt idx="11405" formatCode="0.0%">
                  <c:v>0.12069916567664959</c:v>
                </c:pt>
                <c:pt idx="11406" formatCode="0.0%">
                  <c:v>0.12028557952444689</c:v>
                </c:pt>
                <c:pt idx="11407" formatCode="0.0%">
                  <c:v>0.11351595448265148</c:v>
                </c:pt>
                <c:pt idx="11408" formatCode="0.0%">
                  <c:v>0.10508500917083935</c:v>
                </c:pt>
                <c:pt idx="11409" formatCode="0.0%">
                  <c:v>0.10938089249734854</c:v>
                </c:pt>
                <c:pt idx="11410" formatCode="0.0%">
                  <c:v>0.10717672826365353</c:v>
                </c:pt>
                <c:pt idx="11411" formatCode="0.0%">
                  <c:v>0.10799881462968117</c:v>
                </c:pt>
                <c:pt idx="11412" formatCode="0.0%">
                  <c:v>0.10465538309359868</c:v>
                </c:pt>
                <c:pt idx="11413" formatCode="0.0%">
                  <c:v>0.10345620725575679</c:v>
                </c:pt>
                <c:pt idx="11414" formatCode="0.0%">
                  <c:v>9.9304356884055561E-2</c:v>
                </c:pt>
                <c:pt idx="11415" formatCode="0.0%">
                  <c:v>7.5613263449418683E-2</c:v>
                </c:pt>
                <c:pt idx="11416" formatCode="0.0%">
                  <c:v>9.691003751055273E-2</c:v>
                </c:pt>
                <c:pt idx="11417" formatCode="0.0%">
                  <c:v>9.6834218757078441E-2</c:v>
                </c:pt>
                <c:pt idx="11418" formatCode="0.0%">
                  <c:v>0.10526800110529255</c:v>
                </c:pt>
                <c:pt idx="11419" formatCode="0.0%">
                  <c:v>0.10723548897837465</c:v>
                </c:pt>
                <c:pt idx="11420" formatCode="0.0%">
                  <c:v>0.10810017646079463</c:v>
                </c:pt>
                <c:pt idx="11421" formatCode="0.0%">
                  <c:v>0.10809918678645081</c:v>
                </c:pt>
                <c:pt idx="11422" formatCode="0.0%">
                  <c:v>0.10945948784118553</c:v>
                </c:pt>
                <c:pt idx="11423" formatCode="0.0%">
                  <c:v>0.10955900836018811</c:v>
                </c:pt>
                <c:pt idx="11424" formatCode="0.0%">
                  <c:v>0.10982668624732093</c:v>
                </c:pt>
                <c:pt idx="11425" formatCode="0.0%">
                  <c:v>0.106787314245656</c:v>
                </c:pt>
                <c:pt idx="11426" formatCode="0.0%">
                  <c:v>0.10746457915241732</c:v>
                </c:pt>
                <c:pt idx="11427" formatCode="0.0%">
                  <c:v>0.10818553686405852</c:v>
                </c:pt>
                <c:pt idx="11428" formatCode="0.0%">
                  <c:v>0.10421326219968662</c:v>
                </c:pt>
                <c:pt idx="11429" formatCode="0.0%">
                  <c:v>9.8256827412236472E-2</c:v>
                </c:pt>
                <c:pt idx="11430" formatCode="0.0%">
                  <c:v>9.8253166835931854E-2</c:v>
                </c:pt>
                <c:pt idx="11431" formatCode="0.0%">
                  <c:v>0.10077172256515897</c:v>
                </c:pt>
                <c:pt idx="11432" formatCode="0.0%">
                  <c:v>0.1016524001450818</c:v>
                </c:pt>
                <c:pt idx="11433" formatCode="0.0%">
                  <c:v>9.9007762481797504E-2</c:v>
                </c:pt>
                <c:pt idx="11434" formatCode="0.0%">
                  <c:v>0.11512571163236426</c:v>
                </c:pt>
                <c:pt idx="11435" formatCode="0.0%">
                  <c:v>0.11463462475362639</c:v>
                </c:pt>
                <c:pt idx="11436" formatCode="0.0%">
                  <c:v>0.10769970248690379</c:v>
                </c:pt>
                <c:pt idx="11437" formatCode="0.0%">
                  <c:v>0.10591103353065748</c:v>
                </c:pt>
                <c:pt idx="11438" formatCode="0.0%">
                  <c:v>0.10511496364547239</c:v>
                </c:pt>
                <c:pt idx="11439" formatCode="0.0%">
                  <c:v>0.1057624328865389</c:v>
                </c:pt>
                <c:pt idx="11440" formatCode="0.0%">
                  <c:v>0.10246527584683184</c:v>
                </c:pt>
                <c:pt idx="11441" formatCode="0.0%">
                  <c:v>0.1059089734481987</c:v>
                </c:pt>
                <c:pt idx="11442" formatCode="0.0%">
                  <c:v>0.10677402347965856</c:v>
                </c:pt>
                <c:pt idx="11443" formatCode="0.0%">
                  <c:v>0.10747483904211987</c:v>
                </c:pt>
                <c:pt idx="11444" formatCode="0.0%">
                  <c:v>0.10770489623018584</c:v>
                </c:pt>
                <c:pt idx="11445" formatCode="0.0%">
                  <c:v>0.10872439726236088</c:v>
                </c:pt>
                <c:pt idx="11446" formatCode="0.0%">
                  <c:v>0.11433612405035652</c:v>
                </c:pt>
                <c:pt idx="11447" formatCode="0.0%">
                  <c:v>0.10656798885682744</c:v>
                </c:pt>
                <c:pt idx="11448" formatCode="0.0%">
                  <c:v>0.10222228339567853</c:v>
                </c:pt>
                <c:pt idx="11449" formatCode="0.0%">
                  <c:v>0.10899622390912524</c:v>
                </c:pt>
                <c:pt idx="11450" formatCode="0.0%">
                  <c:v>0.11989984659164198</c:v>
                </c:pt>
                <c:pt idx="11451" formatCode="0.0%">
                  <c:v>0.11718664062692501</c:v>
                </c:pt>
                <c:pt idx="11452" formatCode="0.0%">
                  <c:v>0.12844087290912071</c:v>
                </c:pt>
                <c:pt idx="11453" formatCode="0.0%">
                  <c:v>0.12635323028900153</c:v>
                </c:pt>
                <c:pt idx="11454" formatCode="0.0%">
                  <c:v>0.10991365433150309</c:v>
                </c:pt>
                <c:pt idx="11455" formatCode="0.0%">
                  <c:v>0.10737970297654605</c:v>
                </c:pt>
                <c:pt idx="11456" formatCode="0.0%">
                  <c:v>0.10695225198765379</c:v>
                </c:pt>
                <c:pt idx="11457" formatCode="0.0%">
                  <c:v>0.11391401933170436</c:v>
                </c:pt>
                <c:pt idx="11458" formatCode="0.0%">
                  <c:v>0.11330998072837073</c:v>
                </c:pt>
                <c:pt idx="11459" formatCode="0.0%">
                  <c:v>0.11178686754164087</c:v>
                </c:pt>
                <c:pt idx="11460" formatCode="0.0%">
                  <c:v>0.11174839697933255</c:v>
                </c:pt>
                <c:pt idx="11461" formatCode="0.0%">
                  <c:v>0.11172087083708721</c:v>
                </c:pt>
                <c:pt idx="11462" formatCode="0.0%">
                  <c:v>0.11173540692555049</c:v>
                </c:pt>
                <c:pt idx="11463" formatCode="0.0%">
                  <c:v>0.12720564797739434</c:v>
                </c:pt>
                <c:pt idx="11464" formatCode="0.0%">
                  <c:v>0.13189227244129417</c:v>
                </c:pt>
                <c:pt idx="11465" formatCode="0.0%">
                  <c:v>0.13279724344577493</c:v>
                </c:pt>
                <c:pt idx="11466" formatCode="0.0%">
                  <c:v>0.12394195953212077</c:v>
                </c:pt>
                <c:pt idx="11467" formatCode="0.0%">
                  <c:v>0.13112930859728841</c:v>
                </c:pt>
                <c:pt idx="11468" formatCode="0.0%">
                  <c:v>0.13149513727777157</c:v>
                </c:pt>
                <c:pt idx="11469" formatCode="0.0%">
                  <c:v>0.13447145123494245</c:v>
                </c:pt>
                <c:pt idx="11470" formatCode="0.0%">
                  <c:v>0.12550251168892484</c:v>
                </c:pt>
                <c:pt idx="11471" formatCode="0.0%">
                  <c:v>0.13377351969493895</c:v>
                </c:pt>
                <c:pt idx="11472" formatCode="0.0%">
                  <c:v>0.13043125436256173</c:v>
                </c:pt>
                <c:pt idx="11473" formatCode="0.0%">
                  <c:v>0.12982491018724662</c:v>
                </c:pt>
                <c:pt idx="11474" formatCode="0.0%">
                  <c:v>0.1412773302813162</c:v>
                </c:pt>
                <c:pt idx="11475" formatCode="0.0%">
                  <c:v>0.14108621853231809</c:v>
                </c:pt>
                <c:pt idx="11476" formatCode="0.0%">
                  <c:v>0.15339593137202329</c:v>
                </c:pt>
                <c:pt idx="11477" formatCode="0.0%">
                  <c:v>0.18180485776553143</c:v>
                </c:pt>
                <c:pt idx="11478" formatCode="0.0%">
                  <c:v>0.18723438825388017</c:v>
                </c:pt>
                <c:pt idx="11479" formatCode="0.0%">
                  <c:v>0.19303570088880301</c:v>
                </c:pt>
                <c:pt idx="11480" formatCode="0.0%">
                  <c:v>0.19136318720953968</c:v>
                </c:pt>
                <c:pt idx="11481" formatCode="0.0%">
                  <c:v>0.20242462249216639</c:v>
                </c:pt>
                <c:pt idx="11482" formatCode="0.0%">
                  <c:v>0.20163576949652418</c:v>
                </c:pt>
                <c:pt idx="11483" formatCode="0.0%">
                  <c:v>0.22096892874669513</c:v>
                </c:pt>
                <c:pt idx="11484" formatCode="0.0%">
                  <c:v>0.22059492077119272</c:v>
                </c:pt>
                <c:pt idx="11485" formatCode="0.0%">
                  <c:v>0.22271322724294074</c:v>
                </c:pt>
                <c:pt idx="11486" formatCode="0.0%">
                  <c:v>0.22978403337387954</c:v>
                </c:pt>
                <c:pt idx="11487" formatCode="0.0%">
                  <c:v>0.22804375495605678</c:v>
                </c:pt>
                <c:pt idx="11488" formatCode="0.0%">
                  <c:v>0.23043890930346619</c:v>
                </c:pt>
                <c:pt idx="11489" formatCode="0.0%">
                  <c:v>0.2503450680930005</c:v>
                </c:pt>
                <c:pt idx="11490" formatCode="0.0%">
                  <c:v>0.26227572846506403</c:v>
                </c:pt>
                <c:pt idx="11491" formatCode="0.0%">
                  <c:v>0.2680113997866711</c:v>
                </c:pt>
                <c:pt idx="11492" formatCode="0.0%">
                  <c:v>0.27366231013941494</c:v>
                </c:pt>
                <c:pt idx="11493" formatCode="0.0%">
                  <c:v>0.28399063543815273</c:v>
                </c:pt>
                <c:pt idx="11494" formatCode="0.0%">
                  <c:v>0.28124335351261603</c:v>
                </c:pt>
                <c:pt idx="11495" formatCode="0.0%">
                  <c:v>0.28579257791497048</c:v>
                </c:pt>
                <c:pt idx="11496" formatCode="0.0%">
                  <c:v>0.27709176600796814</c:v>
                </c:pt>
                <c:pt idx="11497" formatCode="0.0%">
                  <c:v>0.27578791947500286</c:v>
                </c:pt>
                <c:pt idx="11498" formatCode="0.0%">
                  <c:v>0.26812342493429758</c:v>
                </c:pt>
                <c:pt idx="11499" formatCode="0.0%">
                  <c:v>0.26363739370183781</c:v>
                </c:pt>
                <c:pt idx="11500" formatCode="0.0%">
                  <c:v>0.26518767247238745</c:v>
                </c:pt>
                <c:pt idx="11501" formatCode="0.0%">
                  <c:v>0.24725390270825298</c:v>
                </c:pt>
                <c:pt idx="11502" formatCode="0.0%">
                  <c:v>0.27027858861483606</c:v>
                </c:pt>
                <c:pt idx="11503" formatCode="0.0%">
                  <c:v>0.27078175105206587</c:v>
                </c:pt>
                <c:pt idx="11504" formatCode="0.0%">
                  <c:v>0.27058070825845426</c:v>
                </c:pt>
                <c:pt idx="11505" formatCode="0.0%">
                  <c:v>0.26542436051764723</c:v>
                </c:pt>
                <c:pt idx="11506" formatCode="0.0%">
                  <c:v>0.25174129790592076</c:v>
                </c:pt>
                <c:pt idx="11507" formatCode="0.0%">
                  <c:v>0.26007508058052847</c:v>
                </c:pt>
                <c:pt idx="11508" formatCode="0.0%">
                  <c:v>0.25498303316442938</c:v>
                </c:pt>
                <c:pt idx="11509" formatCode="0.0%">
                  <c:v>0.24601547357983605</c:v>
                </c:pt>
                <c:pt idx="11510" formatCode="0.0%">
                  <c:v>0.24588457764928623</c:v>
                </c:pt>
                <c:pt idx="11511" formatCode="0.0%">
                  <c:v>0.25853588872950634</c:v>
                </c:pt>
                <c:pt idx="11512" formatCode="0.0%">
                  <c:v>0.25262439730847025</c:v>
                </c:pt>
                <c:pt idx="11513" formatCode="0.0%">
                  <c:v>0.24141731839652603</c:v>
                </c:pt>
                <c:pt idx="11514" formatCode="0.0%">
                  <c:v>0.23688463922692654</c:v>
                </c:pt>
                <c:pt idx="11515" formatCode="0.0%">
                  <c:v>0.23631522304463726</c:v>
                </c:pt>
                <c:pt idx="11516" formatCode="0.0%">
                  <c:v>0.24057864652973088</c:v>
                </c:pt>
                <c:pt idx="11517" formatCode="0.0%">
                  <c:v>0.23633077429279928</c:v>
                </c:pt>
                <c:pt idx="11518" formatCode="0.0%">
                  <c:v>0.24615597342436393</c:v>
                </c:pt>
                <c:pt idx="11519" formatCode="0.0%">
                  <c:v>0.24598601427748254</c:v>
                </c:pt>
                <c:pt idx="11520" formatCode="0.0%">
                  <c:v>0.24550265526964665</c:v>
                </c:pt>
                <c:pt idx="11521" formatCode="0.0%">
                  <c:v>0.24375339986960468</c:v>
                </c:pt>
                <c:pt idx="11522" formatCode="0.0%">
                  <c:v>0.22061836285758424</c:v>
                </c:pt>
                <c:pt idx="11523" formatCode="0.0%">
                  <c:v>0.20748812434284422</c:v>
                </c:pt>
                <c:pt idx="11524" formatCode="0.0%">
                  <c:v>0.2082065146653469</c:v>
                </c:pt>
                <c:pt idx="11525" formatCode="0.0%">
                  <c:v>0.20818225749390357</c:v>
                </c:pt>
                <c:pt idx="11526" formatCode="0.0%">
                  <c:v>0.21219451587985552</c:v>
                </c:pt>
                <c:pt idx="11527" formatCode="0.0%">
                  <c:v>0.19636895954983358</c:v>
                </c:pt>
                <c:pt idx="11528" formatCode="0.0%">
                  <c:v>0.1988466157928887</c:v>
                </c:pt>
                <c:pt idx="11529" formatCode="0.0%">
                  <c:v>0.20973733826657223</c:v>
                </c:pt>
                <c:pt idx="11530" formatCode="0.0%">
                  <c:v>0.19925377697841645</c:v>
                </c:pt>
                <c:pt idx="11531" formatCode="0.0%">
                  <c:v>0.17250699201126582</c:v>
                </c:pt>
                <c:pt idx="11532" formatCode="0.0%">
                  <c:v>0.16753835464004227</c:v>
                </c:pt>
                <c:pt idx="11533" formatCode="0.0%">
                  <c:v>0.16423668826084362</c:v>
                </c:pt>
                <c:pt idx="11534" formatCode="0.0%">
                  <c:v>0.17562591949298756</c:v>
                </c:pt>
                <c:pt idx="11535" formatCode="0.0%">
                  <c:v>0.17245554090219894</c:v>
                </c:pt>
                <c:pt idx="11536" formatCode="0.0%">
                  <c:v>0.16079437419770642</c:v>
                </c:pt>
                <c:pt idx="11537" formatCode="0.0%">
                  <c:v>0.14396443053944497</c:v>
                </c:pt>
                <c:pt idx="11538" formatCode="0.0%">
                  <c:v>0.146175981331959</c:v>
                </c:pt>
                <c:pt idx="11539" formatCode="0.0%">
                  <c:v>0.14617642009425405</c:v>
                </c:pt>
                <c:pt idx="11540" formatCode="0.0%">
                  <c:v>0.14916032851376737</c:v>
                </c:pt>
                <c:pt idx="11541" formatCode="0.0%">
                  <c:v>0.15682012977136989</c:v>
                </c:pt>
                <c:pt idx="11542" formatCode="0.0%">
                  <c:v>0.15949323076177388</c:v>
                </c:pt>
                <c:pt idx="11543" formatCode="0.0%">
                  <c:v>0.15980766933887219</c:v>
                </c:pt>
                <c:pt idx="11544" formatCode="0.0%">
                  <c:v>0.16332224677369772</c:v>
                </c:pt>
                <c:pt idx="11545" formatCode="0.0%">
                  <c:v>0.16396324864167022</c:v>
                </c:pt>
                <c:pt idx="11546" formatCode="0.0%">
                  <c:v>0.15912862763335867</c:v>
                </c:pt>
                <c:pt idx="11547" formatCode="0.0%">
                  <c:v>0.1601296274724831</c:v>
                </c:pt>
                <c:pt idx="11548" formatCode="0.0%">
                  <c:v>0.15318201339714521</c:v>
                </c:pt>
                <c:pt idx="11549" formatCode="0.0%">
                  <c:v>0.14389770232179191</c:v>
                </c:pt>
                <c:pt idx="11550" formatCode="0.0%">
                  <c:v>0.14340670786812434</c:v>
                </c:pt>
                <c:pt idx="11551" formatCode="0.0%">
                  <c:v>0.15094262356538854</c:v>
                </c:pt>
                <c:pt idx="11552" formatCode="0.0%">
                  <c:v>0.15265354805701581</c:v>
                </c:pt>
                <c:pt idx="11553" formatCode="0.0%">
                  <c:v>0.14784401618168055</c:v>
                </c:pt>
                <c:pt idx="11554" formatCode="0.0%">
                  <c:v>0.12384917690138599</c:v>
                </c:pt>
                <c:pt idx="11555" formatCode="0.0%">
                  <c:v>0.12383734114929797</c:v>
                </c:pt>
                <c:pt idx="11556" formatCode="0.0%">
                  <c:v>0.12452792181006135</c:v>
                </c:pt>
                <c:pt idx="11557" formatCode="0.0%">
                  <c:v>0.1268501023748474</c:v>
                </c:pt>
                <c:pt idx="11558" formatCode="0.0%">
                  <c:v>0.13432531053390906</c:v>
                </c:pt>
                <c:pt idx="11559" formatCode="0.0%">
                  <c:v>0.13949513978578346</c:v>
                </c:pt>
                <c:pt idx="11560" formatCode="0.0%">
                  <c:v>0.13277094865086772</c:v>
                </c:pt>
                <c:pt idx="11561" formatCode="0.0%">
                  <c:v>0.12660074537655439</c:v>
                </c:pt>
                <c:pt idx="11562" formatCode="0.0%">
                  <c:v>0.1249027604310803</c:v>
                </c:pt>
                <c:pt idx="11563" formatCode="0.0%">
                  <c:v>0.12396783539906428</c:v>
                </c:pt>
                <c:pt idx="11564" formatCode="0.0%">
                  <c:v>0.11980012433461516</c:v>
                </c:pt>
                <c:pt idx="11565" formatCode="0.0%">
                  <c:v>0.13031202733866407</c:v>
                </c:pt>
                <c:pt idx="11566" formatCode="0.0%">
                  <c:v>0.14605409184461504</c:v>
                </c:pt>
                <c:pt idx="11567" formatCode="0.0%">
                  <c:v>0.14717343525648641</c:v>
                </c:pt>
                <c:pt idx="11568" formatCode="0.0%">
                  <c:v>0.14918784030000548</c:v>
                </c:pt>
                <c:pt idx="11569" formatCode="0.0%">
                  <c:v>0.13014618647947768</c:v>
                </c:pt>
                <c:pt idx="11570" formatCode="0.0%">
                  <c:v>0.13406420267647748</c:v>
                </c:pt>
                <c:pt idx="11571" formatCode="0.0%">
                  <c:v>0.13009493405282724</c:v>
                </c:pt>
                <c:pt idx="11572" formatCode="0.0%">
                  <c:v>0.13193397711570543</c:v>
                </c:pt>
                <c:pt idx="11573" formatCode="0.0%">
                  <c:v>0.12440089558823177</c:v>
                </c:pt>
                <c:pt idx="11574" formatCode="0.0%">
                  <c:v>0.12739953351344721</c:v>
                </c:pt>
                <c:pt idx="11575" formatCode="0.0%">
                  <c:v>0.1226584694745797</c:v>
                </c:pt>
                <c:pt idx="11576" formatCode="0.0%">
                  <c:v>0.12221814121918644</c:v>
                </c:pt>
                <c:pt idx="11577" formatCode="0.0%">
                  <c:v>0.12273563203374303</c:v>
                </c:pt>
                <c:pt idx="11578" formatCode="0.0%">
                  <c:v>0.13924896970236067</c:v>
                </c:pt>
                <c:pt idx="11579" formatCode="0.0%">
                  <c:v>0.14137289359483576</c:v>
                </c:pt>
                <c:pt idx="11580" formatCode="0.0%">
                  <c:v>0.14185714036560632</c:v>
                </c:pt>
                <c:pt idx="11581" formatCode="0.0%">
                  <c:v>0.14579030067354407</c:v>
                </c:pt>
                <c:pt idx="11582" formatCode="0.0%">
                  <c:v>0.14590125355187566</c:v>
                </c:pt>
                <c:pt idx="11583" formatCode="0.0%">
                  <c:v>0.15329789727887541</c:v>
                </c:pt>
                <c:pt idx="11584" formatCode="0.0%">
                  <c:v>0.15856497011864704</c:v>
                </c:pt>
                <c:pt idx="11585" formatCode="0.0%">
                  <c:v>0.1550276958175284</c:v>
                </c:pt>
                <c:pt idx="11586" formatCode="0.0%">
                  <c:v>0.14904379453951203</c:v>
                </c:pt>
                <c:pt idx="11587" formatCode="0.0%">
                  <c:v>0.14712042000484943</c:v>
                </c:pt>
                <c:pt idx="11588" formatCode="0.0%">
                  <c:v>0.14681925487779374</c:v>
                </c:pt>
                <c:pt idx="11589" formatCode="0.0%">
                  <c:v>0.16712978802517844</c:v>
                </c:pt>
                <c:pt idx="11590" formatCode="0.0%">
                  <c:v>0.16194922886001784</c:v>
                </c:pt>
                <c:pt idx="11591" formatCode="0.0%">
                  <c:v>0.16403854531826212</c:v>
                </c:pt>
                <c:pt idx="11592" formatCode="0.0%">
                  <c:v>0.15733053348110357</c:v>
                </c:pt>
                <c:pt idx="11593" formatCode="0.0%">
                  <c:v>0.15395668541096155</c:v>
                </c:pt>
                <c:pt idx="11594" formatCode="0.0%">
                  <c:v>0.15225804413837934</c:v>
                </c:pt>
                <c:pt idx="11595" formatCode="0.0%">
                  <c:v>0.16086079941195247</c:v>
                </c:pt>
                <c:pt idx="11596" formatCode="0.0%">
                  <c:v>0.17090306391998294</c:v>
                </c:pt>
                <c:pt idx="11597" formatCode="0.0%">
                  <c:v>0.17357782392084178</c:v>
                </c:pt>
                <c:pt idx="11598" formatCode="0.0%">
                  <c:v>0.16002512920647294</c:v>
                </c:pt>
                <c:pt idx="11599" formatCode="0.0%">
                  <c:v>0.15641843977861128</c:v>
                </c:pt>
                <c:pt idx="11600" formatCode="0.0%">
                  <c:v>0.15578057100677017</c:v>
                </c:pt>
                <c:pt idx="11601" formatCode="0.0%">
                  <c:v>0.1613717914057036</c:v>
                </c:pt>
                <c:pt idx="11602" formatCode="0.0%">
                  <c:v>0.16137339428869707</c:v>
                </c:pt>
                <c:pt idx="11603" formatCode="0.0%">
                  <c:v>0.15311780494682928</c:v>
                </c:pt>
                <c:pt idx="11604" formatCode="0.0%">
                  <c:v>0.14609236739302167</c:v>
                </c:pt>
                <c:pt idx="11605" formatCode="0.0%">
                  <c:v>0.14479924967289301</c:v>
                </c:pt>
                <c:pt idx="11606" formatCode="0.0%">
                  <c:v>0.1530968140354321</c:v>
                </c:pt>
                <c:pt idx="11607" formatCode="0.0%">
                  <c:v>0.15313849560986298</c:v>
                </c:pt>
                <c:pt idx="11608" formatCode="0.0%">
                  <c:v>0.16220725169886702</c:v>
                </c:pt>
                <c:pt idx="11609" formatCode="0.0%">
                  <c:v>0.14181847451343307</c:v>
                </c:pt>
                <c:pt idx="11610" formatCode="0.0%">
                  <c:v>0.14178663722537271</c:v>
                </c:pt>
                <c:pt idx="11611" formatCode="0.0%">
                  <c:v>0.16205034882406033</c:v>
                </c:pt>
                <c:pt idx="11612" formatCode="0.0%">
                  <c:v>0.16826714459434752</c:v>
                </c:pt>
                <c:pt idx="11613" formatCode="0.0%">
                  <c:v>0.16777456531572149</c:v>
                </c:pt>
                <c:pt idx="11614" formatCode="0.0%">
                  <c:v>0.18039662001026605</c:v>
                </c:pt>
                <c:pt idx="11615" formatCode="0.0%">
                  <c:v>0.17426354079451703</c:v>
                </c:pt>
                <c:pt idx="11616" formatCode="0.0%">
                  <c:v>0.16485331222974037</c:v>
                </c:pt>
                <c:pt idx="11617" formatCode="0.0%">
                  <c:v>0.16481559373294058</c:v>
                </c:pt>
                <c:pt idx="11618" formatCode="0.0%">
                  <c:v>0.16521874974386555</c:v>
                </c:pt>
                <c:pt idx="11619" formatCode="0.0%">
                  <c:v>0.16489963840267804</c:v>
                </c:pt>
                <c:pt idx="11620" formatCode="0.0%">
                  <c:v>0.16764254441249291</c:v>
                </c:pt>
                <c:pt idx="11621" formatCode="0.0%">
                  <c:v>0.16360574677708795</c:v>
                </c:pt>
                <c:pt idx="11622" formatCode="0.0%">
                  <c:v>0.16491430272250268</c:v>
                </c:pt>
                <c:pt idx="11623" formatCode="0.0%">
                  <c:v>0.16719254635318354</c:v>
                </c:pt>
                <c:pt idx="11624" formatCode="0.0%">
                  <c:v>0.16560617695431304</c:v>
                </c:pt>
                <c:pt idx="11625" formatCode="0.0%">
                  <c:v>0.1686072975849171</c:v>
                </c:pt>
                <c:pt idx="11626" formatCode="0.0%">
                  <c:v>0.16000114436451379</c:v>
                </c:pt>
                <c:pt idx="11627" formatCode="0.0%">
                  <c:v>0.16849486123938937</c:v>
                </c:pt>
                <c:pt idx="11628" formatCode="0.0%">
                  <c:v>0.16584086322190139</c:v>
                </c:pt>
                <c:pt idx="11629" formatCode="0.0%">
                  <c:v>0.17372032446262062</c:v>
                </c:pt>
                <c:pt idx="11630" formatCode="0.0%">
                  <c:v>0.17400243502256366</c:v>
                </c:pt>
                <c:pt idx="11631" formatCode="0.0%">
                  <c:v>0.15476581385884344</c:v>
                </c:pt>
                <c:pt idx="11632" formatCode="0.0%">
                  <c:v>0.15944442691458249</c:v>
                </c:pt>
                <c:pt idx="11633" formatCode="0.0%">
                  <c:v>0.15860624197115891</c:v>
                </c:pt>
                <c:pt idx="11634" formatCode="0.0%">
                  <c:v>0.1368535268754261</c:v>
                </c:pt>
                <c:pt idx="11635" formatCode="0.0%">
                  <c:v>0.1595122209251616</c:v>
                </c:pt>
                <c:pt idx="11636" formatCode="0.0%">
                  <c:v>0.15838360481221492</c:v>
                </c:pt>
                <c:pt idx="11637" formatCode="0.0%">
                  <c:v>0.16372147889892563</c:v>
                </c:pt>
                <c:pt idx="11638" formatCode="0.0%">
                  <c:v>0.16420838983807559</c:v>
                </c:pt>
                <c:pt idx="11639" formatCode="0.0%">
                  <c:v>0.23260031778619092</c:v>
                </c:pt>
                <c:pt idx="11640" formatCode="0.0%">
                  <c:v>0.23568002648911901</c:v>
                </c:pt>
                <c:pt idx="11641" formatCode="0.0%">
                  <c:v>0.234596894311972</c:v>
                </c:pt>
                <c:pt idx="11642" formatCode="0.0%">
                  <c:v>0.24020239849747616</c:v>
                </c:pt>
                <c:pt idx="11643" formatCode="0.0%">
                  <c:v>0.24028133431548629</c:v>
                </c:pt>
                <c:pt idx="11644" formatCode="0.0%">
                  <c:v>0.2397727354952448</c:v>
                </c:pt>
                <c:pt idx="11645" formatCode="0.0%">
                  <c:v>0.23962273456572983</c:v>
                </c:pt>
                <c:pt idx="11646" formatCode="0.0%">
                  <c:v>0.2429531885134682</c:v>
                </c:pt>
                <c:pt idx="11647" formatCode="0.0%">
                  <c:v>0.23630588588628609</c:v>
                </c:pt>
                <c:pt idx="11648" formatCode="0.0%">
                  <c:v>0.23449505664103662</c:v>
                </c:pt>
                <c:pt idx="11649" formatCode="0.0%">
                  <c:v>0.23734266506511001</c:v>
                </c:pt>
                <c:pt idx="11650" formatCode="0.0%">
                  <c:v>0.24369138545531813</c:v>
                </c:pt>
                <c:pt idx="11651" formatCode="0.0%">
                  <c:v>0.2435166031648516</c:v>
                </c:pt>
                <c:pt idx="11652" formatCode="0.0%">
                  <c:v>0.23933092322404556</c:v>
                </c:pt>
                <c:pt idx="11653" formatCode="0.0%">
                  <c:v>0.23955620877460612</c:v>
                </c:pt>
                <c:pt idx="11654" formatCode="0.0%">
                  <c:v>0.23920203703026846</c:v>
                </c:pt>
                <c:pt idx="11655" formatCode="0.0%">
                  <c:v>0.21818851993084409</c:v>
                </c:pt>
                <c:pt idx="11656" formatCode="0.0%">
                  <c:v>0.22513282310443616</c:v>
                </c:pt>
                <c:pt idx="11657" formatCode="0.0%">
                  <c:v>0.23364912162463189</c:v>
                </c:pt>
                <c:pt idx="11658" formatCode="0.0%">
                  <c:v>0.23934968390043734</c:v>
                </c:pt>
                <c:pt idx="11659" formatCode="0.0%">
                  <c:v>0.19197824648861353</c:v>
                </c:pt>
                <c:pt idx="11660" formatCode="0.0%">
                  <c:v>0.19375150533977883</c:v>
                </c:pt>
                <c:pt idx="11661" formatCode="0.0%">
                  <c:v>0.19700955624671485</c:v>
                </c:pt>
                <c:pt idx="11662" formatCode="0.0%">
                  <c:v>0.20250646136137543</c:v>
                </c:pt>
                <c:pt idx="11663" formatCode="0.0%">
                  <c:v>0.20156571928358522</c:v>
                </c:pt>
                <c:pt idx="11664" formatCode="0.0%">
                  <c:v>0.20183967073985706</c:v>
                </c:pt>
                <c:pt idx="11665" formatCode="0.0%">
                  <c:v>0.20220854757618226</c:v>
                </c:pt>
                <c:pt idx="11666" formatCode="0.0%">
                  <c:v>0.19783430916951469</c:v>
                </c:pt>
                <c:pt idx="11667" formatCode="0.0%">
                  <c:v>0.19943675836399388</c:v>
                </c:pt>
                <c:pt idx="11668" formatCode="0.0%">
                  <c:v>0.198892864544054</c:v>
                </c:pt>
                <c:pt idx="11669" formatCode="0.0%">
                  <c:v>0.19765508648432348</c:v>
                </c:pt>
                <c:pt idx="11670" formatCode="0.0%">
                  <c:v>0.20065131102200906</c:v>
                </c:pt>
                <c:pt idx="11671" formatCode="0.0%">
                  <c:v>0.20461489582019809</c:v>
                </c:pt>
                <c:pt idx="11672" formatCode="0.0%">
                  <c:v>0.20243791474061354</c:v>
                </c:pt>
                <c:pt idx="11673" formatCode="0.0%">
                  <c:v>0.20324811758101868</c:v>
                </c:pt>
                <c:pt idx="11674" formatCode="0.0%">
                  <c:v>0.24058844371639826</c:v>
                </c:pt>
                <c:pt idx="11675" formatCode="0.0%">
                  <c:v>0.24392927549012935</c:v>
                </c:pt>
                <c:pt idx="11676" formatCode="0.0%">
                  <c:v>0.24061251014886847</c:v>
                </c:pt>
                <c:pt idx="11677" formatCode="0.0%">
                  <c:v>0.25072811708721748</c:v>
                </c:pt>
                <c:pt idx="11678" formatCode="0.0%">
                  <c:v>0.25560233627296958</c:v>
                </c:pt>
                <c:pt idx="11679" formatCode="0.0%">
                  <c:v>0.26297340204559122</c:v>
                </c:pt>
                <c:pt idx="11680" formatCode="0.0%">
                  <c:v>0.26188079619619353</c:v>
                </c:pt>
                <c:pt idx="11681" formatCode="0.0%">
                  <c:v>0.26006288278332529</c:v>
                </c:pt>
                <c:pt idx="11682" formatCode="0.0%">
                  <c:v>0.26420236293265198</c:v>
                </c:pt>
                <c:pt idx="11683" formatCode="0.0%">
                  <c:v>0.27005971305609072</c:v>
                </c:pt>
                <c:pt idx="11684" formatCode="0.0%">
                  <c:v>0.2826573313565755</c:v>
                </c:pt>
                <c:pt idx="11685" formatCode="0.0%">
                  <c:v>0.29315322508863123</c:v>
                </c:pt>
                <c:pt idx="11686" formatCode="0.0%">
                  <c:v>0.29313048356948712</c:v>
                </c:pt>
                <c:pt idx="11687" formatCode="0.0%">
                  <c:v>0.3192904570769961</c:v>
                </c:pt>
                <c:pt idx="11688" formatCode="0.0%">
                  <c:v>0.31826111414924452</c:v>
                </c:pt>
                <c:pt idx="11689" formatCode="0.0%">
                  <c:v>0.31470126812287502</c:v>
                </c:pt>
                <c:pt idx="11690" formatCode="0.0%">
                  <c:v>0.31918143684913158</c:v>
                </c:pt>
                <c:pt idx="11691" formatCode="0.0%">
                  <c:v>0.31519679249702115</c:v>
                </c:pt>
                <c:pt idx="11692" formatCode="0.0%">
                  <c:v>0.31916556000331142</c:v>
                </c:pt>
                <c:pt idx="11693" formatCode="0.0%">
                  <c:v>0.32598453442490494</c:v>
                </c:pt>
                <c:pt idx="11694" formatCode="0.0%">
                  <c:v>0.30548742478995006</c:v>
                </c:pt>
                <c:pt idx="11695" formatCode="0.0%">
                  <c:v>0.29940909394487075</c:v>
                </c:pt>
                <c:pt idx="11696" formatCode="0.0%">
                  <c:v>0.2893423801476655</c:v>
                </c:pt>
                <c:pt idx="11697" formatCode="0.0%">
                  <c:v>0.2608816019048027</c:v>
                </c:pt>
                <c:pt idx="11698" formatCode="0.0%">
                  <c:v>0.2570771860782512</c:v>
                </c:pt>
                <c:pt idx="11699" formatCode="0.0%">
                  <c:v>0.29938744588447752</c:v>
                </c:pt>
                <c:pt idx="11700" formatCode="0.0%">
                  <c:v>0.29918213676580951</c:v>
                </c:pt>
                <c:pt idx="11701" formatCode="0.0%">
                  <c:v>0.3431354415473174</c:v>
                </c:pt>
                <c:pt idx="11702" formatCode="0.0%">
                  <c:v>0.34281538435699893</c:v>
                </c:pt>
                <c:pt idx="11703" formatCode="0.0%">
                  <c:v>0.33428719745811664</c:v>
                </c:pt>
                <c:pt idx="11704" formatCode="0.0%">
                  <c:v>0.3380274702738546</c:v>
                </c:pt>
                <c:pt idx="11705" formatCode="0.0%">
                  <c:v>0.34380900994172925</c:v>
                </c:pt>
                <c:pt idx="11706" formatCode="0.0%">
                  <c:v>0.3499183598521366</c:v>
                </c:pt>
                <c:pt idx="11707" formatCode="0.0%">
                  <c:v>0.33077494350852427</c:v>
                </c:pt>
                <c:pt idx="11708" formatCode="0.0%">
                  <c:v>0.33487016343647763</c:v>
                </c:pt>
                <c:pt idx="11709" formatCode="0.0%">
                  <c:v>0.33597289690460908</c:v>
                </c:pt>
                <c:pt idx="11710" formatCode="0.0%">
                  <c:v>0.32618057663741051</c:v>
                </c:pt>
                <c:pt idx="11711" formatCode="0.0%">
                  <c:v>0.34481114221927517</c:v>
                </c:pt>
                <c:pt idx="11712" formatCode="0.0%">
                  <c:v>0.34153453328385736</c:v>
                </c:pt>
                <c:pt idx="11713" formatCode="0.0%">
                  <c:v>0.32813975854358107</c:v>
                </c:pt>
                <c:pt idx="11714" formatCode="0.0%">
                  <c:v>0.31448495829354511</c:v>
                </c:pt>
                <c:pt idx="11715" formatCode="0.0%">
                  <c:v>0.33456569449493645</c:v>
                </c:pt>
                <c:pt idx="11716" formatCode="0.0%">
                  <c:v>0.33659463936337969</c:v>
                </c:pt>
                <c:pt idx="11717" formatCode="0.0%">
                  <c:v>0.3271304623837954</c:v>
                </c:pt>
                <c:pt idx="11718" formatCode="0.0%">
                  <c:v>0.32753916259910559</c:v>
                </c:pt>
                <c:pt idx="11719" formatCode="0.0%">
                  <c:v>0.31056071599085433</c:v>
                </c:pt>
                <c:pt idx="11720" formatCode="0.0%">
                  <c:v>0.31820477666104829</c:v>
                </c:pt>
                <c:pt idx="11721" formatCode="0.0%">
                  <c:v>0.28781883481703385</c:v>
                </c:pt>
                <c:pt idx="11722" formatCode="0.0%">
                  <c:v>0.27392003314265939</c:v>
                </c:pt>
                <c:pt idx="11723" formatCode="0.0%">
                  <c:v>0.26891828019056019</c:v>
                </c:pt>
                <c:pt idx="11724" formatCode="0.0%">
                  <c:v>0.25875721362491533</c:v>
                </c:pt>
                <c:pt idx="11725" formatCode="0.0%">
                  <c:v>0.26070542322056062</c:v>
                </c:pt>
                <c:pt idx="11726" formatCode="0.0%">
                  <c:v>0.25381205615207897</c:v>
                </c:pt>
                <c:pt idx="11727" formatCode="0.0%">
                  <c:v>0.25194395232523803</c:v>
                </c:pt>
                <c:pt idx="11728" formatCode="0.0%">
                  <c:v>0.25313197071964233</c:v>
                </c:pt>
                <c:pt idx="11729" formatCode="0.0%">
                  <c:v>0.27677236475963085</c:v>
                </c:pt>
                <c:pt idx="11730" formatCode="0.0%">
                  <c:v>0.28031924232676392</c:v>
                </c:pt>
                <c:pt idx="11731" formatCode="0.0%">
                  <c:v>0.26355402787917948</c:v>
                </c:pt>
                <c:pt idx="11732" formatCode="0.0%">
                  <c:v>0.26212808433213192</c:v>
                </c:pt>
                <c:pt idx="11733" formatCode="0.0%">
                  <c:v>0.26555589725172563</c:v>
                </c:pt>
                <c:pt idx="11734" formatCode="0.0%">
                  <c:v>0.26555089701890006</c:v>
                </c:pt>
                <c:pt idx="11735" formatCode="0.0%">
                  <c:v>0.22558357940500681</c:v>
                </c:pt>
                <c:pt idx="11736" formatCode="0.0%">
                  <c:v>0.21252440242962045</c:v>
                </c:pt>
                <c:pt idx="11737" formatCode="0.0%">
                  <c:v>0.21264692772841939</c:v>
                </c:pt>
                <c:pt idx="11738" formatCode="0.0%">
                  <c:v>0.22899908573414673</c:v>
                </c:pt>
                <c:pt idx="11739" formatCode="0.0%">
                  <c:v>0.23043301010187461</c:v>
                </c:pt>
                <c:pt idx="11740" formatCode="0.0%">
                  <c:v>0.20067184895241244</c:v>
                </c:pt>
                <c:pt idx="11741" formatCode="0.0%">
                  <c:v>0.20649393743908748</c:v>
                </c:pt>
                <c:pt idx="11742" formatCode="0.0%">
                  <c:v>0.2046462217526599</c:v>
                </c:pt>
                <c:pt idx="11743" formatCode="0.0%">
                  <c:v>0.21250215473323797</c:v>
                </c:pt>
                <c:pt idx="11744" formatCode="0.0%">
                  <c:v>0.23888698101602446</c:v>
                </c:pt>
                <c:pt idx="11745" formatCode="0.0%">
                  <c:v>0.23577990492288928</c:v>
                </c:pt>
                <c:pt idx="11746" formatCode="0.0%">
                  <c:v>0.23580553573374508</c:v>
                </c:pt>
                <c:pt idx="11747" formatCode="0.0%">
                  <c:v>0.2358597128185882</c:v>
                </c:pt>
                <c:pt idx="11748" formatCode="0.0%">
                  <c:v>0.23266245943746519</c:v>
                </c:pt>
                <c:pt idx="11749" formatCode="0.0%">
                  <c:v>0.20735351660935208</c:v>
                </c:pt>
                <c:pt idx="11750" formatCode="0.0%">
                  <c:v>0.20116889839831215</c:v>
                </c:pt>
                <c:pt idx="11751" formatCode="0.0%">
                  <c:v>0.20098627580238906</c:v>
                </c:pt>
                <c:pt idx="11752" formatCode="0.0%">
                  <c:v>0.2038380807734668</c:v>
                </c:pt>
                <c:pt idx="11753" formatCode="0.0%">
                  <c:v>0.20438166918339695</c:v>
                </c:pt>
                <c:pt idx="11754" formatCode="0.0%">
                  <c:v>0.21217022958997386</c:v>
                </c:pt>
                <c:pt idx="11755" formatCode="0.0%">
                  <c:v>0.21158148533799406</c:v>
                </c:pt>
                <c:pt idx="11756" formatCode="0.0%">
                  <c:v>0.2095317759127813</c:v>
                </c:pt>
                <c:pt idx="11757" formatCode="0.0%">
                  <c:v>0.20951179393345781</c:v>
                </c:pt>
                <c:pt idx="11758" formatCode="0.0%">
                  <c:v>0.20248064259412046</c:v>
                </c:pt>
                <c:pt idx="11759" formatCode="0.0%">
                  <c:v>0.21173407805343222</c:v>
                </c:pt>
                <c:pt idx="11760" formatCode="0.0%">
                  <c:v>0.2123187437363413</c:v>
                </c:pt>
                <c:pt idx="11761" formatCode="0.0%">
                  <c:v>0.19651893952582328</c:v>
                </c:pt>
                <c:pt idx="11762" formatCode="0.0%">
                  <c:v>0.18169654328062471</c:v>
                </c:pt>
                <c:pt idx="11763" formatCode="0.0%">
                  <c:v>0.19191703878149197</c:v>
                </c:pt>
                <c:pt idx="11764" formatCode="0.0%">
                  <c:v>0.18027098241915041</c:v>
                </c:pt>
                <c:pt idx="11765" formatCode="0.0%">
                  <c:v>0.19020851042329934</c:v>
                </c:pt>
                <c:pt idx="11766" formatCode="0.0%">
                  <c:v>0.19065168508130437</c:v>
                </c:pt>
                <c:pt idx="11767" formatCode="0.0%">
                  <c:v>0.1929251207638992</c:v>
                </c:pt>
                <c:pt idx="11768" formatCode="0.0%">
                  <c:v>0.18741962042516191</c:v>
                </c:pt>
                <c:pt idx="11769" formatCode="0.0%">
                  <c:v>0.1821597687007066</c:v>
                </c:pt>
                <c:pt idx="11770" formatCode="0.0%">
                  <c:v>0.19339108382181847</c:v>
                </c:pt>
                <c:pt idx="11771" formatCode="0.0%">
                  <c:v>0.19215589833232094</c:v>
                </c:pt>
                <c:pt idx="11772" formatCode="0.0%">
                  <c:v>0.18790825446880868</c:v>
                </c:pt>
                <c:pt idx="11773" formatCode="0.0%">
                  <c:v>0.18099601368493937</c:v>
                </c:pt>
                <c:pt idx="11774" formatCode="0.0%">
                  <c:v>0.17739561171038482</c:v>
                </c:pt>
                <c:pt idx="11775" formatCode="0.0%">
                  <c:v>0.17946091124764424</c:v>
                </c:pt>
                <c:pt idx="11776" formatCode="0.0%">
                  <c:v>0.20243885359576025</c:v>
                </c:pt>
                <c:pt idx="11777" formatCode="0.0%">
                  <c:v>0.20161860961092148</c:v>
                </c:pt>
                <c:pt idx="11778" formatCode="0.0%">
                  <c:v>0.19789028091161309</c:v>
                </c:pt>
                <c:pt idx="11779" formatCode="0.0%">
                  <c:v>0.19748071802944631</c:v>
                </c:pt>
                <c:pt idx="11780" formatCode="0.0%">
                  <c:v>0.19840712982393255</c:v>
                </c:pt>
                <c:pt idx="11781" formatCode="0.0%">
                  <c:v>0.19978170628899369</c:v>
                </c:pt>
                <c:pt idx="11782" formatCode="0.0%">
                  <c:v>0.20060121329362332</c:v>
                </c:pt>
                <c:pt idx="11783" formatCode="0.0%">
                  <c:v>0.1930775218473538</c:v>
                </c:pt>
                <c:pt idx="11784" formatCode="0.0%">
                  <c:v>0.19298693401849273</c:v>
                </c:pt>
                <c:pt idx="11785" formatCode="0.0%">
                  <c:v>0.18492598707588234</c:v>
                </c:pt>
                <c:pt idx="11786" formatCode="0.0%">
                  <c:v>0.18453419042252175</c:v>
                </c:pt>
                <c:pt idx="11787" formatCode="0.0%">
                  <c:v>0.17838615639273728</c:v>
                </c:pt>
                <c:pt idx="11788" formatCode="0.0%">
                  <c:v>0.1836200645783618</c:v>
                </c:pt>
                <c:pt idx="11789" formatCode="0.0%">
                  <c:v>0.18432223180229135</c:v>
                </c:pt>
                <c:pt idx="11790" formatCode="0.0%">
                  <c:v>0.16663570320117571</c:v>
                </c:pt>
                <c:pt idx="11791" formatCode="0.0%">
                  <c:v>0.17300897397702344</c:v>
                </c:pt>
                <c:pt idx="11792" formatCode="0.0%">
                  <c:v>0.16727384939253168</c:v>
                </c:pt>
                <c:pt idx="11793" formatCode="0.0%">
                  <c:v>0.16517518340426851</c:v>
                </c:pt>
                <c:pt idx="11794" formatCode="0.0%">
                  <c:v>0.16511206691015867</c:v>
                </c:pt>
                <c:pt idx="11795" formatCode="0.0%">
                  <c:v>0.17977050603140268</c:v>
                </c:pt>
                <c:pt idx="11796" formatCode="0.0%">
                  <c:v>0.17910598176835246</c:v>
                </c:pt>
                <c:pt idx="11797" formatCode="0.0%">
                  <c:v>0.18001484107828275</c:v>
                </c:pt>
                <c:pt idx="11798" formatCode="0.0%">
                  <c:v>0.17335202844460121</c:v>
                </c:pt>
                <c:pt idx="11799" formatCode="0.0%">
                  <c:v>0.16475446781236563</c:v>
                </c:pt>
                <c:pt idx="11800" formatCode="0.0%">
                  <c:v>0.17074314957757575</c:v>
                </c:pt>
                <c:pt idx="11801" formatCode="0.0%">
                  <c:v>0.1690123969352193</c:v>
                </c:pt>
                <c:pt idx="11802" formatCode="0.0%">
                  <c:v>0.1725621218707713</c:v>
                </c:pt>
                <c:pt idx="11803" formatCode="0.0%">
                  <c:v>0.16647252311836236</c:v>
                </c:pt>
                <c:pt idx="11804" formatCode="0.0%">
                  <c:v>0.16445025235671679</c:v>
                </c:pt>
                <c:pt idx="11805" formatCode="0.0%">
                  <c:v>0.16477310107188303</c:v>
                </c:pt>
                <c:pt idx="11806" formatCode="0.0%">
                  <c:v>0.16730559605775855</c:v>
                </c:pt>
                <c:pt idx="11807" formatCode="0.0%">
                  <c:v>0.17343190419795168</c:v>
                </c:pt>
                <c:pt idx="11808" formatCode="0.0%">
                  <c:v>0.16558013324481902</c:v>
                </c:pt>
                <c:pt idx="11809" formatCode="0.0%">
                  <c:v>0.16436169529134284</c:v>
                </c:pt>
                <c:pt idx="11810" formatCode="0.0%">
                  <c:v>0.16973271521589578</c:v>
                </c:pt>
                <c:pt idx="11811" formatCode="0.0%">
                  <c:v>0.17258279988337485</c:v>
                </c:pt>
                <c:pt idx="11812" formatCode="0.0%">
                  <c:v>0.17691801030379053</c:v>
                </c:pt>
                <c:pt idx="11813" formatCode="0.0%">
                  <c:v>0.17818684605400814</c:v>
                </c:pt>
                <c:pt idx="11814" formatCode="0.0%">
                  <c:v>0.1778943493609012</c:v>
                </c:pt>
                <c:pt idx="11815" formatCode="0.0%">
                  <c:v>0.1911533266892004</c:v>
                </c:pt>
                <c:pt idx="11816" formatCode="0.0%">
                  <c:v>0.17097454109109408</c:v>
                </c:pt>
                <c:pt idx="11817" formatCode="0.0%">
                  <c:v>0.17866552636379843</c:v>
                </c:pt>
                <c:pt idx="11818" formatCode="0.0%">
                  <c:v>0.17837306823179144</c:v>
                </c:pt>
                <c:pt idx="11819" formatCode="0.0%">
                  <c:v>0.17760236841460955</c:v>
                </c:pt>
                <c:pt idx="11820" formatCode="0.0%">
                  <c:v>0.16962245560239153</c:v>
                </c:pt>
                <c:pt idx="11821" formatCode="0.0%">
                  <c:v>0.1679655234432921</c:v>
                </c:pt>
                <c:pt idx="11822" formatCode="0.0%">
                  <c:v>0.17024248605857886</c:v>
                </c:pt>
                <c:pt idx="11823" formatCode="0.0%">
                  <c:v>0.16734399800319033</c:v>
                </c:pt>
                <c:pt idx="11824" formatCode="0.0%">
                  <c:v>0.16469374526107367</c:v>
                </c:pt>
                <c:pt idx="11825" formatCode="0.0%">
                  <c:v>0.16490112937529153</c:v>
                </c:pt>
                <c:pt idx="11826" formatCode="0.0%">
                  <c:v>0.18602590975478778</c:v>
                </c:pt>
                <c:pt idx="11827" formatCode="0.0%">
                  <c:v>0.18804170184752317</c:v>
                </c:pt>
                <c:pt idx="11828" formatCode="0.0%">
                  <c:v>0.18872750570971014</c:v>
                </c:pt>
                <c:pt idx="11829" formatCode="0.0%">
                  <c:v>0.19323311075349286</c:v>
                </c:pt>
                <c:pt idx="11830" formatCode="0.0%">
                  <c:v>0.18823690869372095</c:v>
                </c:pt>
                <c:pt idx="11831" formatCode="0.0%">
                  <c:v>0.18439971205991448</c:v>
                </c:pt>
                <c:pt idx="11832" formatCode="0.0%">
                  <c:v>0.18172319769091841</c:v>
                </c:pt>
                <c:pt idx="11833" formatCode="0.0%">
                  <c:v>0.18359953290437109</c:v>
                </c:pt>
                <c:pt idx="11834" formatCode="0.0%">
                  <c:v>0.18563792883052133</c:v>
                </c:pt>
                <c:pt idx="11835" formatCode="0.0%">
                  <c:v>0.15891333281437475</c:v>
                </c:pt>
                <c:pt idx="11836" formatCode="0.0%">
                  <c:v>0.1660217509633703</c:v>
                </c:pt>
                <c:pt idx="11837" formatCode="0.0%">
                  <c:v>0.15505342558911742</c:v>
                </c:pt>
                <c:pt idx="11838" formatCode="0.0%">
                  <c:v>0.15609364669108278</c:v>
                </c:pt>
                <c:pt idx="11839" formatCode="0.0%">
                  <c:v>0.15530740483756203</c:v>
                </c:pt>
                <c:pt idx="11840" formatCode="0.0%">
                  <c:v>0.15383147820646839</c:v>
                </c:pt>
                <c:pt idx="11841" formatCode="0.0%">
                  <c:v>0.1646960198809452</c:v>
                </c:pt>
                <c:pt idx="11842" formatCode="0.0%">
                  <c:v>0.15727099340818124</c:v>
                </c:pt>
                <c:pt idx="11843" formatCode="0.0%">
                  <c:v>0.15386282360690678</c:v>
                </c:pt>
                <c:pt idx="11844" formatCode="0.0%">
                  <c:v>0.14846979956643194</c:v>
                </c:pt>
                <c:pt idx="11845" formatCode="0.0%">
                  <c:v>0.16707835052875464</c:v>
                </c:pt>
                <c:pt idx="11846" formatCode="0.0%">
                  <c:v>0.15290384337572877</c:v>
                </c:pt>
                <c:pt idx="11847" formatCode="0.0%">
                  <c:v>0.15048275702914754</c:v>
                </c:pt>
                <c:pt idx="11848" formatCode="0.0%">
                  <c:v>0.1527184286131873</c:v>
                </c:pt>
                <c:pt idx="11849" formatCode="0.0%">
                  <c:v>0.14485762042690783</c:v>
                </c:pt>
                <c:pt idx="11850" formatCode="0.0%">
                  <c:v>0.14633794358992688</c:v>
                </c:pt>
                <c:pt idx="11851" formatCode="0.0%">
                  <c:v>0.14721981639826834</c:v>
                </c:pt>
                <c:pt idx="11852" formatCode="0.0%">
                  <c:v>0.15272064828298493</c:v>
                </c:pt>
                <c:pt idx="11853" formatCode="0.0%">
                  <c:v>0.15252666666040068</c:v>
                </c:pt>
                <c:pt idx="11854" formatCode="0.0%">
                  <c:v>0.14930346455404109</c:v>
                </c:pt>
                <c:pt idx="11855" formatCode="0.0%">
                  <c:v>0.15088140948266493</c:v>
                </c:pt>
                <c:pt idx="11856" formatCode="0.0%">
                  <c:v>0.15096820575312975</c:v>
                </c:pt>
                <c:pt idx="11857" formatCode="0.0%">
                  <c:v>0.1508015984486612</c:v>
                </c:pt>
                <c:pt idx="11858" formatCode="0.0%">
                  <c:v>0.15525585407000458</c:v>
                </c:pt>
                <c:pt idx="11859" formatCode="0.0%">
                  <c:v>0.15432146256462068</c:v>
                </c:pt>
                <c:pt idx="11860" formatCode="0.0%">
                  <c:v>0.15442676223100493</c:v>
                </c:pt>
                <c:pt idx="11861" formatCode="0.0%">
                  <c:v>0.14110496441636652</c:v>
                </c:pt>
                <c:pt idx="11862" formatCode="0.0%">
                  <c:v>0.14840703222691656</c:v>
                </c:pt>
                <c:pt idx="11863" formatCode="0.0%">
                  <c:v>0.15160418819260962</c:v>
                </c:pt>
                <c:pt idx="11864" formatCode="0.0%">
                  <c:v>0.148969966010083</c:v>
                </c:pt>
                <c:pt idx="11865" formatCode="0.0%">
                  <c:v>0.13504213206132795</c:v>
                </c:pt>
                <c:pt idx="11866" formatCode="0.0%">
                  <c:v>0.13469935840189642</c:v>
                </c:pt>
                <c:pt idx="11867" formatCode="0.0%">
                  <c:v>0.13488160132895394</c:v>
                </c:pt>
                <c:pt idx="11868" formatCode="0.0%">
                  <c:v>0.14083834098701428</c:v>
                </c:pt>
                <c:pt idx="11869" formatCode="0.0%">
                  <c:v>0.14426771225858728</c:v>
                </c:pt>
                <c:pt idx="11870" formatCode="0.0%">
                  <c:v>0.13873140037861859</c:v>
                </c:pt>
                <c:pt idx="11871" formatCode="0.0%">
                  <c:v>0.13623696052276005</c:v>
                </c:pt>
                <c:pt idx="11872" formatCode="0.0%">
                  <c:v>0.13428163462081244</c:v>
                </c:pt>
                <c:pt idx="11873" formatCode="0.0%">
                  <c:v>0.13373320150965307</c:v>
                </c:pt>
                <c:pt idx="11874" formatCode="0.0%">
                  <c:v>0.13853884523244353</c:v>
                </c:pt>
                <c:pt idx="11875" formatCode="0.0%">
                  <c:v>0.13747424989251061</c:v>
                </c:pt>
                <c:pt idx="11876" formatCode="0.0%">
                  <c:v>0.14404325455945521</c:v>
                </c:pt>
                <c:pt idx="11877" formatCode="0.0%">
                  <c:v>0.14486966571798687</c:v>
                </c:pt>
                <c:pt idx="11878" formatCode="0.0%">
                  <c:v>0.14260418234742545</c:v>
                </c:pt>
                <c:pt idx="11879" formatCode="0.0%">
                  <c:v>0.14247417639133755</c:v>
                </c:pt>
                <c:pt idx="11880" formatCode="0.0%">
                  <c:v>0.138551534013508</c:v>
                </c:pt>
                <c:pt idx="11881" formatCode="0.0%">
                  <c:v>0.13812809279582086</c:v>
                </c:pt>
                <c:pt idx="11882" formatCode="0.0%">
                  <c:v>0.12883150837282317</c:v>
                </c:pt>
                <c:pt idx="11883" formatCode="0.0%">
                  <c:v>0.11879001422679802</c:v>
                </c:pt>
                <c:pt idx="11884" formatCode="0.0%">
                  <c:v>0.11981698858025137</c:v>
                </c:pt>
                <c:pt idx="11885" formatCode="0.0%">
                  <c:v>0.12244283100205024</c:v>
                </c:pt>
                <c:pt idx="11886" formatCode="0.0%">
                  <c:v>0.12250083604719214</c:v>
                </c:pt>
                <c:pt idx="11887" formatCode="0.0%">
                  <c:v>0.12678298190230267</c:v>
                </c:pt>
                <c:pt idx="11888" formatCode="0.0%">
                  <c:v>0.11527447128358781</c:v>
                </c:pt>
                <c:pt idx="11889" formatCode="0.0%">
                  <c:v>0.11921874343715357</c:v>
                </c:pt>
                <c:pt idx="11890" formatCode="0.0%">
                  <c:v>0.11942429313155983</c:v>
                </c:pt>
                <c:pt idx="11891" formatCode="0.0%">
                  <c:v>0.1170758819788834</c:v>
                </c:pt>
                <c:pt idx="11892" formatCode="0.0%">
                  <c:v>0.11729552695857295</c:v>
                </c:pt>
                <c:pt idx="11893" formatCode="0.0%">
                  <c:v>0.1138946690721038</c:v>
                </c:pt>
                <c:pt idx="11894" formatCode="0.0%">
                  <c:v>0.11509891561022151</c:v>
                </c:pt>
                <c:pt idx="11895" formatCode="0.0%">
                  <c:v>0.12272458357518015</c:v>
                </c:pt>
                <c:pt idx="11896" formatCode="0.0%">
                  <c:v>0.10872287036857591</c:v>
                </c:pt>
                <c:pt idx="11897" formatCode="0.0%">
                  <c:v>0.11078591522104501</c:v>
                </c:pt>
                <c:pt idx="11898" formatCode="0.0%">
                  <c:v>0.1090332234415808</c:v>
                </c:pt>
                <c:pt idx="11899" formatCode="0.0%">
                  <c:v>0.11446818249341963</c:v>
                </c:pt>
                <c:pt idx="11900" formatCode="0.0%">
                  <c:v>0.11176841769434058</c:v>
                </c:pt>
                <c:pt idx="11901" formatCode="0.0%">
                  <c:v>0.11254576877258654</c:v>
                </c:pt>
                <c:pt idx="11902" formatCode="0.0%">
                  <c:v>0.11270722751926414</c:v>
                </c:pt>
                <c:pt idx="11903" formatCode="0.0%">
                  <c:v>0.10953754690375374</c:v>
                </c:pt>
                <c:pt idx="11904" formatCode="0.0%">
                  <c:v>0.11636006685526784</c:v>
                </c:pt>
                <c:pt idx="11905" formatCode="0.0%">
                  <c:v>0.11574410073241644</c:v>
                </c:pt>
                <c:pt idx="11906" formatCode="0.0%">
                  <c:v>0.11588066198760608</c:v>
                </c:pt>
                <c:pt idx="11907" formatCode="0.0%">
                  <c:v>0.11643764132056005</c:v>
                </c:pt>
                <c:pt idx="11908" formatCode="0.0%">
                  <c:v>0.11882002007886099</c:v>
                </c:pt>
                <c:pt idx="11909" formatCode="0.0%">
                  <c:v>9.7136251392484524E-2</c:v>
                </c:pt>
                <c:pt idx="11910" formatCode="0.0%">
                  <c:v>9.746301393871766E-2</c:v>
                </c:pt>
                <c:pt idx="11911" formatCode="0.0%">
                  <c:v>9.6933799464300766E-2</c:v>
                </c:pt>
                <c:pt idx="11912" formatCode="0.0%">
                  <c:v>9.7743931823732713E-2</c:v>
                </c:pt>
                <c:pt idx="11913" formatCode="0.0%">
                  <c:v>0.1006876784756921</c:v>
                </c:pt>
                <c:pt idx="11914" formatCode="0.0%">
                  <c:v>0.10327864444822298</c:v>
                </c:pt>
                <c:pt idx="11915" formatCode="0.0%">
                  <c:v>0.10112014208398633</c:v>
                </c:pt>
                <c:pt idx="11916" formatCode="0.0%">
                  <c:v>0.11162150644672748</c:v>
                </c:pt>
                <c:pt idx="11917" formatCode="0.0%">
                  <c:v>0.11058693047597723</c:v>
                </c:pt>
                <c:pt idx="11918" formatCode="0.0%">
                  <c:v>0.11469990673985259</c:v>
                </c:pt>
                <c:pt idx="11919" formatCode="0.0%">
                  <c:v>0.12451374892018574</c:v>
                </c:pt>
                <c:pt idx="11920" formatCode="0.0%">
                  <c:v>0.12435711487209737</c:v>
                </c:pt>
                <c:pt idx="11921" formatCode="0.0%">
                  <c:v>0.13915555303119029</c:v>
                </c:pt>
                <c:pt idx="11922" formatCode="0.0%">
                  <c:v>0.14470680119900364</c:v>
                </c:pt>
                <c:pt idx="11923" formatCode="0.0%">
                  <c:v>0.14939615389968505</c:v>
                </c:pt>
                <c:pt idx="11924" formatCode="0.0%">
                  <c:v>0.14808704892425636</c:v>
                </c:pt>
                <c:pt idx="11925" formatCode="0.0%">
                  <c:v>0.17380669010946595</c:v>
                </c:pt>
                <c:pt idx="11926" formatCode="0.0%">
                  <c:v>0.17322111365647141</c:v>
                </c:pt>
                <c:pt idx="11927" formatCode="0.0%">
                  <c:v>0.17928778705335946</c:v>
                </c:pt>
                <c:pt idx="11928" formatCode="0.0%">
                  <c:v>0.17731488923824978</c:v>
                </c:pt>
                <c:pt idx="11929" formatCode="0.0%">
                  <c:v>0.17746801715921004</c:v>
                </c:pt>
                <c:pt idx="11930" formatCode="0.0%">
                  <c:v>0.17903546260624559</c:v>
                </c:pt>
                <c:pt idx="11931" formatCode="0.0%">
                  <c:v>0.1791231041123949</c:v>
                </c:pt>
                <c:pt idx="11932" formatCode="0.0%">
                  <c:v>0.18514652554650016</c:v>
                </c:pt>
                <c:pt idx="11933" formatCode="0.0%">
                  <c:v>0.18512818255267235</c:v>
                </c:pt>
                <c:pt idx="11934" formatCode="0.0%">
                  <c:v>0.18047185948194114</c:v>
                </c:pt>
                <c:pt idx="11935" formatCode="0.0%">
                  <c:v>0.18017018795851875</c:v>
                </c:pt>
                <c:pt idx="11936" formatCode="0.0%">
                  <c:v>0.1764481338514288</c:v>
                </c:pt>
                <c:pt idx="11937" formatCode="0.0%">
                  <c:v>0.17844912247277364</c:v>
                </c:pt>
                <c:pt idx="11938" formatCode="0.0%">
                  <c:v>0.17355064265519901</c:v>
                </c:pt>
                <c:pt idx="11939" formatCode="0.0%">
                  <c:v>0.17475612950709718</c:v>
                </c:pt>
                <c:pt idx="11940" formatCode="0.0%">
                  <c:v>0.18951235950616166</c:v>
                </c:pt>
                <c:pt idx="11941" formatCode="0.0%">
                  <c:v>0.18710597062540835</c:v>
                </c:pt>
                <c:pt idx="11942" formatCode="0.0%">
                  <c:v>0.18431079870486627</c:v>
                </c:pt>
                <c:pt idx="11943" formatCode="0.0%">
                  <c:v>0.18055009405353953</c:v>
                </c:pt>
                <c:pt idx="11944" formatCode="0.0%">
                  <c:v>0.17989074798161936</c:v>
                </c:pt>
                <c:pt idx="11945" formatCode="0.0%">
                  <c:v>0.16117917210631827</c:v>
                </c:pt>
                <c:pt idx="11946" formatCode="0.0%">
                  <c:v>0.16644367080540262</c:v>
                </c:pt>
                <c:pt idx="11947" formatCode="0.0%">
                  <c:v>0.16362499804602521</c:v>
                </c:pt>
                <c:pt idx="11948" formatCode="0.0%">
                  <c:v>0.16510326186186916</c:v>
                </c:pt>
                <c:pt idx="11949" formatCode="0.0%">
                  <c:v>0.17056390033996155</c:v>
                </c:pt>
                <c:pt idx="11950" formatCode="0.0%">
                  <c:v>0.1932603112292863</c:v>
                </c:pt>
                <c:pt idx="11951" formatCode="0.0%">
                  <c:v>0.19666460027043695</c:v>
                </c:pt>
                <c:pt idx="11952" formatCode="0.0%">
                  <c:v>0.18794295873835648</c:v>
                </c:pt>
                <c:pt idx="11953" formatCode="0.0%">
                  <c:v>0.18801589853726705</c:v>
                </c:pt>
                <c:pt idx="11954" formatCode="0.0%">
                  <c:v>0.18660061131598601</c:v>
                </c:pt>
                <c:pt idx="11955" formatCode="0.0%">
                  <c:v>0.18660496228763337</c:v>
                </c:pt>
                <c:pt idx="11956" formatCode="0.0%">
                  <c:v>0.18818403435627565</c:v>
                </c:pt>
                <c:pt idx="11957" formatCode="0.0%">
                  <c:v>0.18288269622142719</c:v>
                </c:pt>
                <c:pt idx="11958" formatCode="0.0%">
                  <c:v>0.18365076836504282</c:v>
                </c:pt>
                <c:pt idx="11959" formatCode="0.0%">
                  <c:v>0.17333498796669611</c:v>
                </c:pt>
                <c:pt idx="11960" formatCode="0.0%">
                  <c:v>0.16158766093956251</c:v>
                </c:pt>
                <c:pt idx="11961" formatCode="0.0%">
                  <c:v>0.15894924729220036</c:v>
                </c:pt>
                <c:pt idx="11962" formatCode="0.0%">
                  <c:v>0.15925581677583572</c:v>
                </c:pt>
                <c:pt idx="11963" formatCode="0.0%">
                  <c:v>0.15763764081984658</c:v>
                </c:pt>
                <c:pt idx="11964" formatCode="0.0%">
                  <c:v>0.15724718007252791</c:v>
                </c:pt>
                <c:pt idx="11965" formatCode="0.0%">
                  <c:v>0.17007706799641625</c:v>
                </c:pt>
                <c:pt idx="11966" formatCode="0.0%">
                  <c:v>0.16038284604047909</c:v>
                </c:pt>
                <c:pt idx="11967" formatCode="0.0%">
                  <c:v>0.14927638820739661</c:v>
                </c:pt>
                <c:pt idx="11968" formatCode="0.0%">
                  <c:v>0.15090794326251825</c:v>
                </c:pt>
                <c:pt idx="11969" formatCode="0.0%">
                  <c:v>0.14944840419331396</c:v>
                </c:pt>
                <c:pt idx="11970" formatCode="0.0%">
                  <c:v>0.12627848869950592</c:v>
                </c:pt>
                <c:pt idx="11971" formatCode="0.0%">
                  <c:v>0.12898288278898873</c:v>
                </c:pt>
                <c:pt idx="11972" formatCode="0.0%">
                  <c:v>0.12954076737101114</c:v>
                </c:pt>
                <c:pt idx="11973" formatCode="0.0%">
                  <c:v>0.12339987576959202</c:v>
                </c:pt>
                <c:pt idx="11974" formatCode="0.0%">
                  <c:v>0.12322718259734941</c:v>
                </c:pt>
                <c:pt idx="11975" formatCode="0.0%">
                  <c:v>0.12342099541320765</c:v>
                </c:pt>
                <c:pt idx="11976" formatCode="0.0%">
                  <c:v>0.1127438263813038</c:v>
                </c:pt>
                <c:pt idx="11977" formatCode="0.0%">
                  <c:v>0.1144281925822092</c:v>
                </c:pt>
                <c:pt idx="11978" formatCode="0.0%">
                  <c:v>0.12500074096641051</c:v>
                </c:pt>
                <c:pt idx="11979" formatCode="0.0%">
                  <c:v>0.12535670746482624</c:v>
                </c:pt>
                <c:pt idx="11980" formatCode="0.0%">
                  <c:v>0.12308467809081559</c:v>
                </c:pt>
                <c:pt idx="11981" formatCode="0.0%">
                  <c:v>0.11895053398959544</c:v>
                </c:pt>
                <c:pt idx="11982" formatCode="0.0%">
                  <c:v>0.11745243661516712</c:v>
                </c:pt>
                <c:pt idx="11983" formatCode="0.0%">
                  <c:v>0.12416216872101932</c:v>
                </c:pt>
                <c:pt idx="11984" formatCode="0.0%">
                  <c:v>0.12244146851434834</c:v>
                </c:pt>
                <c:pt idx="11985" formatCode="0.0%">
                  <c:v>0.10952131246477392</c:v>
                </c:pt>
                <c:pt idx="11986" formatCode="0.0%">
                  <c:v>0.10969749024971684</c:v>
                </c:pt>
                <c:pt idx="11987" formatCode="0.0%">
                  <c:v>0.11269250843184964</c:v>
                </c:pt>
                <c:pt idx="11988" formatCode="0.0%">
                  <c:v>0.10264294428527933</c:v>
                </c:pt>
                <c:pt idx="11989" formatCode="0.0%">
                  <c:v>0.10276993804237813</c:v>
                </c:pt>
                <c:pt idx="11990" formatCode="0.0%">
                  <c:v>0.10509926266775277</c:v>
                </c:pt>
                <c:pt idx="11991" formatCode="0.0%">
                  <c:v>0.11202100376750272</c:v>
                </c:pt>
                <c:pt idx="11992" formatCode="0.0%">
                  <c:v>0.1318328659270073</c:v>
                </c:pt>
                <c:pt idx="11993" formatCode="0.0%">
                  <c:v>0.12929118280411908</c:v>
                </c:pt>
                <c:pt idx="11994" formatCode="0.0%">
                  <c:v>0.13330208224256376</c:v>
                </c:pt>
                <c:pt idx="11995" formatCode="0.0%">
                  <c:v>0.13416055940664706</c:v>
                </c:pt>
                <c:pt idx="11996" formatCode="0.0%">
                  <c:v>0.13480658983689481</c:v>
                </c:pt>
                <c:pt idx="11997" formatCode="0.0%">
                  <c:v>0.13727202890616536</c:v>
                </c:pt>
                <c:pt idx="11998" formatCode="0.0%">
                  <c:v>0.1243981355784165</c:v>
                </c:pt>
                <c:pt idx="11999" formatCode="0.0%">
                  <c:v>0.12465055584235095</c:v>
                </c:pt>
                <c:pt idx="12000" formatCode="0.0%">
                  <c:v>0.12575350504229785</c:v>
                </c:pt>
                <c:pt idx="12001" formatCode="0.0%">
                  <c:v>0.1295773840235081</c:v>
                </c:pt>
                <c:pt idx="12002" formatCode="0.0%">
                  <c:v>0.1295228328445148</c:v>
                </c:pt>
                <c:pt idx="12003" formatCode="0.0%">
                  <c:v>0.12440338407334683</c:v>
                </c:pt>
                <c:pt idx="12004" formatCode="0.0%">
                  <c:v>0.12615518769420439</c:v>
                </c:pt>
                <c:pt idx="12005" formatCode="0.0%">
                  <c:v>0.12856790272988183</c:v>
                </c:pt>
                <c:pt idx="12006" formatCode="0.0%">
                  <c:v>0.13098202879566587</c:v>
                </c:pt>
                <c:pt idx="12007" formatCode="0.0%">
                  <c:v>0.12780697216115786</c:v>
                </c:pt>
                <c:pt idx="12008" formatCode="0.0%">
                  <c:v>0.13177260171264077</c:v>
                </c:pt>
                <c:pt idx="12009" formatCode="0.0%">
                  <c:v>0.13108297512670591</c:v>
                </c:pt>
                <c:pt idx="12010" formatCode="0.0%">
                  <c:v>0.13002948591114194</c:v>
                </c:pt>
                <c:pt idx="12011" formatCode="0.0%">
                  <c:v>0.11942145134559845</c:v>
                </c:pt>
                <c:pt idx="12012" formatCode="0.0%">
                  <c:v>9.5700232858147063E-2</c:v>
                </c:pt>
                <c:pt idx="12013" formatCode="0.0%">
                  <c:v>0.11217139041331003</c:v>
                </c:pt>
                <c:pt idx="12014" formatCode="0.0%">
                  <c:v>0.10154733661394696</c:v>
                </c:pt>
                <c:pt idx="12015" formatCode="0.0%">
                  <c:v>0.10152962965948339</c:v>
                </c:pt>
                <c:pt idx="12016" formatCode="0.0%">
                  <c:v>0.10192889905260281</c:v>
                </c:pt>
                <c:pt idx="12017" formatCode="0.0%">
                  <c:v>0.1002792836932397</c:v>
                </c:pt>
                <c:pt idx="12018" formatCode="0.0%">
                  <c:v>0.10355047996999948</c:v>
                </c:pt>
                <c:pt idx="12019" formatCode="0.0%">
                  <c:v>0.11191100170791375</c:v>
                </c:pt>
                <c:pt idx="12020" formatCode="0.0%">
                  <c:v>0.11952617231277256</c:v>
                </c:pt>
                <c:pt idx="12021" formatCode="0.0%">
                  <c:v>0.1235025752001145</c:v>
                </c:pt>
                <c:pt idx="12022" formatCode="0.0%">
                  <c:v>0.12334674298483084</c:v>
                </c:pt>
                <c:pt idx="12023" formatCode="0.0%">
                  <c:v>0.12756865778298285</c:v>
                </c:pt>
                <c:pt idx="12024" formatCode="0.0%">
                  <c:v>0.11969671020163745</c:v>
                </c:pt>
                <c:pt idx="12025" formatCode="0.0%">
                  <c:v>0.11809661228070824</c:v>
                </c:pt>
                <c:pt idx="12026" formatCode="0.0%">
                  <c:v>0.12089018119720947</c:v>
                </c:pt>
                <c:pt idx="12027" formatCode="0.0%">
                  <c:v>0.12286607508638774</c:v>
                </c:pt>
                <c:pt idx="12028" formatCode="0.0%">
                  <c:v>0.12212280226778069</c:v>
                </c:pt>
                <c:pt idx="12029" formatCode="0.0%">
                  <c:v>0.12652530252464858</c:v>
                </c:pt>
                <c:pt idx="12030" formatCode="0.0%">
                  <c:v>0.12796307969564366</c:v>
                </c:pt>
                <c:pt idx="12031" formatCode="0.0%">
                  <c:v>0.13405322764245398</c:v>
                </c:pt>
                <c:pt idx="12032" formatCode="0.0%">
                  <c:v>0.13396186763329765</c:v>
                </c:pt>
                <c:pt idx="12033" formatCode="0.0%">
                  <c:v>0.12565656078562829</c:v>
                </c:pt>
                <c:pt idx="12034" formatCode="0.0%">
                  <c:v>0.12373551095104644</c:v>
                </c:pt>
                <c:pt idx="12035" formatCode="0.0%">
                  <c:v>0.1242674159328083</c:v>
                </c:pt>
                <c:pt idx="12036" formatCode="0.0%">
                  <c:v>0.14097654176837129</c:v>
                </c:pt>
                <c:pt idx="12037" formatCode="0.0%">
                  <c:v>0.14747864982089909</c:v>
                </c:pt>
                <c:pt idx="12038" formatCode="0.0%">
                  <c:v>0.14036696567458273</c:v>
                </c:pt>
                <c:pt idx="12039" formatCode="0.0%">
                  <c:v>0.13754341808646103</c:v>
                </c:pt>
                <c:pt idx="12040" formatCode="0.0%">
                  <c:v>0.12774717277813652</c:v>
                </c:pt>
                <c:pt idx="12041" formatCode="0.0%">
                  <c:v>0.12760347937837543</c:v>
                </c:pt>
                <c:pt idx="12042" formatCode="0.0%">
                  <c:v>0.13012326985734571</c:v>
                </c:pt>
                <c:pt idx="12043" formatCode="0.0%">
                  <c:v>0.12441081552022498</c:v>
                </c:pt>
                <c:pt idx="12044" formatCode="0.0%">
                  <c:v>0.12613034651821942</c:v>
                </c:pt>
                <c:pt idx="12045" formatCode="0.0%">
                  <c:v>0.13404650554588013</c:v>
                </c:pt>
                <c:pt idx="12046" formatCode="0.0%">
                  <c:v>0.13453702253676006</c:v>
                </c:pt>
                <c:pt idx="12047" formatCode="0.0%">
                  <c:v>0.13135274224841692</c:v>
                </c:pt>
                <c:pt idx="12048" formatCode="0.0%">
                  <c:v>0.13115554231016177</c:v>
                </c:pt>
                <c:pt idx="12049" formatCode="0.0%">
                  <c:v>0.12945287487906701</c:v>
                </c:pt>
                <c:pt idx="12050" formatCode="0.0%">
                  <c:v>0.14106091090356815</c:v>
                </c:pt>
                <c:pt idx="12051" formatCode="0.0%">
                  <c:v>0.13004355945560769</c:v>
                </c:pt>
                <c:pt idx="12052" formatCode="0.0%">
                  <c:v>0.12753235685501485</c:v>
                </c:pt>
                <c:pt idx="12053" formatCode="0.0%">
                  <c:v>0.12918589268001662</c:v>
                </c:pt>
                <c:pt idx="12054" formatCode="0.0%">
                  <c:v>0.13007601043100792</c:v>
                </c:pt>
                <c:pt idx="12055" formatCode="0.0%">
                  <c:v>0.13132955228188567</c:v>
                </c:pt>
                <c:pt idx="12056" formatCode="0.0%">
                  <c:v>0.12157304050959525</c:v>
                </c:pt>
                <c:pt idx="12057" formatCode="0.0%">
                  <c:v>0.12354271312553224</c:v>
                </c:pt>
                <c:pt idx="12058" formatCode="0.0%">
                  <c:v>0.12410959246446636</c:v>
                </c:pt>
                <c:pt idx="12059" formatCode="0.0%">
                  <c:v>0.12108524456915724</c:v>
                </c:pt>
                <c:pt idx="12060" formatCode="0.0%">
                  <c:v>0.1250640155902642</c:v>
                </c:pt>
                <c:pt idx="12061" formatCode="0.0%">
                  <c:v>0.12927418858105208</c:v>
                </c:pt>
                <c:pt idx="12062" formatCode="0.0%">
                  <c:v>0.13330060110084471</c:v>
                </c:pt>
                <c:pt idx="12063" formatCode="0.0%">
                  <c:v>0.13665144077031677</c:v>
                </c:pt>
                <c:pt idx="12064" formatCode="0.0%">
                  <c:v>0.13410761197854748</c:v>
                </c:pt>
                <c:pt idx="12065" formatCode="0.0%">
                  <c:v>0.12257458021233082</c:v>
                </c:pt>
                <c:pt idx="12066" formatCode="0.0%">
                  <c:v>0.11978165040079097</c:v>
                </c:pt>
                <c:pt idx="12067" formatCode="0.0%">
                  <c:v>0.11899378572303448</c:v>
                </c:pt>
                <c:pt idx="12068" formatCode="0.0%">
                  <c:v>0.13037951921149604</c:v>
                </c:pt>
                <c:pt idx="12069" formatCode="0.0%">
                  <c:v>0.135689640232242</c:v>
                </c:pt>
                <c:pt idx="12070" formatCode="0.0%">
                  <c:v>0.12357047017719636</c:v>
                </c:pt>
                <c:pt idx="12071" formatCode="0.0%">
                  <c:v>0.12207807213363936</c:v>
                </c:pt>
                <c:pt idx="12072" formatCode="0.0%">
                  <c:v>0.1236396594539864</c:v>
                </c:pt>
                <c:pt idx="12073" formatCode="0.0%">
                  <c:v>0.12385174790845296</c:v>
                </c:pt>
                <c:pt idx="12074" formatCode="0.0%">
                  <c:v>0.12353045961151109</c:v>
                </c:pt>
                <c:pt idx="12075" formatCode="0.0%">
                  <c:v>0.11784407046676801</c:v>
                </c:pt>
                <c:pt idx="12076" formatCode="0.0%">
                  <c:v>0.11796630699840577</c:v>
                </c:pt>
                <c:pt idx="12077" formatCode="0.0%">
                  <c:v>0.11953227439970251</c:v>
                </c:pt>
                <c:pt idx="12078" formatCode="0.0%">
                  <c:v>0.11969743283594922</c:v>
                </c:pt>
                <c:pt idx="12079" formatCode="0.0%">
                  <c:v>0.12730978567409776</c:v>
                </c:pt>
                <c:pt idx="12080" formatCode="0.0%">
                  <c:v>0.12740419536455139</c:v>
                </c:pt>
                <c:pt idx="12081" formatCode="0.0%">
                  <c:v>0.12648388408735947</c:v>
                </c:pt>
                <c:pt idx="12082" formatCode="0.0%">
                  <c:v>0.12063910734236995</c:v>
                </c:pt>
                <c:pt idx="12083" formatCode="0.0%">
                  <c:v>0.11771942471475251</c:v>
                </c:pt>
                <c:pt idx="12084" formatCode="0.0%">
                  <c:v>0.12062736994107641</c:v>
                </c:pt>
                <c:pt idx="12085" formatCode="0.0%">
                  <c:v>0.12048972121669543</c:v>
                </c:pt>
                <c:pt idx="12086" formatCode="0.0%">
                  <c:v>0.12337234726051628</c:v>
                </c:pt>
                <c:pt idx="12087" formatCode="0.0%">
                  <c:v>0.1324654149472996</c:v>
                </c:pt>
                <c:pt idx="12088" formatCode="0.0%">
                  <c:v>0.1225149522522106</c:v>
                </c:pt>
                <c:pt idx="12089" formatCode="0.0%">
                  <c:v>0.11605444748046705</c:v>
                </c:pt>
                <c:pt idx="12090" formatCode="0.0%">
                  <c:v>0.11685570330369882</c:v>
                </c:pt>
                <c:pt idx="12091" formatCode="0.0%">
                  <c:v>0.11699884537632195</c:v>
                </c:pt>
                <c:pt idx="12092" formatCode="0.0%">
                  <c:v>0.11768531453479412</c:v>
                </c:pt>
                <c:pt idx="12093" formatCode="0.0%">
                  <c:v>0.11729431830790425</c:v>
                </c:pt>
                <c:pt idx="12094" formatCode="0.0%">
                  <c:v>0.114027426416642</c:v>
                </c:pt>
                <c:pt idx="12095" formatCode="0.0%">
                  <c:v>0.11383039108497703</c:v>
                </c:pt>
                <c:pt idx="12096" formatCode="0.0%">
                  <c:v>0.11634786661492968</c:v>
                </c:pt>
                <c:pt idx="12097" formatCode="0.0%">
                  <c:v>0.10820844327524802</c:v>
                </c:pt>
                <c:pt idx="12098" formatCode="0.0%">
                  <c:v>0.10928842880487522</c:v>
                </c:pt>
                <c:pt idx="12099" formatCode="0.0%">
                  <c:v>0.10346965750537748</c:v>
                </c:pt>
                <c:pt idx="12100" formatCode="0.0%">
                  <c:v>0.10155068809059195</c:v>
                </c:pt>
                <c:pt idx="12101" formatCode="0.0%">
                  <c:v>0.10296443061851641</c:v>
                </c:pt>
                <c:pt idx="12102" formatCode="0.0%">
                  <c:v>0.10294988058299034</c:v>
                </c:pt>
                <c:pt idx="12103" formatCode="0.0%">
                  <c:v>9.9950560045792072E-2</c:v>
                </c:pt>
                <c:pt idx="12104" formatCode="0.0%">
                  <c:v>9.8544907051178104E-2</c:v>
                </c:pt>
                <c:pt idx="12105" formatCode="0.0%">
                  <c:v>0.10293000315732108</c:v>
                </c:pt>
                <c:pt idx="12106" formatCode="0.0%">
                  <c:v>9.9632893708441597E-2</c:v>
                </c:pt>
                <c:pt idx="12107" formatCode="0.0%">
                  <c:v>8.4900037778080209E-2</c:v>
                </c:pt>
                <c:pt idx="12108" formatCode="0.0%">
                  <c:v>8.2692937648974146E-2</c:v>
                </c:pt>
                <c:pt idx="12109" formatCode="0.0%">
                  <c:v>8.8249738893521501E-2</c:v>
                </c:pt>
                <c:pt idx="12110" formatCode="0.0%">
                  <c:v>8.8794465278070528E-2</c:v>
                </c:pt>
                <c:pt idx="12111" formatCode="0.0%">
                  <c:v>0.10820574192869728</c:v>
                </c:pt>
                <c:pt idx="12112" formatCode="0.0%">
                  <c:v>0.10730003304552575</c:v>
                </c:pt>
                <c:pt idx="12113" formatCode="0.0%">
                  <c:v>0.10634530989251588</c:v>
                </c:pt>
                <c:pt idx="12114" formatCode="0.0%">
                  <c:v>0.10642441574859485</c:v>
                </c:pt>
                <c:pt idx="12115" formatCode="0.0%">
                  <c:v>0.11057685368409408</c:v>
                </c:pt>
                <c:pt idx="12116" formatCode="0.0%">
                  <c:v>0.10846573331229274</c:v>
                </c:pt>
                <c:pt idx="12117" formatCode="0.0%">
                  <c:v>0.10772047685648947</c:v>
                </c:pt>
                <c:pt idx="12118" formatCode="0.0%">
                  <c:v>0.10627048679848212</c:v>
                </c:pt>
                <c:pt idx="12119" formatCode="0.0%">
                  <c:v>0.110654304457458</c:v>
                </c:pt>
                <c:pt idx="12120" formatCode="0.0%">
                  <c:v>0.10730360564638282</c:v>
                </c:pt>
                <c:pt idx="12121" formatCode="0.0%">
                  <c:v>9.5746918653286814E-2</c:v>
                </c:pt>
                <c:pt idx="12122" formatCode="0.0%">
                  <c:v>9.5873439176197131E-2</c:v>
                </c:pt>
                <c:pt idx="12123" formatCode="0.0%">
                  <c:v>0.10269664522261045</c:v>
                </c:pt>
                <c:pt idx="12124" formatCode="0.0%">
                  <c:v>0.11439807882575262</c:v>
                </c:pt>
                <c:pt idx="12125" formatCode="0.0%">
                  <c:v>0.11691067853278106</c:v>
                </c:pt>
                <c:pt idx="12126" formatCode="0.0%">
                  <c:v>0.1179410222093468</c:v>
                </c:pt>
                <c:pt idx="12127" formatCode="0.0%">
                  <c:v>0.11930223341647389</c:v>
                </c:pt>
                <c:pt idx="12128" formatCode="0.0%">
                  <c:v>0.13076605670420244</c:v>
                </c:pt>
                <c:pt idx="12129" formatCode="0.0%">
                  <c:v>0.12822957239620447</c:v>
                </c:pt>
                <c:pt idx="12130" formatCode="0.0%">
                  <c:v>0.12526944960775677</c:v>
                </c:pt>
                <c:pt idx="12131" formatCode="0.0%">
                  <c:v>0.10799121065048503</c:v>
                </c:pt>
                <c:pt idx="12132" formatCode="0.0%">
                  <c:v>0.10887095942979413</c:v>
                </c:pt>
                <c:pt idx="12133" formatCode="0.0%">
                  <c:v>0.10929374311167223</c:v>
                </c:pt>
                <c:pt idx="12134" formatCode="0.0%">
                  <c:v>0.11064826760426721</c:v>
                </c:pt>
                <c:pt idx="12135" formatCode="0.0%">
                  <c:v>0.10968174892102539</c:v>
                </c:pt>
                <c:pt idx="12136" formatCode="0.0%">
                  <c:v>0.10845182859508556</c:v>
                </c:pt>
                <c:pt idx="12137" formatCode="0.0%">
                  <c:v>0.10852970639141224</c:v>
                </c:pt>
                <c:pt idx="12138" formatCode="0.0%">
                  <c:v>0.11239679952498757</c:v>
                </c:pt>
                <c:pt idx="12139" formatCode="0.0%">
                  <c:v>0.10424816292070373</c:v>
                </c:pt>
                <c:pt idx="12140" formatCode="0.0%">
                  <c:v>0.10447805150171147</c:v>
                </c:pt>
                <c:pt idx="12141" formatCode="0.0%">
                  <c:v>0.10445124181802135</c:v>
                </c:pt>
                <c:pt idx="12142" formatCode="0.0%">
                  <c:v>0.10389865613833346</c:v>
                </c:pt>
                <c:pt idx="12143" formatCode="0.0%">
                  <c:v>0.10494015934991435</c:v>
                </c:pt>
                <c:pt idx="12144" formatCode="0.0%">
                  <c:v>9.952685530547549E-2</c:v>
                </c:pt>
                <c:pt idx="12145" formatCode="0.0%">
                  <c:v>9.6371809302859532E-2</c:v>
                </c:pt>
                <c:pt idx="12146" formatCode="0.0%">
                  <c:v>9.3170815419534078E-2</c:v>
                </c:pt>
                <c:pt idx="12147" formatCode="0.0%">
                  <c:v>9.7863237986450247E-2</c:v>
                </c:pt>
                <c:pt idx="12148" formatCode="0.0%">
                  <c:v>8.5142449526575723E-2</c:v>
                </c:pt>
                <c:pt idx="12149" formatCode="0.0%">
                  <c:v>8.6365805959498929E-2</c:v>
                </c:pt>
                <c:pt idx="12150" formatCode="0.0%">
                  <c:v>8.6740762253610867E-2</c:v>
                </c:pt>
                <c:pt idx="12151" formatCode="0.0%">
                  <c:v>8.2106343187614658E-2</c:v>
                </c:pt>
                <c:pt idx="12152" formatCode="0.0%">
                  <c:v>8.1702039847515381E-2</c:v>
                </c:pt>
                <c:pt idx="12153" formatCode="0.0%">
                  <c:v>8.1099068974943858E-2</c:v>
                </c:pt>
                <c:pt idx="12154" formatCode="0.0%">
                  <c:v>7.7431148721282025E-2</c:v>
                </c:pt>
                <c:pt idx="12155" formatCode="0.0%">
                  <c:v>7.9546790791533248E-2</c:v>
                </c:pt>
                <c:pt idx="12156" formatCode="0.0%">
                  <c:v>7.9302442988373092E-2</c:v>
                </c:pt>
                <c:pt idx="12157" formatCode="0.0%">
                  <c:v>7.7581674033342221E-2</c:v>
                </c:pt>
                <c:pt idx="12158" formatCode="0.0%">
                  <c:v>7.6613164390658448E-2</c:v>
                </c:pt>
                <c:pt idx="12159" formatCode="0.0%">
                  <c:v>7.4591181398104486E-2</c:v>
                </c:pt>
                <c:pt idx="12160" formatCode="0.0%">
                  <c:v>7.9423347033788796E-2</c:v>
                </c:pt>
                <c:pt idx="12161" formatCode="0.0%">
                  <c:v>7.9416627545472698E-2</c:v>
                </c:pt>
                <c:pt idx="12162" formatCode="0.0%">
                  <c:v>8.1925238505256834E-2</c:v>
                </c:pt>
                <c:pt idx="12163" formatCode="0.0%">
                  <c:v>7.3593439120782284E-2</c:v>
                </c:pt>
                <c:pt idx="12164" formatCode="0.0%">
                  <c:v>6.5208326193869806E-2</c:v>
                </c:pt>
                <c:pt idx="12165" formatCode="0.0%">
                  <c:v>7.4056367005963089E-2</c:v>
                </c:pt>
                <c:pt idx="12166" formatCode="0.0%">
                  <c:v>7.3631364697883006E-2</c:v>
                </c:pt>
                <c:pt idx="12167" formatCode="0.0%">
                  <c:v>7.0287294802736974E-2</c:v>
                </c:pt>
                <c:pt idx="12168" formatCode="0.0%">
                  <c:v>6.8283156580663251E-2</c:v>
                </c:pt>
                <c:pt idx="12169" formatCode="0.0%">
                  <c:v>6.7285348353591012E-2</c:v>
                </c:pt>
                <c:pt idx="12170" formatCode="0.0%">
                  <c:v>6.4999111189009043E-2</c:v>
                </c:pt>
                <c:pt idx="12171" formatCode="0.0%">
                  <c:v>6.572664961008079E-2</c:v>
                </c:pt>
                <c:pt idx="12172" formatCode="0.0%">
                  <c:v>7.7459903678021511E-2</c:v>
                </c:pt>
                <c:pt idx="12173" formatCode="0.0%">
                  <c:v>8.4399377640953191E-2</c:v>
                </c:pt>
                <c:pt idx="12174" formatCode="0.0%">
                  <c:v>8.506644293530588E-2</c:v>
                </c:pt>
                <c:pt idx="12175" formatCode="0.0%">
                  <c:v>8.5955268492988915E-2</c:v>
                </c:pt>
                <c:pt idx="12176" formatCode="0.0%">
                  <c:v>9.0239656749600564E-2</c:v>
                </c:pt>
                <c:pt idx="12177" formatCode="0.0%">
                  <c:v>9.3127539058494052E-2</c:v>
                </c:pt>
                <c:pt idx="12178" formatCode="0.0%">
                  <c:v>9.1125685611889135E-2</c:v>
                </c:pt>
                <c:pt idx="12179" formatCode="0.0%">
                  <c:v>9.3998230036420258E-2</c:v>
                </c:pt>
                <c:pt idx="12180" formatCode="0.0%">
                  <c:v>9.2725915164696152E-2</c:v>
                </c:pt>
                <c:pt idx="12181" formatCode="0.0%">
                  <c:v>0.10108771700940399</c:v>
                </c:pt>
                <c:pt idx="12182" formatCode="0.0%">
                  <c:v>9.9193817903679732E-2</c:v>
                </c:pt>
                <c:pt idx="12183" formatCode="0.0%">
                  <c:v>9.9980240516963317E-2</c:v>
                </c:pt>
                <c:pt idx="12184" formatCode="0.0%">
                  <c:v>0.10198705520588089</c:v>
                </c:pt>
                <c:pt idx="12185" formatCode="0.0%">
                  <c:v>9.7467338236320741E-2</c:v>
                </c:pt>
                <c:pt idx="12186" formatCode="0.0%">
                  <c:v>9.8556081224851599E-2</c:v>
                </c:pt>
                <c:pt idx="12187" formatCode="0.0%">
                  <c:v>9.8760722761541186E-2</c:v>
                </c:pt>
                <c:pt idx="12188" formatCode="0.0%">
                  <c:v>9.9605334401950685E-2</c:v>
                </c:pt>
                <c:pt idx="12189" formatCode="0.0%">
                  <c:v>0.10008528260714432</c:v>
                </c:pt>
                <c:pt idx="12190" formatCode="0.0%">
                  <c:v>9.9825312998221713E-2</c:v>
                </c:pt>
                <c:pt idx="12191" formatCode="0.0%">
                  <c:v>0.10635799305271657</c:v>
                </c:pt>
                <c:pt idx="12192" formatCode="0.0%">
                  <c:v>0.10096197535478109</c:v>
                </c:pt>
                <c:pt idx="12193" formatCode="0.0%">
                  <c:v>9.1883413916089604E-2</c:v>
                </c:pt>
                <c:pt idx="12194" formatCode="0.0%">
                  <c:v>9.8688655940488548E-2</c:v>
                </c:pt>
                <c:pt idx="12195" formatCode="0.0%">
                  <c:v>9.5016848312978019E-2</c:v>
                </c:pt>
                <c:pt idx="12196" formatCode="0.0%">
                  <c:v>9.7489881123780361E-2</c:v>
                </c:pt>
                <c:pt idx="12197" formatCode="0.0%">
                  <c:v>9.2128286630750206E-2</c:v>
                </c:pt>
                <c:pt idx="12198" formatCode="0.0%">
                  <c:v>9.224180514335828E-2</c:v>
                </c:pt>
                <c:pt idx="12199" formatCode="0.0%">
                  <c:v>0.10640907595618088</c:v>
                </c:pt>
                <c:pt idx="12200" formatCode="0.0%">
                  <c:v>0.1064446331872714</c:v>
                </c:pt>
                <c:pt idx="12201" formatCode="0.0%">
                  <c:v>9.999249355370321E-2</c:v>
                </c:pt>
                <c:pt idx="12202" formatCode="0.0%">
                  <c:v>0.10695824683907169</c:v>
                </c:pt>
                <c:pt idx="12203" formatCode="0.0%">
                  <c:v>0.1062390265037617</c:v>
                </c:pt>
                <c:pt idx="12204" formatCode="0.0%">
                  <c:v>0.10601058889244337</c:v>
                </c:pt>
                <c:pt idx="12205" formatCode="0.0%">
                  <c:v>0.10617365379843005</c:v>
                </c:pt>
                <c:pt idx="12206" formatCode="0.0%">
                  <c:v>0.10731639018724844</c:v>
                </c:pt>
                <c:pt idx="12207" formatCode="0.0%">
                  <c:v>0.11142688132105621</c:v>
                </c:pt>
                <c:pt idx="12208" formatCode="0.0%">
                  <c:v>0.11474286783455248</c:v>
                </c:pt>
                <c:pt idx="12209" formatCode="0.0%">
                  <c:v>0.11716268326249503</c:v>
                </c:pt>
                <c:pt idx="12210" formatCode="0.0%">
                  <c:v>0.12711316254021549</c:v>
                </c:pt>
                <c:pt idx="12211" formatCode="0.0%">
                  <c:v>0.12547455101849128</c:v>
                </c:pt>
                <c:pt idx="12212" formatCode="0.0%">
                  <c:v>0.11892914074836876</c:v>
                </c:pt>
                <c:pt idx="12213" formatCode="0.0%">
                  <c:v>0.1225196442652548</c:v>
                </c:pt>
                <c:pt idx="12214" formatCode="0.0%">
                  <c:v>0.10654893511667908</c:v>
                </c:pt>
                <c:pt idx="12215" formatCode="0.0%">
                  <c:v>0.10856676067423646</c:v>
                </c:pt>
                <c:pt idx="12216" formatCode="0.0%">
                  <c:v>0.11101415890756947</c:v>
                </c:pt>
                <c:pt idx="12217" formatCode="0.0%">
                  <c:v>0.11222037255938522</c:v>
                </c:pt>
                <c:pt idx="12218" formatCode="0.0%">
                  <c:v>0.10980714649003835</c:v>
                </c:pt>
                <c:pt idx="12219" formatCode="0.0%">
                  <c:v>0.11381491073324694</c:v>
                </c:pt>
                <c:pt idx="12220" formatCode="0.0%">
                  <c:v>0.1178278842964133</c:v>
                </c:pt>
                <c:pt idx="12221" formatCode="0.0%">
                  <c:v>0.11781720533474538</c:v>
                </c:pt>
                <c:pt idx="12222" formatCode="0.0%">
                  <c:v>0.12379007598540805</c:v>
                </c:pt>
                <c:pt idx="12223" formatCode="0.0%">
                  <c:v>0.12408186512290183</c:v>
                </c:pt>
                <c:pt idx="12224" formatCode="0.0%">
                  <c:v>0.127705390513178</c:v>
                </c:pt>
                <c:pt idx="12225" formatCode="0.0%">
                  <c:v>0.1289102722647639</c:v>
                </c:pt>
                <c:pt idx="12226" formatCode="0.0%">
                  <c:v>0.13787994600314687</c:v>
                </c:pt>
                <c:pt idx="12227" formatCode="0.0%">
                  <c:v>0.14027984900707999</c:v>
                </c:pt>
                <c:pt idx="12228" formatCode="0.0%">
                  <c:v>0.13755669351136324</c:v>
                </c:pt>
                <c:pt idx="12229" formatCode="0.0%">
                  <c:v>0.13590036939109723</c:v>
                </c:pt>
                <c:pt idx="12230" formatCode="0.0%">
                  <c:v>0.13058145602394861</c:v>
                </c:pt>
                <c:pt idx="12231" formatCode="0.0%">
                  <c:v>0.12453605940089425</c:v>
                </c:pt>
                <c:pt idx="12232" formatCode="0.0%">
                  <c:v>0.12731676086847157</c:v>
                </c:pt>
                <c:pt idx="12233" formatCode="0.0%">
                  <c:v>0.12515259178357324</c:v>
                </c:pt>
                <c:pt idx="12234" formatCode="0.0%">
                  <c:v>0.12719487398894377</c:v>
                </c:pt>
                <c:pt idx="12235" formatCode="0.0%">
                  <c:v>0.13503569943900576</c:v>
                </c:pt>
                <c:pt idx="12236" formatCode="0.0%">
                  <c:v>0.13013312770630614</c:v>
                </c:pt>
                <c:pt idx="12237" formatCode="0.0%">
                  <c:v>0.12758636164666159</c:v>
                </c:pt>
                <c:pt idx="12238" formatCode="0.0%">
                  <c:v>0.13030964978521289</c:v>
                </c:pt>
                <c:pt idx="12239" formatCode="0.0%">
                  <c:v>0.12675894846180041</c:v>
                </c:pt>
                <c:pt idx="12240" formatCode="0.0%">
                  <c:v>0.12695718665348746</c:v>
                </c:pt>
                <c:pt idx="12241" formatCode="0.0%">
                  <c:v>0.12961550266077757</c:v>
                </c:pt>
                <c:pt idx="12242" formatCode="0.0%">
                  <c:v>0.12181690030964341</c:v>
                </c:pt>
                <c:pt idx="12243" formatCode="0.0%">
                  <c:v>0.12247112984121995</c:v>
                </c:pt>
                <c:pt idx="12244" formatCode="0.0%">
                  <c:v>0.11591373623832558</c:v>
                </c:pt>
                <c:pt idx="12245" formatCode="0.0%">
                  <c:v>0.11680504441650121</c:v>
                </c:pt>
                <c:pt idx="12246" formatCode="0.0%">
                  <c:v>0.10355919198038047</c:v>
                </c:pt>
                <c:pt idx="12247" formatCode="0.0%">
                  <c:v>9.0929014900973118E-2</c:v>
                </c:pt>
                <c:pt idx="12248" formatCode="0.0%">
                  <c:v>9.0065303825498752E-2</c:v>
                </c:pt>
                <c:pt idx="12249" formatCode="0.0%">
                  <c:v>8.575001692197641E-2</c:v>
                </c:pt>
                <c:pt idx="12250" formatCode="0.0%">
                  <c:v>8.3231349914240735E-2</c:v>
                </c:pt>
                <c:pt idx="12251" formatCode="0.0%">
                  <c:v>8.0566645887783117E-2</c:v>
                </c:pt>
                <c:pt idx="12252" formatCode="0.0%">
                  <c:v>7.9425979631098556E-2</c:v>
                </c:pt>
                <c:pt idx="12253" formatCode="0.0%">
                  <c:v>7.96062120160098E-2</c:v>
                </c:pt>
                <c:pt idx="12254" formatCode="0.0%">
                  <c:v>8.1139900820541733E-2</c:v>
                </c:pt>
                <c:pt idx="12255" formatCode="0.0%">
                  <c:v>7.4641022590843875E-2</c:v>
                </c:pt>
                <c:pt idx="12256" formatCode="0.0%">
                  <c:v>7.8673825571509412E-2</c:v>
                </c:pt>
                <c:pt idx="12257" formatCode="0.0%">
                  <c:v>7.7731273427278411E-2</c:v>
                </c:pt>
                <c:pt idx="12258" formatCode="0.0%">
                  <c:v>7.4335521541651586E-2</c:v>
                </c:pt>
                <c:pt idx="12259" formatCode="0.0%">
                  <c:v>7.344376936378226E-2</c:v>
                </c:pt>
                <c:pt idx="12260" formatCode="0.0%">
                  <c:v>7.9581527319288442E-2</c:v>
                </c:pt>
                <c:pt idx="12261" formatCode="0.0%">
                  <c:v>7.5283274098006656E-2</c:v>
                </c:pt>
                <c:pt idx="12262" formatCode="0.0%">
                  <c:v>7.5997853452327263E-2</c:v>
                </c:pt>
                <c:pt idx="12263" formatCode="0.0%">
                  <c:v>7.6514902196364962E-2</c:v>
                </c:pt>
                <c:pt idx="12264" formatCode="0.0%">
                  <c:v>7.425105670065596E-2</c:v>
                </c:pt>
                <c:pt idx="12265" formatCode="0.0%">
                  <c:v>7.6670259155644127E-2</c:v>
                </c:pt>
                <c:pt idx="12266" formatCode="0.0%">
                  <c:v>8.8708649770078196E-2</c:v>
                </c:pt>
                <c:pt idx="12267" formatCode="0.0%">
                  <c:v>9.5395439485467998E-2</c:v>
                </c:pt>
                <c:pt idx="12268" formatCode="0.0%">
                  <c:v>9.3798724163074415E-2</c:v>
                </c:pt>
                <c:pt idx="12269" formatCode="0.0%">
                  <c:v>9.2797458525412838E-2</c:v>
                </c:pt>
                <c:pt idx="12270" formatCode="0.0%">
                  <c:v>9.2795515130116371E-2</c:v>
                </c:pt>
                <c:pt idx="12271" formatCode="0.0%">
                  <c:v>0.10008315868908692</c:v>
                </c:pt>
                <c:pt idx="12272" formatCode="0.0%">
                  <c:v>0.10132773058261367</c:v>
                </c:pt>
                <c:pt idx="12273" formatCode="0.0%">
                  <c:v>0.10566934303878987</c:v>
                </c:pt>
                <c:pt idx="12274" formatCode="0.0%">
                  <c:v>0.10529272108144003</c:v>
                </c:pt>
                <c:pt idx="12275" formatCode="0.0%">
                  <c:v>0.10416199354735012</c:v>
                </c:pt>
                <c:pt idx="12276" formatCode="0.0%">
                  <c:v>0.10301235261021918</c:v>
                </c:pt>
                <c:pt idx="12277" formatCode="0.0%">
                  <c:v>0.10275315924448782</c:v>
                </c:pt>
                <c:pt idx="12278" formatCode="0.0%">
                  <c:v>0.1051145480240198</c:v>
                </c:pt>
                <c:pt idx="12279" formatCode="0.0%">
                  <c:v>0.10595345351788779</c:v>
                </c:pt>
                <c:pt idx="12280" formatCode="0.0%">
                  <c:v>9.5499616240199967E-2</c:v>
                </c:pt>
                <c:pt idx="12281" formatCode="0.0%">
                  <c:v>9.0708061284798552E-2</c:v>
                </c:pt>
                <c:pt idx="12282" formatCode="0.0%">
                  <c:v>9.2839997547406489E-2</c:v>
                </c:pt>
                <c:pt idx="12283" formatCode="0.0%">
                  <c:v>8.9777756821556254E-2</c:v>
                </c:pt>
                <c:pt idx="12284" formatCode="0.0%">
                  <c:v>8.6165655229225924E-2</c:v>
                </c:pt>
                <c:pt idx="12285" formatCode="0.0%">
                  <c:v>8.6856692769118213E-2</c:v>
                </c:pt>
                <c:pt idx="12286" formatCode="0.0%">
                  <c:v>8.2348067041344647E-2</c:v>
                </c:pt>
                <c:pt idx="12287" formatCode="0.0%">
                  <c:v>7.7579140923074483E-2</c:v>
                </c:pt>
                <c:pt idx="12288" formatCode="0.0%">
                  <c:v>7.746712959986797E-2</c:v>
                </c:pt>
                <c:pt idx="12289" formatCode="0.0%">
                  <c:v>7.7575309183453511E-2</c:v>
                </c:pt>
                <c:pt idx="12290" formatCode="0.0%">
                  <c:v>7.6838559324515665E-2</c:v>
                </c:pt>
                <c:pt idx="12291" formatCode="0.0%">
                  <c:v>6.9851779784895887E-2</c:v>
                </c:pt>
                <c:pt idx="12292" formatCode="0.0%">
                  <c:v>7.1873142945582488E-2</c:v>
                </c:pt>
                <c:pt idx="12293" formatCode="0.0%">
                  <c:v>6.4197057659850079E-2</c:v>
                </c:pt>
                <c:pt idx="12294" formatCode="0.0%">
                  <c:v>6.6007641017755081E-2</c:v>
                </c:pt>
                <c:pt idx="12295" formatCode="0.0%">
                  <c:v>7.0443328607840805E-2</c:v>
                </c:pt>
                <c:pt idx="12296" formatCode="0.0%">
                  <c:v>7.1474515131057834E-2</c:v>
                </c:pt>
                <c:pt idx="12297" formatCode="0.0%">
                  <c:v>7.0836604120102314E-2</c:v>
                </c:pt>
                <c:pt idx="12298" formatCode="0.0%">
                  <c:v>6.7617701825365903E-2</c:v>
                </c:pt>
                <c:pt idx="12299" formatCode="0.0%">
                  <c:v>6.6467422102275325E-2</c:v>
                </c:pt>
                <c:pt idx="12300" formatCode="0.0%">
                  <c:v>6.6606952998309654E-2</c:v>
                </c:pt>
                <c:pt idx="12301" formatCode="0.0%">
                  <c:v>6.6852402835269636E-2</c:v>
                </c:pt>
                <c:pt idx="12302" formatCode="0.0%">
                  <c:v>6.4914851488548461E-2</c:v>
                </c:pt>
                <c:pt idx="12303" formatCode="0.0%">
                  <c:v>6.3142993532316644E-2</c:v>
                </c:pt>
                <c:pt idx="12304" formatCode="0.0%">
                  <c:v>6.4619382801132039E-2</c:v>
                </c:pt>
                <c:pt idx="12305" formatCode="0.0%">
                  <c:v>7.2548403439205586E-2</c:v>
                </c:pt>
                <c:pt idx="12306" formatCode="0.0%">
                  <c:v>6.9660807442302991E-2</c:v>
                </c:pt>
                <c:pt idx="12307" formatCode="0.0%">
                  <c:v>7.2685899083523825E-2</c:v>
                </c:pt>
                <c:pt idx="12308" formatCode="0.0%">
                  <c:v>7.210312161632694E-2</c:v>
                </c:pt>
                <c:pt idx="12309" formatCode="0.0%">
                  <c:v>7.2129141066185898E-2</c:v>
                </c:pt>
                <c:pt idx="12310" formatCode="0.0%">
                  <c:v>7.3132718924349666E-2</c:v>
                </c:pt>
                <c:pt idx="12311" formatCode="0.0%">
                  <c:v>7.7070560644147038E-2</c:v>
                </c:pt>
                <c:pt idx="12312" formatCode="0.0%">
                  <c:v>7.4384528617413764E-2</c:v>
                </c:pt>
                <c:pt idx="12313" formatCode="0.0%">
                  <c:v>7.4305786456032849E-2</c:v>
                </c:pt>
                <c:pt idx="12314" formatCode="0.0%">
                  <c:v>7.5677545439769553E-2</c:v>
                </c:pt>
                <c:pt idx="12315" formatCode="0.0%">
                  <c:v>7.595206082680192E-2</c:v>
                </c:pt>
                <c:pt idx="12316" formatCode="0.0%">
                  <c:v>7.5595121216628494E-2</c:v>
                </c:pt>
                <c:pt idx="12317" formatCode="0.0%">
                  <c:v>7.4241254140649415E-2</c:v>
                </c:pt>
                <c:pt idx="12318" formatCode="0.0%">
                  <c:v>7.143150480810416E-2</c:v>
                </c:pt>
                <c:pt idx="12319" formatCode="0.0%">
                  <c:v>7.2544039272086164E-2</c:v>
                </c:pt>
                <c:pt idx="12320" formatCode="0.0%">
                  <c:v>7.3579938542260068E-2</c:v>
                </c:pt>
                <c:pt idx="12321" formatCode="0.0%">
                  <c:v>7.842952359303873E-2</c:v>
                </c:pt>
                <c:pt idx="12322" formatCode="0.0%">
                  <c:v>7.7587220702044352E-2</c:v>
                </c:pt>
                <c:pt idx="12323" formatCode="0.0%">
                  <c:v>8.0866311082193179E-2</c:v>
                </c:pt>
                <c:pt idx="12324" formatCode="0.0%">
                  <c:v>7.9728140507206113E-2</c:v>
                </c:pt>
                <c:pt idx="12325" formatCode="0.0%">
                  <c:v>7.7768590337292984E-2</c:v>
                </c:pt>
                <c:pt idx="12326" formatCode="0.0%">
                  <c:v>8.7009087953785119E-2</c:v>
                </c:pt>
                <c:pt idx="12327" formatCode="0.0%">
                  <c:v>8.4267884469744717E-2</c:v>
                </c:pt>
                <c:pt idx="12328" formatCode="0.0%">
                  <c:v>8.9209856214636257E-2</c:v>
                </c:pt>
                <c:pt idx="12329" formatCode="0.0%">
                  <c:v>9.4423025380951514E-2</c:v>
                </c:pt>
                <c:pt idx="12330" formatCode="0.0%">
                  <c:v>9.4097284516970151E-2</c:v>
                </c:pt>
                <c:pt idx="12331" formatCode="0.0%">
                  <c:v>9.1178083890127701E-2</c:v>
                </c:pt>
                <c:pt idx="12332" formatCode="0.0%">
                  <c:v>9.00915590850873E-2</c:v>
                </c:pt>
                <c:pt idx="12333" formatCode="0.0%">
                  <c:v>9.3009734932539376E-2</c:v>
                </c:pt>
                <c:pt idx="12334" formatCode="0.0%">
                  <c:v>0.10071783779889568</c:v>
                </c:pt>
                <c:pt idx="12335" formatCode="0.0%">
                  <c:v>9.814440231689435E-2</c:v>
                </c:pt>
                <c:pt idx="12336" formatCode="0.0%">
                  <c:v>0.10314332878603827</c:v>
                </c:pt>
                <c:pt idx="12337" formatCode="0.0%">
                  <c:v>0.10319280082850324</c:v>
                </c:pt>
                <c:pt idx="12338" formatCode="0.0%">
                  <c:v>0.1042599327742101</c:v>
                </c:pt>
                <c:pt idx="12339" formatCode="0.0%">
                  <c:v>0.10384988876063748</c:v>
                </c:pt>
                <c:pt idx="12340" formatCode="0.0%">
                  <c:v>0.10431216526037611</c:v>
                </c:pt>
                <c:pt idx="12341" formatCode="0.0%">
                  <c:v>0.10301413563373614</c:v>
                </c:pt>
                <c:pt idx="12342" formatCode="0.0%">
                  <c:v>0.111821667327692</c:v>
                </c:pt>
                <c:pt idx="12343" formatCode="0.0%">
                  <c:v>0.11881816182622569</c:v>
                </c:pt>
                <c:pt idx="12344" formatCode="0.0%">
                  <c:v>0.11882812104377065</c:v>
                </c:pt>
                <c:pt idx="12345" formatCode="0.0%">
                  <c:v>0.12054371244826986</c:v>
                </c:pt>
                <c:pt idx="12346" formatCode="0.0%">
                  <c:v>0.11410503332028508</c:v>
                </c:pt>
                <c:pt idx="12347" formatCode="0.0%">
                  <c:v>0.11439925433566421</c:v>
                </c:pt>
                <c:pt idx="12348" formatCode="0.0%">
                  <c:v>0.11207666066187634</c:v>
                </c:pt>
                <c:pt idx="12349" formatCode="0.0%">
                  <c:v>0.1072321230653344</c:v>
                </c:pt>
                <c:pt idx="12350" formatCode="0.0%">
                  <c:v>0.10792260684073333</c:v>
                </c:pt>
                <c:pt idx="12351" formatCode="0.0%">
                  <c:v>0.10767183112529134</c:v>
                </c:pt>
                <c:pt idx="12352" formatCode="0.0%">
                  <c:v>0.10989913819145164</c:v>
                </c:pt>
                <c:pt idx="12353" formatCode="0.0%">
                  <c:v>0.10911407722303103</c:v>
                </c:pt>
                <c:pt idx="12354" formatCode="0.0%">
                  <c:v>9.9166905236465014E-2</c:v>
                </c:pt>
                <c:pt idx="12355" formatCode="0.0%">
                  <c:v>0.10188101153862084</c:v>
                </c:pt>
                <c:pt idx="12356" formatCode="0.0%">
                  <c:v>9.614060547597475E-2</c:v>
                </c:pt>
                <c:pt idx="12357" formatCode="0.0%">
                  <c:v>9.7149082743577683E-2</c:v>
                </c:pt>
                <c:pt idx="12358" formatCode="0.0%">
                  <c:v>9.7795944044580599E-2</c:v>
                </c:pt>
                <c:pt idx="12359" formatCode="0.0%">
                  <c:v>9.7278277715140235E-2</c:v>
                </c:pt>
                <c:pt idx="12360" formatCode="0.0%">
                  <c:v>9.8472972789702226E-2</c:v>
                </c:pt>
                <c:pt idx="12361" formatCode="0.0%">
                  <c:v>9.6801185396843847E-2</c:v>
                </c:pt>
                <c:pt idx="12362" formatCode="0.0%">
                  <c:v>8.5037995782844961E-2</c:v>
                </c:pt>
                <c:pt idx="12363" formatCode="0.0%">
                  <c:v>8.4967601406799501E-2</c:v>
                </c:pt>
                <c:pt idx="12364" formatCode="0.0%">
                  <c:v>8.7084065897966176E-2</c:v>
                </c:pt>
                <c:pt idx="12365" formatCode="0.0%">
                  <c:v>8.7383196483963435E-2</c:v>
                </c:pt>
                <c:pt idx="12366" formatCode="0.0%">
                  <c:v>8.7397210319334007E-2</c:v>
                </c:pt>
                <c:pt idx="12367" formatCode="0.0%">
                  <c:v>9.0033328681144192E-2</c:v>
                </c:pt>
                <c:pt idx="12368" formatCode="0.0%">
                  <c:v>8.7121350954296337E-2</c:v>
                </c:pt>
                <c:pt idx="12369" formatCode="0.0%">
                  <c:v>9.1146215612734227E-2</c:v>
                </c:pt>
                <c:pt idx="12370" formatCode="0.0%">
                  <c:v>8.7766141198779138E-2</c:v>
                </c:pt>
                <c:pt idx="12371" formatCode="0.0%">
                  <c:v>9.6195329323513074E-2</c:v>
                </c:pt>
                <c:pt idx="12372" formatCode="0.0%">
                  <c:v>9.531049032899104E-2</c:v>
                </c:pt>
                <c:pt idx="12373" formatCode="0.0%">
                  <c:v>9.7520018162838742E-2</c:v>
                </c:pt>
                <c:pt idx="12374" formatCode="0.0%">
                  <c:v>9.8674801996316786E-2</c:v>
                </c:pt>
                <c:pt idx="12375" formatCode="0.0%">
                  <c:v>9.5814874728511357E-2</c:v>
                </c:pt>
                <c:pt idx="12376" formatCode="0.0%">
                  <c:v>9.6647243959311985E-2</c:v>
                </c:pt>
                <c:pt idx="12377" formatCode="0.0%">
                  <c:v>9.6565150963498714E-2</c:v>
                </c:pt>
                <c:pt idx="12378" formatCode="0.0%">
                  <c:v>0.10366779572177733</c:v>
                </c:pt>
                <c:pt idx="12379" formatCode="0.0%">
                  <c:v>0.10353025213769508</c:v>
                </c:pt>
                <c:pt idx="12380" formatCode="0.0%">
                  <c:v>0.10203587301982008</c:v>
                </c:pt>
                <c:pt idx="12381" formatCode="0.0%">
                  <c:v>0.10104346312314436</c:v>
                </c:pt>
                <c:pt idx="12382" formatCode="0.0%">
                  <c:v>0.10083892214103739</c:v>
                </c:pt>
                <c:pt idx="12383" formatCode="0.0%">
                  <c:v>8.7286984050809466E-2</c:v>
                </c:pt>
                <c:pt idx="12384" formatCode="0.0%">
                  <c:v>8.5596782163837759E-2</c:v>
                </c:pt>
                <c:pt idx="12385" formatCode="0.0%">
                  <c:v>7.5765617525454174E-2</c:v>
                </c:pt>
                <c:pt idx="12386" formatCode="0.0%">
                  <c:v>7.6886135996432362E-2</c:v>
                </c:pt>
                <c:pt idx="12387" formatCode="0.0%">
                  <c:v>6.9700712235964496E-2</c:v>
                </c:pt>
                <c:pt idx="12388" formatCode="0.0%">
                  <c:v>7.8429634310499541E-2</c:v>
                </c:pt>
                <c:pt idx="12389" formatCode="0.0%">
                  <c:v>7.5104005051635836E-2</c:v>
                </c:pt>
                <c:pt idx="12390" formatCode="0.0%">
                  <c:v>7.4208664508007491E-2</c:v>
                </c:pt>
                <c:pt idx="12391" formatCode="0.0%">
                  <c:v>7.064739396358749E-2</c:v>
                </c:pt>
                <c:pt idx="12392" formatCode="0.0%">
                  <c:v>6.7321851223589135E-2</c:v>
                </c:pt>
                <c:pt idx="12393" formatCode="0.0%">
                  <c:v>6.9667371919055518E-2</c:v>
                </c:pt>
                <c:pt idx="12394" formatCode="0.0%">
                  <c:v>7.2044379951678755E-2</c:v>
                </c:pt>
                <c:pt idx="12395" formatCode="0.0%">
                  <c:v>7.6698208833834464E-2</c:v>
                </c:pt>
                <c:pt idx="12396" formatCode="0.0%">
                  <c:v>7.6960580800467332E-2</c:v>
                </c:pt>
                <c:pt idx="12397" formatCode="0.0%">
                  <c:v>7.6653181460624081E-2</c:v>
                </c:pt>
                <c:pt idx="12398" formatCode="0.0%">
                  <c:v>6.5144718449683406E-2</c:v>
                </c:pt>
                <c:pt idx="12399" formatCode="0.0%">
                  <c:v>6.7871386124092062E-2</c:v>
                </c:pt>
                <c:pt idx="12400" formatCode="0.0%">
                  <c:v>7.2451844584218036E-2</c:v>
                </c:pt>
                <c:pt idx="12401" formatCode="0.0%">
                  <c:v>7.7489454790121468E-2</c:v>
                </c:pt>
                <c:pt idx="12402" formatCode="0.0%">
                  <c:v>7.6460132706569289E-2</c:v>
                </c:pt>
                <c:pt idx="12403" formatCode="0.0%">
                  <c:v>7.6168469484599488E-2</c:v>
                </c:pt>
                <c:pt idx="12404" formatCode="0.0%">
                  <c:v>7.5225422963630093E-2</c:v>
                </c:pt>
                <c:pt idx="12405" formatCode="0.0%">
                  <c:v>8.1158149088563558E-2</c:v>
                </c:pt>
                <c:pt idx="12406" formatCode="0.0%">
                  <c:v>8.0949211312259864E-2</c:v>
                </c:pt>
                <c:pt idx="12407" formatCode="0.0%">
                  <c:v>9.8737488604653131E-2</c:v>
                </c:pt>
                <c:pt idx="12408" formatCode="0.0%">
                  <c:v>9.5376195511342604E-2</c:v>
                </c:pt>
                <c:pt idx="12409" formatCode="0.0%">
                  <c:v>9.5478248907828772E-2</c:v>
                </c:pt>
                <c:pt idx="12410" formatCode="0.0%">
                  <c:v>9.4960554304064082E-2</c:v>
                </c:pt>
                <c:pt idx="12411" formatCode="0.0%">
                  <c:v>9.6437863896236362E-2</c:v>
                </c:pt>
                <c:pt idx="12412" formatCode="0.0%">
                  <c:v>9.6416725758291424E-2</c:v>
                </c:pt>
                <c:pt idx="12413" formatCode="0.0%">
                  <c:v>9.637774673231124E-2</c:v>
                </c:pt>
                <c:pt idx="12414" formatCode="0.0%">
                  <c:v>9.4235436199861786E-2</c:v>
                </c:pt>
                <c:pt idx="12415" formatCode="0.0%">
                  <c:v>9.2947314106013104E-2</c:v>
                </c:pt>
                <c:pt idx="12416" formatCode="0.0%">
                  <c:v>9.2920036098771253E-2</c:v>
                </c:pt>
                <c:pt idx="12417" formatCode="0.0%">
                  <c:v>9.8942856568559348E-2</c:v>
                </c:pt>
                <c:pt idx="12418" formatCode="0.0%">
                  <c:v>0.10214018199537236</c:v>
                </c:pt>
                <c:pt idx="12419" formatCode="0.0%">
                  <c:v>9.9292775278636836E-2</c:v>
                </c:pt>
                <c:pt idx="12420" formatCode="0.0%">
                  <c:v>9.5131976131282922E-2</c:v>
                </c:pt>
                <c:pt idx="12421" formatCode="0.0%">
                  <c:v>8.8509515684949247E-2</c:v>
                </c:pt>
                <c:pt idx="12422" formatCode="0.0%">
                  <c:v>8.8693288290680475E-2</c:v>
                </c:pt>
                <c:pt idx="12423" formatCode="0.0%">
                  <c:v>8.8805717237196699E-2</c:v>
                </c:pt>
                <c:pt idx="12424" formatCode="0.0%">
                  <c:v>8.821896917224871E-2</c:v>
                </c:pt>
                <c:pt idx="12425" formatCode="0.0%">
                  <c:v>8.688912774951911E-2</c:v>
                </c:pt>
                <c:pt idx="12426" formatCode="0.0%">
                  <c:v>8.5454641723616151E-2</c:v>
                </c:pt>
                <c:pt idx="12427" formatCode="0.0%">
                  <c:v>6.550219076190221E-2</c:v>
                </c:pt>
                <c:pt idx="12428" formatCode="0.0%">
                  <c:v>7.4602945268193444E-2</c:v>
                </c:pt>
                <c:pt idx="12429" formatCode="0.0%">
                  <c:v>7.4265098844442448E-2</c:v>
                </c:pt>
                <c:pt idx="12430" formatCode="0.0%">
                  <c:v>8.1729721283454224E-2</c:v>
                </c:pt>
                <c:pt idx="12431" formatCode="0.0%">
                  <c:v>8.1189521343920351E-2</c:v>
                </c:pt>
                <c:pt idx="12432" formatCode="0.0%">
                  <c:v>8.3189568090191457E-2</c:v>
                </c:pt>
                <c:pt idx="12433" formatCode="0.0%">
                  <c:v>8.1633169525553648E-2</c:v>
                </c:pt>
                <c:pt idx="12434" formatCode="0.0%">
                  <c:v>8.5665120685953333E-2</c:v>
                </c:pt>
                <c:pt idx="12435" formatCode="0.0%">
                  <c:v>8.2054349694156703E-2</c:v>
                </c:pt>
                <c:pt idx="12436" formatCode="0.0%">
                  <c:v>8.2812516255307361E-2</c:v>
                </c:pt>
                <c:pt idx="12437" formatCode="0.0%">
                  <c:v>7.9868361159262116E-2</c:v>
                </c:pt>
                <c:pt idx="12438" formatCode="0.0%">
                  <c:v>8.1989534315745585E-2</c:v>
                </c:pt>
                <c:pt idx="12439" formatCode="0.0%">
                  <c:v>8.2236753487683903E-2</c:v>
                </c:pt>
                <c:pt idx="12440" formatCode="0.0%">
                  <c:v>8.1106514377272801E-2</c:v>
                </c:pt>
                <c:pt idx="12441" formatCode="0.0%">
                  <c:v>8.2522962786793663E-2</c:v>
                </c:pt>
                <c:pt idx="12442" formatCode="0.0%">
                  <c:v>8.3273767779554128E-2</c:v>
                </c:pt>
                <c:pt idx="12443" formatCode="0.0%">
                  <c:v>8.3878167947893115E-2</c:v>
                </c:pt>
                <c:pt idx="12444" formatCode="0.0%">
                  <c:v>8.6431239366387705E-2</c:v>
                </c:pt>
                <c:pt idx="12445" formatCode="0.0%">
                  <c:v>8.5462506858894685E-2</c:v>
                </c:pt>
                <c:pt idx="12446" formatCode="0.0%">
                  <c:v>8.9292144086086711E-2</c:v>
                </c:pt>
                <c:pt idx="12447" formatCode="0.0%">
                  <c:v>8.8802195324522423E-2</c:v>
                </c:pt>
                <c:pt idx="12448" formatCode="0.0%">
                  <c:v>8.0459753486653712E-2</c:v>
                </c:pt>
                <c:pt idx="12449" formatCode="0.0%">
                  <c:v>8.1775443481272317E-2</c:v>
                </c:pt>
                <c:pt idx="12450" formatCode="0.0%">
                  <c:v>7.4114248387655152E-2</c:v>
                </c:pt>
                <c:pt idx="12451" formatCode="0.0%">
                  <c:v>7.2153741119788062E-2</c:v>
                </c:pt>
                <c:pt idx="12452" formatCode="0.0%">
                  <c:v>7.372487963901514E-2</c:v>
                </c:pt>
                <c:pt idx="12453" formatCode="0.0%">
                  <c:v>7.8404277105396492E-2</c:v>
                </c:pt>
                <c:pt idx="12454" formatCode="0.0%">
                  <c:v>7.5103182403056232E-2</c:v>
                </c:pt>
                <c:pt idx="12455" formatCode="0.0%">
                  <c:v>7.8115375521995573E-2</c:v>
                </c:pt>
                <c:pt idx="12456" formatCode="0.0%">
                  <c:v>7.7264267385190988E-2</c:v>
                </c:pt>
                <c:pt idx="12457" formatCode="0.0%">
                  <c:v>7.5515304369857372E-2</c:v>
                </c:pt>
                <c:pt idx="12458" formatCode="0.0%">
                  <c:v>6.8089065467331983E-2</c:v>
                </c:pt>
                <c:pt idx="12459" formatCode="0.0%">
                  <c:v>6.7424941794369281E-2</c:v>
                </c:pt>
                <c:pt idx="12460" formatCode="0.0%">
                  <c:v>7.3687961924800843E-2</c:v>
                </c:pt>
                <c:pt idx="12461" formatCode="0.0%">
                  <c:v>7.7083887750450927E-2</c:v>
                </c:pt>
                <c:pt idx="12462" formatCode="0.0%">
                  <c:v>7.7481346244970314E-2</c:v>
                </c:pt>
                <c:pt idx="12463" formatCode="0.0%">
                  <c:v>7.7874206376916028E-2</c:v>
                </c:pt>
                <c:pt idx="12464" formatCode="0.0%">
                  <c:v>7.559451094297065E-2</c:v>
                </c:pt>
                <c:pt idx="12465" formatCode="0.0%">
                  <c:v>7.5463292784472155E-2</c:v>
                </c:pt>
                <c:pt idx="12466" formatCode="0.0%">
                  <c:v>8.0357243188237434E-2</c:v>
                </c:pt>
                <c:pt idx="12467" formatCode="0.0%">
                  <c:v>8.188500313318535E-2</c:v>
                </c:pt>
                <c:pt idx="12468" formatCode="0.0%">
                  <c:v>8.2297991611656199E-2</c:v>
                </c:pt>
                <c:pt idx="12469" formatCode="0.0%">
                  <c:v>8.2719541646808906E-2</c:v>
                </c:pt>
                <c:pt idx="12470" formatCode="0.0%">
                  <c:v>8.447946259016309E-2</c:v>
                </c:pt>
                <c:pt idx="12471" formatCode="0.0%">
                  <c:v>9.8190680836830441E-2</c:v>
                </c:pt>
                <c:pt idx="12472" formatCode="0.0%">
                  <c:v>9.5724934637811565E-2</c:v>
                </c:pt>
                <c:pt idx="12473" formatCode="0.0%">
                  <c:v>9.1633724322542146E-2</c:v>
                </c:pt>
                <c:pt idx="12474" formatCode="0.0%">
                  <c:v>9.0277021469621146E-2</c:v>
                </c:pt>
                <c:pt idx="12475" formatCode="0.0%">
                  <c:v>9.3556717111293444E-2</c:v>
                </c:pt>
                <c:pt idx="12476" formatCode="0.0%">
                  <c:v>9.4868996483579965E-2</c:v>
                </c:pt>
                <c:pt idx="12477" formatCode="0.0%">
                  <c:v>9.2548622352731147E-2</c:v>
                </c:pt>
                <c:pt idx="12478" formatCode="0.0%">
                  <c:v>0.1015053382587869</c:v>
                </c:pt>
                <c:pt idx="12479" formatCode="0.0%">
                  <c:v>0.10761089679646149</c:v>
                </c:pt>
                <c:pt idx="12480" formatCode="0.0%">
                  <c:v>0.10526763804440742</c:v>
                </c:pt>
                <c:pt idx="12481" formatCode="0.0%">
                  <c:v>0.10342792210943863</c:v>
                </c:pt>
                <c:pt idx="12482" formatCode="0.0%">
                  <c:v>0.12110079291755851</c:v>
                </c:pt>
                <c:pt idx="12483" formatCode="0.0%">
                  <c:v>0.12918240930510771</c:v>
                </c:pt>
                <c:pt idx="12484" formatCode="0.0%">
                  <c:v>0.13223098690875779</c:v>
                </c:pt>
                <c:pt idx="12485" formatCode="0.0%">
                  <c:v>0.13352189842165335</c:v>
                </c:pt>
                <c:pt idx="12486" formatCode="0.0%">
                  <c:v>0.12693510178947903</c:v>
                </c:pt>
                <c:pt idx="12487" formatCode="0.0%">
                  <c:v>0.12785760321453046</c:v>
                </c:pt>
                <c:pt idx="12488" formatCode="0.0%">
                  <c:v>0.12642588034009747</c:v>
                </c:pt>
                <c:pt idx="12489" formatCode="0.0%">
                  <c:v>0.12220244337263539</c:v>
                </c:pt>
                <c:pt idx="12490" formatCode="0.0%">
                  <c:v>0.11981574505749132</c:v>
                </c:pt>
                <c:pt idx="12491" formatCode="0.0%">
                  <c:v>0.11487545993757289</c:v>
                </c:pt>
                <c:pt idx="12492" formatCode="0.0%">
                  <c:v>0.11487413253717076</c:v>
                </c:pt>
                <c:pt idx="12493" formatCode="0.0%">
                  <c:v>0.11922491804486224</c:v>
                </c:pt>
                <c:pt idx="12494" formatCode="0.0%">
                  <c:v>0.13360492924283224</c:v>
                </c:pt>
                <c:pt idx="12495" formatCode="0.0%">
                  <c:v>0.12597296890660545</c:v>
                </c:pt>
                <c:pt idx="12496" formatCode="0.0%">
                  <c:v>0.12225674325962924</c:v>
                </c:pt>
                <c:pt idx="12497" formatCode="0.0%">
                  <c:v>0.12241856535463626</c:v>
                </c:pt>
                <c:pt idx="12498" formatCode="0.0%">
                  <c:v>0.12155295992097126</c:v>
                </c:pt>
                <c:pt idx="12499" formatCode="0.0%">
                  <c:v>0.13289087304944114</c:v>
                </c:pt>
                <c:pt idx="12500" formatCode="0.0%">
                  <c:v>0.13279145233903444</c:v>
                </c:pt>
                <c:pt idx="12501" formatCode="0.0%">
                  <c:v>0.13143102121129749</c:v>
                </c:pt>
                <c:pt idx="12502" formatCode="0.0%">
                  <c:v>0.11579254113814047</c:v>
                </c:pt>
                <c:pt idx="12503" formatCode="0.0%">
                  <c:v>0.10359416507231316</c:v>
                </c:pt>
                <c:pt idx="12504" formatCode="0.0%">
                  <c:v>0.10141425555409439</c:v>
                </c:pt>
                <c:pt idx="12505" formatCode="0.0%">
                  <c:v>0.1002152928012822</c:v>
                </c:pt>
                <c:pt idx="12506" formatCode="0.0%">
                  <c:v>0.10026993746547762</c:v>
                </c:pt>
                <c:pt idx="12507" formatCode="0.0%">
                  <c:v>0.10001195306986256</c:v>
                </c:pt>
                <c:pt idx="12508" formatCode="0.0%">
                  <c:v>0.10217879598254208</c:v>
                </c:pt>
                <c:pt idx="12509" formatCode="0.0%">
                  <c:v>0.10218056431644845</c:v>
                </c:pt>
                <c:pt idx="12510" formatCode="0.0%">
                  <c:v>9.8834736521695485E-2</c:v>
                </c:pt>
                <c:pt idx="12511" formatCode="0.0%">
                  <c:v>0.10271034079688791</c:v>
                </c:pt>
                <c:pt idx="12512" formatCode="0.0%">
                  <c:v>0.10915954761405715</c:v>
                </c:pt>
                <c:pt idx="12513" formatCode="0.0%">
                  <c:v>0.10709425852513049</c:v>
                </c:pt>
                <c:pt idx="12514" formatCode="0.0%">
                  <c:v>9.1442950878618215E-2</c:v>
                </c:pt>
                <c:pt idx="12515" formatCode="0.0%">
                  <c:v>9.1110573436066059E-2</c:v>
                </c:pt>
                <c:pt idx="12516" formatCode="0.0%">
                  <c:v>9.1095028172750656E-2</c:v>
                </c:pt>
                <c:pt idx="12517" formatCode="0.0%">
                  <c:v>0.10340031938924144</c:v>
                </c:pt>
                <c:pt idx="12518" formatCode="0.0%">
                  <c:v>0.10296369686818298</c:v>
                </c:pt>
                <c:pt idx="12519" formatCode="0.0%">
                  <c:v>9.181995652399691E-2</c:v>
                </c:pt>
                <c:pt idx="12520" formatCode="0.0%">
                  <c:v>0.10139397650665428</c:v>
                </c:pt>
                <c:pt idx="12521" formatCode="0.0%">
                  <c:v>0.10698666705901398</c:v>
                </c:pt>
                <c:pt idx="12522" formatCode="0.0%">
                  <c:v>0.10272265203123415</c:v>
                </c:pt>
                <c:pt idx="12523" formatCode="0.0%">
                  <c:v>0.10301076907643107</c:v>
                </c:pt>
                <c:pt idx="12524" formatCode="0.0%">
                  <c:v>0.10346396702254125</c:v>
                </c:pt>
                <c:pt idx="12525" formatCode="0.0%">
                  <c:v>0.10011203039161515</c:v>
                </c:pt>
                <c:pt idx="12526" formatCode="0.0%">
                  <c:v>9.9611061413515598E-2</c:v>
                </c:pt>
                <c:pt idx="12527" formatCode="0.0%">
                  <c:v>0.1029026022683395</c:v>
                </c:pt>
                <c:pt idx="12528" formatCode="0.0%">
                  <c:v>0.10578458503977629</c:v>
                </c:pt>
                <c:pt idx="12529" formatCode="0.0%">
                  <c:v>0.10672340350748659</c:v>
                </c:pt>
                <c:pt idx="12530" formatCode="0.0%">
                  <c:v>0.10324635660328808</c:v>
                </c:pt>
                <c:pt idx="12531" formatCode="0.0%">
                  <c:v>9.8225360670114642E-2</c:v>
                </c:pt>
                <c:pt idx="12532" formatCode="0.0%">
                  <c:v>8.8266859291015784E-2</c:v>
                </c:pt>
                <c:pt idx="12533" formatCode="0.0%">
                  <c:v>8.9134693146448313E-2</c:v>
                </c:pt>
                <c:pt idx="12534" formatCode="0.0%">
                  <c:v>9.073032116430621E-2</c:v>
                </c:pt>
                <c:pt idx="12535" formatCode="0.0%">
                  <c:v>8.9427036004787963E-2</c:v>
                </c:pt>
                <c:pt idx="12536" formatCode="0.0%">
                  <c:v>9.7607597300321217E-2</c:v>
                </c:pt>
                <c:pt idx="12537" formatCode="0.0%">
                  <c:v>8.9667815367223916E-2</c:v>
                </c:pt>
                <c:pt idx="12538" formatCode="0.0%">
                  <c:v>9.6467368788251059E-2</c:v>
                </c:pt>
                <c:pt idx="12539" formatCode="0.0%">
                  <c:v>9.4428352704006679E-2</c:v>
                </c:pt>
                <c:pt idx="12540" formatCode="0.0%">
                  <c:v>8.7195969675573151E-2</c:v>
                </c:pt>
                <c:pt idx="12541" formatCode="0.0%">
                  <c:v>7.9434879833090444E-2</c:v>
                </c:pt>
                <c:pt idx="12542" formatCode="0.0%">
                  <c:v>8.4768808086830641E-2</c:v>
                </c:pt>
                <c:pt idx="12543" formatCode="0.0%">
                  <c:v>8.4807095209198088E-2</c:v>
                </c:pt>
                <c:pt idx="12544" formatCode="0.0%">
                  <c:v>8.782806867229255E-2</c:v>
                </c:pt>
                <c:pt idx="12545" formatCode="0.0%">
                  <c:v>8.8154508615000571E-2</c:v>
                </c:pt>
                <c:pt idx="12546" formatCode="0.0%">
                  <c:v>8.7954349729321993E-2</c:v>
                </c:pt>
                <c:pt idx="12547" formatCode="0.0%">
                  <c:v>9.2050108441959877E-2</c:v>
                </c:pt>
                <c:pt idx="12548" formatCode="0.0%">
                  <c:v>8.7209283285823169E-2</c:v>
                </c:pt>
                <c:pt idx="12549" formatCode="0.0%">
                  <c:v>9.0049758209332892E-2</c:v>
                </c:pt>
                <c:pt idx="12550" formatCode="0.0%">
                  <c:v>8.9962884995166095E-2</c:v>
                </c:pt>
                <c:pt idx="12551" formatCode="0.0%">
                  <c:v>8.7817265024838637E-2</c:v>
                </c:pt>
                <c:pt idx="12552" formatCode="0.0%">
                  <c:v>8.7760310355184779E-2</c:v>
                </c:pt>
                <c:pt idx="12553" formatCode="0.0%">
                  <c:v>8.7541301298231608E-2</c:v>
                </c:pt>
                <c:pt idx="12554" formatCode="0.0%">
                  <c:v>8.9770075181790435E-2</c:v>
                </c:pt>
                <c:pt idx="12555" formatCode="0.0%">
                  <c:v>9.4917252671292293E-2</c:v>
                </c:pt>
                <c:pt idx="12556" formatCode="0.0%">
                  <c:v>9.1959244430773635E-2</c:v>
                </c:pt>
                <c:pt idx="12557" formatCode="0.0%">
                  <c:v>9.258422714549995E-2</c:v>
                </c:pt>
                <c:pt idx="12558" formatCode="0.0%">
                  <c:v>8.7313031319086409E-2</c:v>
                </c:pt>
                <c:pt idx="12559" formatCode="0.0%">
                  <c:v>8.6939310029476954E-2</c:v>
                </c:pt>
                <c:pt idx="12560" formatCode="0.0%">
                  <c:v>8.7370676457346849E-2</c:v>
                </c:pt>
                <c:pt idx="12561" formatCode="0.0%">
                  <c:v>9.0669917911247816E-2</c:v>
                </c:pt>
                <c:pt idx="12562" formatCode="0.0%">
                  <c:v>8.2027802265812078E-2</c:v>
                </c:pt>
                <c:pt idx="12563" formatCode="0.0%">
                  <c:v>8.2948921865797304E-2</c:v>
                </c:pt>
                <c:pt idx="12564" formatCode="0.0%">
                  <c:v>9.2960791788557512E-2</c:v>
                </c:pt>
                <c:pt idx="12565" formatCode="0.0%">
                  <c:v>9.2908222528004972E-2</c:v>
                </c:pt>
                <c:pt idx="12566" formatCode="0.0%">
                  <c:v>9.4360158403859057E-2</c:v>
                </c:pt>
                <c:pt idx="12567" formatCode="0.0%">
                  <c:v>8.8872361251648227E-2</c:v>
                </c:pt>
                <c:pt idx="12568" formatCode="0.0%">
                  <c:v>8.9661606206100988E-2</c:v>
                </c:pt>
                <c:pt idx="12569" formatCode="0.0%">
                  <c:v>8.6782611386771194E-2</c:v>
                </c:pt>
                <c:pt idx="12570" formatCode="0.0%">
                  <c:v>8.8459589351645884E-2</c:v>
                </c:pt>
                <c:pt idx="12571" formatCode="0.0%">
                  <c:v>9.7906921161386662E-2</c:v>
                </c:pt>
                <c:pt idx="12572" formatCode="0.0%">
                  <c:v>9.9260041422873244E-2</c:v>
                </c:pt>
                <c:pt idx="12573" formatCode="0.0%">
                  <c:v>9.9598532620337396E-2</c:v>
                </c:pt>
                <c:pt idx="12574" formatCode="0.0%">
                  <c:v>9.6558638773683578E-2</c:v>
                </c:pt>
                <c:pt idx="12575" formatCode="0.0%">
                  <c:v>9.3364362241688134E-2</c:v>
                </c:pt>
                <c:pt idx="12576" formatCode="0.0%">
                  <c:v>8.7402287811901055E-2</c:v>
                </c:pt>
                <c:pt idx="12577" formatCode="0.0%">
                  <c:v>8.8558919193487601E-2</c:v>
                </c:pt>
                <c:pt idx="12578" formatCode="0.0%">
                  <c:v>8.9414166086689187E-2</c:v>
                </c:pt>
                <c:pt idx="12579" formatCode="0.0%">
                  <c:v>9.553825476223464E-2</c:v>
                </c:pt>
                <c:pt idx="12580" formatCode="0.0%">
                  <c:v>9.2882312514763421E-2</c:v>
                </c:pt>
                <c:pt idx="12581" formatCode="0.0%">
                  <c:v>9.5708839650359451E-2</c:v>
                </c:pt>
                <c:pt idx="12582" formatCode="0.0%">
                  <c:v>9.5546897683464915E-2</c:v>
                </c:pt>
                <c:pt idx="12583" formatCode="0.0%">
                  <c:v>9.4422882585913206E-2</c:v>
                </c:pt>
                <c:pt idx="12584" formatCode="0.0%">
                  <c:v>8.7403192841729552E-2</c:v>
                </c:pt>
                <c:pt idx="12585" formatCode="0.0%">
                  <c:v>8.831059301518758E-2</c:v>
                </c:pt>
                <c:pt idx="12586" formatCode="0.0%">
                  <c:v>8.7497135364761003E-2</c:v>
                </c:pt>
                <c:pt idx="12587" formatCode="0.0%">
                  <c:v>9.2502844668095302E-2</c:v>
                </c:pt>
                <c:pt idx="12588" formatCode="0.0%">
                  <c:v>0.11646566249647013</c:v>
                </c:pt>
                <c:pt idx="12589" formatCode="0.0%">
                  <c:v>0.12586113111057684</c:v>
                </c:pt>
                <c:pt idx="12590" formatCode="0.0%">
                  <c:v>0.13287501884757172</c:v>
                </c:pt>
                <c:pt idx="12591" formatCode="0.0%">
                  <c:v>0.12425402132925001</c:v>
                </c:pt>
                <c:pt idx="12592" formatCode="0.0%">
                  <c:v>0.12348926113960475</c:v>
                </c:pt>
                <c:pt idx="12593" formatCode="0.0%">
                  <c:v>0.12390871372178756</c:v>
                </c:pt>
                <c:pt idx="12594" formatCode="0.0%">
                  <c:v>0.12726636451895881</c:v>
                </c:pt>
                <c:pt idx="12595" formatCode="0.0%">
                  <c:v>0.12814316532150175</c:v>
                </c:pt>
                <c:pt idx="12596" formatCode="0.0%">
                  <c:v>0.12807739029867105</c:v>
                </c:pt>
                <c:pt idx="12597" formatCode="0.0%">
                  <c:v>0.13547250343794667</c:v>
                </c:pt>
                <c:pt idx="12598" formatCode="0.0%">
                  <c:v>0.13562164005377156</c:v>
                </c:pt>
                <c:pt idx="12599" formatCode="0.0%">
                  <c:v>0.12801221953409292</c:v>
                </c:pt>
                <c:pt idx="12600" formatCode="0.0%">
                  <c:v>0.13217656999587118</c:v>
                </c:pt>
                <c:pt idx="12601" formatCode="0.0%">
                  <c:v>0.14098848099678662</c:v>
                </c:pt>
                <c:pt idx="12602" formatCode="0.0%">
                  <c:v>0.14304660213320575</c:v>
                </c:pt>
                <c:pt idx="12603" formatCode="0.0%">
                  <c:v>0.14339530531548964</c:v>
                </c:pt>
                <c:pt idx="12604" formatCode="0.0%">
                  <c:v>0.14548860612907269</c:v>
                </c:pt>
                <c:pt idx="12605" formatCode="0.0%">
                  <c:v>0.14568350915561712</c:v>
                </c:pt>
                <c:pt idx="12606" formatCode="0.0%">
                  <c:v>0.14508072019349222</c:v>
                </c:pt>
                <c:pt idx="12607" formatCode="0.0%">
                  <c:v>0.14779540741701311</c:v>
                </c:pt>
                <c:pt idx="12608" formatCode="0.0%">
                  <c:v>0.13402498876682989</c:v>
                </c:pt>
                <c:pt idx="12609" formatCode="0.0%">
                  <c:v>0.1252449194051781</c:v>
                </c:pt>
                <c:pt idx="12610" formatCode="0.0%">
                  <c:v>0.11580376825170371</c:v>
                </c:pt>
                <c:pt idx="12611" formatCode="0.0%">
                  <c:v>0.11567689259774888</c:v>
                </c:pt>
                <c:pt idx="12612" formatCode="0.0%">
                  <c:v>0.12304267628381989</c:v>
                </c:pt>
                <c:pt idx="12613" formatCode="0.0%">
                  <c:v>0.12483191201274658</c:v>
                </c:pt>
                <c:pt idx="12614" formatCode="0.0%">
                  <c:v>0.11881927603225038</c:v>
                </c:pt>
                <c:pt idx="12615" formatCode="0.0%">
                  <c:v>0.12304833148140761</c:v>
                </c:pt>
                <c:pt idx="12616" formatCode="0.0%">
                  <c:v>0.1286093030297038</c:v>
                </c:pt>
                <c:pt idx="12617" formatCode="0.0%">
                  <c:v>0.12359463494140786</c:v>
                </c:pt>
                <c:pt idx="12618" formatCode="0.0%">
                  <c:v>0.11856888174898296</c:v>
                </c:pt>
                <c:pt idx="12619" formatCode="0.0%">
                  <c:v>0.11462390410529848</c:v>
                </c:pt>
                <c:pt idx="12620" formatCode="0.0%">
                  <c:v>0.11488446337996515</c:v>
                </c:pt>
                <c:pt idx="12621" formatCode="0.0%">
                  <c:v>0.10830933598635835</c:v>
                </c:pt>
                <c:pt idx="12622" formatCode="0.0%">
                  <c:v>0.11036736303995465</c:v>
                </c:pt>
                <c:pt idx="12623" formatCode="0.0%">
                  <c:v>0.12504030713960429</c:v>
                </c:pt>
                <c:pt idx="12624" formatCode="0.0%">
                  <c:v>0.12362392721483968</c:v>
                </c:pt>
                <c:pt idx="12625" formatCode="0.0%">
                  <c:v>0.12311375197143547</c:v>
                </c:pt>
                <c:pt idx="12626" formatCode="0.0%">
                  <c:v>0.12299350397407707</c:v>
                </c:pt>
                <c:pt idx="12627" formatCode="0.0%">
                  <c:v>0.11688142676738571</c:v>
                </c:pt>
                <c:pt idx="12628" formatCode="0.0%">
                  <c:v>0.11472002998577384</c:v>
                </c:pt>
                <c:pt idx="12629" formatCode="0.0%">
                  <c:v>0.11231113130438895</c:v>
                </c:pt>
                <c:pt idx="12630" formatCode="0.0%">
                  <c:v>0.11044095151473295</c:v>
                </c:pt>
                <c:pt idx="12631" formatCode="0.0%">
                  <c:v>0.11734136362303839</c:v>
                </c:pt>
                <c:pt idx="12632" formatCode="0.0%">
                  <c:v>0.11684203829373493</c:v>
                </c:pt>
                <c:pt idx="12633" formatCode="0.0%">
                  <c:v>0.1157070578857745</c:v>
                </c:pt>
                <c:pt idx="12634" formatCode="0.0%">
                  <c:v>0.11412446537811693</c:v>
                </c:pt>
                <c:pt idx="12635" formatCode="0.0%">
                  <c:v>0.10988244078392871</c:v>
                </c:pt>
                <c:pt idx="12636" formatCode="0.0%">
                  <c:v>0.10527172259896431</c:v>
                </c:pt>
                <c:pt idx="12637" formatCode="0.0%">
                  <c:v>0.10571542532195438</c:v>
                </c:pt>
                <c:pt idx="12638" formatCode="0.0%">
                  <c:v>0.11477162399759606</c:v>
                </c:pt>
                <c:pt idx="12639" formatCode="0.0%">
                  <c:v>0.11534427956574089</c:v>
                </c:pt>
                <c:pt idx="12640" formatCode="0.0%">
                  <c:v>0.11533351145477168</c:v>
                </c:pt>
                <c:pt idx="12641" formatCode="0.0%">
                  <c:v>0.11562094587149389</c:v>
                </c:pt>
                <c:pt idx="12642" formatCode="0.0%">
                  <c:v>0.1106713268642829</c:v>
                </c:pt>
                <c:pt idx="12643" formatCode="0.0%">
                  <c:v>8.3278637258106775E-2</c:v>
                </c:pt>
                <c:pt idx="12644" formatCode="0.0%">
                  <c:v>8.2649881739140257E-2</c:v>
                </c:pt>
                <c:pt idx="12645" formatCode="0.0%">
                  <c:v>8.3582675678146812E-2</c:v>
                </c:pt>
                <c:pt idx="12646" formatCode="0.0%">
                  <c:v>8.8572925811227957E-2</c:v>
                </c:pt>
                <c:pt idx="12647" formatCode="0.0%">
                  <c:v>9.1728723802964068E-2</c:v>
                </c:pt>
                <c:pt idx="12648" formatCode="0.0%">
                  <c:v>9.7243296981681188E-2</c:v>
                </c:pt>
                <c:pt idx="12649" formatCode="0.0%">
                  <c:v>9.8672922173732219E-2</c:v>
                </c:pt>
                <c:pt idx="12650" formatCode="0.0%">
                  <c:v>9.884560834553717E-2</c:v>
                </c:pt>
                <c:pt idx="12651" formatCode="0.0%">
                  <c:v>0.10577841011260578</c:v>
                </c:pt>
                <c:pt idx="12652" formatCode="0.0%">
                  <c:v>0.10051767115149178</c:v>
                </c:pt>
                <c:pt idx="12653" formatCode="0.0%">
                  <c:v>0.1060119470342913</c:v>
                </c:pt>
                <c:pt idx="12654" formatCode="0.0%">
                  <c:v>0.10913508610175737</c:v>
                </c:pt>
                <c:pt idx="12655" formatCode="0.0%">
                  <c:v>0.1070411941361509</c:v>
                </c:pt>
                <c:pt idx="12656" formatCode="0.0%">
                  <c:v>0.10778295359621601</c:v>
                </c:pt>
                <c:pt idx="12657" formatCode="0.0%">
                  <c:v>0.10636200056496953</c:v>
                </c:pt>
                <c:pt idx="12658" formatCode="0.0%">
                  <c:v>9.4550494335203808E-2</c:v>
                </c:pt>
                <c:pt idx="12659" formatCode="0.0%">
                  <c:v>9.5651200768308825E-2</c:v>
                </c:pt>
                <c:pt idx="12660" formatCode="0.0%">
                  <c:v>9.572440546720426E-2</c:v>
                </c:pt>
                <c:pt idx="12661" formatCode="0.0%">
                  <c:v>9.6116020322679893E-2</c:v>
                </c:pt>
                <c:pt idx="12662" formatCode="0.0%">
                  <c:v>9.684181926949427E-2</c:v>
                </c:pt>
                <c:pt idx="12663" formatCode="0.0%">
                  <c:v>9.3678108187563058E-2</c:v>
                </c:pt>
                <c:pt idx="12664" formatCode="0.0%">
                  <c:v>0.1065711369809088</c:v>
                </c:pt>
                <c:pt idx="12665" formatCode="0.0%">
                  <c:v>0.10566639187765217</c:v>
                </c:pt>
                <c:pt idx="12666" formatCode="0.0%">
                  <c:v>0.10556435573222224</c:v>
                </c:pt>
                <c:pt idx="12667" formatCode="0.0%">
                  <c:v>0.10942883088960932</c:v>
                </c:pt>
                <c:pt idx="12668" formatCode="0.0%">
                  <c:v>0.10895967452536266</c:v>
                </c:pt>
                <c:pt idx="12669" formatCode="0.0%">
                  <c:v>0.10893866809372743</c:v>
                </c:pt>
                <c:pt idx="12670" formatCode="0.0%">
                  <c:v>0.11653268100460448</c:v>
                </c:pt>
                <c:pt idx="12671" formatCode="0.0%">
                  <c:v>0.11036558346714752</c:v>
                </c:pt>
                <c:pt idx="12672" formatCode="0.0%">
                  <c:v>0.11084434299802196</c:v>
                </c:pt>
                <c:pt idx="12673" formatCode="0.0%">
                  <c:v>0.10214142715950345</c:v>
                </c:pt>
                <c:pt idx="12674" formatCode="0.0%">
                  <c:v>9.7422160582035164E-2</c:v>
                </c:pt>
                <c:pt idx="12675" formatCode="0.0%">
                  <c:v>9.6215334515909454E-2</c:v>
                </c:pt>
                <c:pt idx="12676" formatCode="0.0%">
                  <c:v>9.6644742991835147E-2</c:v>
                </c:pt>
                <c:pt idx="12677" formatCode="0.0%">
                  <c:v>0.10424914449117802</c:v>
                </c:pt>
                <c:pt idx="12678" formatCode="0.0%">
                  <c:v>0.10310323336037838</c:v>
                </c:pt>
                <c:pt idx="12679" formatCode="0.0%">
                  <c:v>0.10279325084358611</c:v>
                </c:pt>
                <c:pt idx="12680" formatCode="0.0%">
                  <c:v>0.10266017439521712</c:v>
                </c:pt>
                <c:pt idx="12681" formatCode="0.0%">
                  <c:v>0.10355670312085015</c:v>
                </c:pt>
                <c:pt idx="12682" formatCode="0.0%">
                  <c:v>0.10966070325158542</c:v>
                </c:pt>
                <c:pt idx="12683" formatCode="0.0%">
                  <c:v>0.11239468391149778</c:v>
                </c:pt>
                <c:pt idx="12684" formatCode="0.0%">
                  <c:v>8.1011286520735262E-2</c:v>
                </c:pt>
                <c:pt idx="12685" formatCode="0.0%">
                  <c:v>7.8753430481297723E-2</c:v>
                </c:pt>
                <c:pt idx="12686" formatCode="0.0%">
                  <c:v>7.8629931209459908E-2</c:v>
                </c:pt>
                <c:pt idx="12687" formatCode="0.0%">
                  <c:v>8.2259113757751079E-2</c:v>
                </c:pt>
                <c:pt idx="12688" formatCode="0.0%">
                  <c:v>8.6027185037412884E-2</c:v>
                </c:pt>
                <c:pt idx="12689" formatCode="0.0%">
                  <c:v>8.4688890928316482E-2</c:v>
                </c:pt>
                <c:pt idx="12690" formatCode="0.0%">
                  <c:v>8.9350884316163059E-2</c:v>
                </c:pt>
                <c:pt idx="12691" formatCode="0.0%">
                  <c:v>8.9206437592525639E-2</c:v>
                </c:pt>
                <c:pt idx="12692" formatCode="0.0%">
                  <c:v>8.9206977278793495E-2</c:v>
                </c:pt>
                <c:pt idx="12693" formatCode="0.0%">
                  <c:v>9.2758368137714764E-2</c:v>
                </c:pt>
                <c:pt idx="12694" formatCode="0.0%">
                  <c:v>0.10003914746674505</c:v>
                </c:pt>
                <c:pt idx="12695" formatCode="0.0%">
                  <c:v>0.10442790265768911</c:v>
                </c:pt>
                <c:pt idx="12696" formatCode="0.0%">
                  <c:v>0.10813748183239659</c:v>
                </c:pt>
                <c:pt idx="12697" formatCode="0.0%">
                  <c:v>0.10695671773237615</c:v>
                </c:pt>
                <c:pt idx="12698" formatCode="0.0%">
                  <c:v>0.10833669477475567</c:v>
                </c:pt>
                <c:pt idx="12699" formatCode="0.0%">
                  <c:v>0.10578975645816709</c:v>
                </c:pt>
                <c:pt idx="12700" formatCode="0.0%">
                  <c:v>0.10522744067629351</c:v>
                </c:pt>
                <c:pt idx="12701" formatCode="0.0%">
                  <c:v>0.10541011665585963</c:v>
                </c:pt>
                <c:pt idx="12702" formatCode="0.0%">
                  <c:v>0.10597859700893171</c:v>
                </c:pt>
                <c:pt idx="12703" formatCode="0.0%">
                  <c:v>0.10920165482576563</c:v>
                </c:pt>
                <c:pt idx="12704" formatCode="0.0%">
                  <c:v>0.10984062807972787</c:v>
                </c:pt>
                <c:pt idx="12705" formatCode="0.0%">
                  <c:v>0.11203043568422504</c:v>
                </c:pt>
                <c:pt idx="12706" formatCode="0.0%">
                  <c:v>0.11219209382551605</c:v>
                </c:pt>
                <c:pt idx="12707" formatCode="0.0%">
                  <c:v>0.10843335555994643</c:v>
                </c:pt>
                <c:pt idx="12708" formatCode="0.0%">
                  <c:v>0.10469681923986811</c:v>
                </c:pt>
                <c:pt idx="12709" formatCode="0.0%">
                  <c:v>0.10517389638091423</c:v>
                </c:pt>
                <c:pt idx="12710" formatCode="0.0%">
                  <c:v>9.2563831548720527E-2</c:v>
                </c:pt>
                <c:pt idx="12711" formatCode="0.0%">
                  <c:v>0.10115082013866337</c:v>
                </c:pt>
                <c:pt idx="12712" formatCode="0.0%">
                  <c:v>0.10104766946445562</c:v>
                </c:pt>
                <c:pt idx="12713" formatCode="0.0%">
                  <c:v>0.10529231746408241</c:v>
                </c:pt>
                <c:pt idx="12714" formatCode="0.0%">
                  <c:v>9.8103959191207818E-2</c:v>
                </c:pt>
                <c:pt idx="12715" formatCode="0.0%">
                  <c:v>9.2217234939674431E-2</c:v>
                </c:pt>
                <c:pt idx="12716" formatCode="0.0%">
                  <c:v>0.11254868475268594</c:v>
                </c:pt>
                <c:pt idx="12717" formatCode="0.0%">
                  <c:v>0.11972283443226536</c:v>
                </c:pt>
                <c:pt idx="12718" formatCode="0.0%">
                  <c:v>0.1195651285199656</c:v>
                </c:pt>
                <c:pt idx="12719" formatCode="0.0%">
                  <c:v>0.12535476234102569</c:v>
                </c:pt>
                <c:pt idx="12720" formatCode="0.0%">
                  <c:v>0.13316201387095228</c:v>
                </c:pt>
                <c:pt idx="12721" formatCode="0.0%">
                  <c:v>0.13383763477312322</c:v>
                </c:pt>
                <c:pt idx="12722" formatCode="0.0%">
                  <c:v>0.13035794460161951</c:v>
                </c:pt>
                <c:pt idx="12723" formatCode="0.0%">
                  <c:v>0.12783820338592544</c:v>
                </c:pt>
                <c:pt idx="12724" formatCode="0.0%">
                  <c:v>0.13206106532096648</c:v>
                </c:pt>
                <c:pt idx="12725" formatCode="0.0%">
                  <c:v>0.13454785010441667</c:v>
                </c:pt>
                <c:pt idx="12726" formatCode="0.0%">
                  <c:v>0.13527696210922002</c:v>
                </c:pt>
                <c:pt idx="12727" formatCode="0.0%">
                  <c:v>0.14709156915767307</c:v>
                </c:pt>
                <c:pt idx="12728" formatCode="0.0%">
                  <c:v>0.2124260598556601</c:v>
                </c:pt>
                <c:pt idx="12729" formatCode="0.0%">
                  <c:v>0.21423023728981117</c:v>
                </c:pt>
                <c:pt idx="12730" formatCode="0.0%">
                  <c:v>0.21595797602745712</c:v>
                </c:pt>
                <c:pt idx="12731" formatCode="0.0%">
                  <c:v>0.21061984841996115</c:v>
                </c:pt>
                <c:pt idx="12732" formatCode="0.0%">
                  <c:v>0.21279010268791823</c:v>
                </c:pt>
                <c:pt idx="12733" formatCode="0.0%">
                  <c:v>0.21075665065738444</c:v>
                </c:pt>
                <c:pt idx="12734" formatCode="0.0%">
                  <c:v>0.21154888120160373</c:v>
                </c:pt>
                <c:pt idx="12735" formatCode="0.0%">
                  <c:v>0.21368646595906624</c:v>
                </c:pt>
                <c:pt idx="12736" formatCode="0.0%">
                  <c:v>0.2116981050855252</c:v>
                </c:pt>
                <c:pt idx="12737" formatCode="0.0%">
                  <c:v>0.20954681253706628</c:v>
                </c:pt>
                <c:pt idx="12738" formatCode="0.0%">
                  <c:v>0.21058990311404771</c:v>
                </c:pt>
                <c:pt idx="12739" formatCode="0.0%">
                  <c:v>0.21481009755112754</c:v>
                </c:pt>
                <c:pt idx="12740" formatCode="0.0%">
                  <c:v>0.21367997064242197</c:v>
                </c:pt>
                <c:pt idx="12741" formatCode="0.0%">
                  <c:v>0.21653357041911733</c:v>
                </c:pt>
                <c:pt idx="12742" formatCode="0.0%">
                  <c:v>0.21559198620680858</c:v>
                </c:pt>
                <c:pt idx="12743" formatCode="0.0%">
                  <c:v>0.21669996031455363</c:v>
                </c:pt>
                <c:pt idx="12744" formatCode="0.0%">
                  <c:v>0.21215020463564974</c:v>
                </c:pt>
                <c:pt idx="12745" formatCode="0.0%">
                  <c:v>0.20469176401117342</c:v>
                </c:pt>
                <c:pt idx="12746" formatCode="0.0%">
                  <c:v>0.20673672034012719</c:v>
                </c:pt>
                <c:pt idx="12747" formatCode="0.0%">
                  <c:v>0.20040809653087954</c:v>
                </c:pt>
                <c:pt idx="12748" formatCode="0.0%">
                  <c:v>0.14519240732810654</c:v>
                </c:pt>
                <c:pt idx="12749" formatCode="0.0%">
                  <c:v>0.1510354652605099</c:v>
                </c:pt>
                <c:pt idx="12750" formatCode="0.0%">
                  <c:v>0.14966493819027088</c:v>
                </c:pt>
                <c:pt idx="12751" formatCode="0.0%">
                  <c:v>0.15157064374911924</c:v>
                </c:pt>
                <c:pt idx="12752" formatCode="0.0%">
                  <c:v>0.14040330185908903</c:v>
                </c:pt>
                <c:pt idx="12753" formatCode="0.0%">
                  <c:v>0.14096098193054452</c:v>
                </c:pt>
                <c:pt idx="12754" formatCode="0.0%">
                  <c:v>0.14247881606841625</c:v>
                </c:pt>
                <c:pt idx="12755" formatCode="0.0%">
                  <c:v>0.14284513774995231</c:v>
                </c:pt>
                <c:pt idx="12756" formatCode="0.0%">
                  <c:v>0.12750474808011089</c:v>
                </c:pt>
                <c:pt idx="12757" formatCode="0.0%">
                  <c:v>0.12633124583058244</c:v>
                </c:pt>
                <c:pt idx="12758" formatCode="0.0%">
                  <c:v>0.12653325800232013</c:v>
                </c:pt>
                <c:pt idx="12759" formatCode="0.0%">
                  <c:v>0.12587815672807737</c:v>
                </c:pt>
                <c:pt idx="12760" formatCode="0.0%">
                  <c:v>0.14328592500000745</c:v>
                </c:pt>
                <c:pt idx="12761" formatCode="0.0%">
                  <c:v>0.14309328533243973</c:v>
                </c:pt>
                <c:pt idx="12762" formatCode="0.0%">
                  <c:v>0.14403604732035569</c:v>
                </c:pt>
                <c:pt idx="12763" formatCode="0.0%">
                  <c:v>0.14279108530980242</c:v>
                </c:pt>
                <c:pt idx="12764" formatCode="0.0%">
                  <c:v>0.15490726656575915</c:v>
                </c:pt>
                <c:pt idx="12765" formatCode="0.0%">
                  <c:v>0.16080943433417957</c:v>
                </c:pt>
                <c:pt idx="12766" formatCode="0.0%">
                  <c:v>0.16086364876098838</c:v>
                </c:pt>
                <c:pt idx="12767" formatCode="0.0%">
                  <c:v>0.15120480041828832</c:v>
                </c:pt>
                <c:pt idx="12768" formatCode="0.0%">
                  <c:v>0.14792383420814892</c:v>
                </c:pt>
                <c:pt idx="12769" formatCode="0.0%">
                  <c:v>0.1375825994371993</c:v>
                </c:pt>
                <c:pt idx="12770" formatCode="0.0%">
                  <c:v>0.14259142367633315</c:v>
                </c:pt>
                <c:pt idx="12771" formatCode="0.0%">
                  <c:v>0.13753463711194971</c:v>
                </c:pt>
                <c:pt idx="12772" formatCode="0.0%">
                  <c:v>0.13866510483984246</c:v>
                </c:pt>
                <c:pt idx="12773" formatCode="0.0%">
                  <c:v>0.13827483348088337</c:v>
                </c:pt>
                <c:pt idx="12774" formatCode="0.0%">
                  <c:v>0.13752871657080917</c:v>
                </c:pt>
                <c:pt idx="12775" formatCode="0.0%">
                  <c:v>0.13901646117438585</c:v>
                </c:pt>
                <c:pt idx="12776" formatCode="0.0%">
                  <c:v>0.13727658101192605</c:v>
                </c:pt>
                <c:pt idx="12777" formatCode="0.0%">
                  <c:v>0.13699591545983403</c:v>
                </c:pt>
                <c:pt idx="12778" formatCode="0.0%">
                  <c:v>0.13813278956244612</c:v>
                </c:pt>
                <c:pt idx="12779" formatCode="0.0%">
                  <c:v>0.14367930709607288</c:v>
                </c:pt>
                <c:pt idx="12780" formatCode="0.0%">
                  <c:v>0.11796908230202982</c:v>
                </c:pt>
                <c:pt idx="12781" formatCode="0.0%">
                  <c:v>0.11624551215894914</c:v>
                </c:pt>
                <c:pt idx="12782" formatCode="0.0%">
                  <c:v>0.1163636311505885</c:v>
                </c:pt>
                <c:pt idx="12783" formatCode="0.0%">
                  <c:v>0.11612981993660113</c:v>
                </c:pt>
                <c:pt idx="12784" formatCode="0.0%">
                  <c:v>0.10506440355482596</c:v>
                </c:pt>
                <c:pt idx="12785" formatCode="0.0%">
                  <c:v>0.10006088241563298</c:v>
                </c:pt>
                <c:pt idx="12786" formatCode="0.0%">
                  <c:v>9.7169583416637562E-2</c:v>
                </c:pt>
                <c:pt idx="12787" formatCode="0.0%">
                  <c:v>9.5393693713516248E-2</c:v>
                </c:pt>
                <c:pt idx="12788" formatCode="0.0%">
                  <c:v>9.6313923598244783E-2</c:v>
                </c:pt>
                <c:pt idx="12789" formatCode="0.0%">
                  <c:v>9.8971816377807484E-2</c:v>
                </c:pt>
                <c:pt idx="12790" formatCode="0.0%">
                  <c:v>0.10390372547703255</c:v>
                </c:pt>
                <c:pt idx="12791" formatCode="0.0%">
                  <c:v>0.10069704968703595</c:v>
                </c:pt>
                <c:pt idx="12792" formatCode="0.0%">
                  <c:v>0.10065019690105753</c:v>
                </c:pt>
                <c:pt idx="12793" formatCode="0.0%">
                  <c:v>0.11251379711476148</c:v>
                </c:pt>
                <c:pt idx="12794" formatCode="0.0%">
                  <c:v>0.11047564082619311</c:v>
                </c:pt>
                <c:pt idx="12795" formatCode="0.0%">
                  <c:v>0.11320836112044956</c:v>
                </c:pt>
                <c:pt idx="12796" formatCode="0.0%">
                  <c:v>0.11418956481672335</c:v>
                </c:pt>
                <c:pt idx="12797" formatCode="0.0%">
                  <c:v>0.10972754283813055</c:v>
                </c:pt>
                <c:pt idx="12798" formatCode="0.0%">
                  <c:v>0.10630607438181332</c:v>
                </c:pt>
                <c:pt idx="12799" formatCode="0.0%">
                  <c:v>0.10208703739898844</c:v>
                </c:pt>
                <c:pt idx="12800" formatCode="0.0%">
                  <c:v>0.10207816517323592</c:v>
                </c:pt>
                <c:pt idx="12801" formatCode="0.0%">
                  <c:v>0.10162993770521585</c:v>
                </c:pt>
                <c:pt idx="12802" formatCode="0.0%">
                  <c:v>0.10158628328894076</c:v>
                </c:pt>
                <c:pt idx="12803" formatCode="0.0%">
                  <c:v>0.10542081290699221</c:v>
                </c:pt>
                <c:pt idx="12804" formatCode="0.0%">
                  <c:v>0.10242785723360361</c:v>
                </c:pt>
                <c:pt idx="12805" formatCode="0.0%">
                  <c:v>0.10446269813635249</c:v>
                </c:pt>
                <c:pt idx="12806" formatCode="0.0%">
                  <c:v>9.6889839200187552E-2</c:v>
                </c:pt>
                <c:pt idx="12807" formatCode="0.0%">
                  <c:v>9.184776357510617E-2</c:v>
                </c:pt>
                <c:pt idx="12808" formatCode="0.0%">
                  <c:v>0.10410508263210341</c:v>
                </c:pt>
                <c:pt idx="12809" formatCode="0.0%">
                  <c:v>0.10484041203940181</c:v>
                </c:pt>
                <c:pt idx="12810" formatCode="0.0%">
                  <c:v>0.10398215341521296</c:v>
                </c:pt>
                <c:pt idx="12811" formatCode="0.0%">
                  <c:v>0.10409190096099244</c:v>
                </c:pt>
                <c:pt idx="12812" formatCode="0.0%">
                  <c:v>0.11260895515120978</c:v>
                </c:pt>
                <c:pt idx="12813" formatCode="0.0%">
                  <c:v>0.10082957330076309</c:v>
                </c:pt>
                <c:pt idx="12814" formatCode="0.0%">
                  <c:v>0.10297846451499287</c:v>
                </c:pt>
                <c:pt idx="12815" formatCode="0.0%">
                  <c:v>0.10425548513049158</c:v>
                </c:pt>
                <c:pt idx="12816" formatCode="0.0%">
                  <c:v>0.10340885856702094</c:v>
                </c:pt>
                <c:pt idx="12817" formatCode="0.0%">
                  <c:v>0.10330661446542848</c:v>
                </c:pt>
                <c:pt idx="12818" formatCode="0.0%">
                  <c:v>0.10295063052779396</c:v>
                </c:pt>
                <c:pt idx="12819" formatCode="0.0%">
                  <c:v>0.10017402738437674</c:v>
                </c:pt>
                <c:pt idx="12820" formatCode="0.0%">
                  <c:v>0.10017482621791415</c:v>
                </c:pt>
                <c:pt idx="12821" formatCode="0.0%">
                  <c:v>0.10356949653439212</c:v>
                </c:pt>
                <c:pt idx="12822" formatCode="0.0%">
                  <c:v>0.10381026814194962</c:v>
                </c:pt>
                <c:pt idx="12823" formatCode="0.0%">
                  <c:v>0.10357618547937431</c:v>
                </c:pt>
                <c:pt idx="12824" formatCode="0.0%">
                  <c:v>0.10516406178375999</c:v>
                </c:pt>
                <c:pt idx="12825" formatCode="0.0%">
                  <c:v>0.10057559244419464</c:v>
                </c:pt>
                <c:pt idx="12826" formatCode="0.0%">
                  <c:v>9.731603876284689E-2</c:v>
                </c:pt>
                <c:pt idx="12827" formatCode="0.0%">
                  <c:v>0.10034764086134852</c:v>
                </c:pt>
                <c:pt idx="12828" formatCode="0.0%">
                  <c:v>8.6169802246254437E-2</c:v>
                </c:pt>
                <c:pt idx="12829" formatCode="0.0%">
                  <c:v>8.9280306526270434E-2</c:v>
                </c:pt>
                <c:pt idx="12830" formatCode="0.0%">
                  <c:v>8.9273021355240414E-2</c:v>
                </c:pt>
                <c:pt idx="12831" formatCode="0.0%">
                  <c:v>9.240520342716356E-2</c:v>
                </c:pt>
                <c:pt idx="12832" formatCode="0.0%">
                  <c:v>9.1616713749274617E-2</c:v>
                </c:pt>
                <c:pt idx="12833" formatCode="0.0%">
                  <c:v>0.1020531926722697</c:v>
                </c:pt>
                <c:pt idx="12834" formatCode="0.0%">
                  <c:v>0.10119820969686004</c:v>
                </c:pt>
                <c:pt idx="12835" formatCode="0.0%">
                  <c:v>9.6114739329179161E-2</c:v>
                </c:pt>
                <c:pt idx="12836" formatCode="0.0%">
                  <c:v>9.623794875909919E-2</c:v>
                </c:pt>
                <c:pt idx="12837" formatCode="0.0%">
                  <c:v>9.7736362027789639E-2</c:v>
                </c:pt>
                <c:pt idx="12838" formatCode="0.0%">
                  <c:v>9.8307910399676929E-2</c:v>
                </c:pt>
                <c:pt idx="12839" formatCode="0.0%">
                  <c:v>0.10639857542628374</c:v>
                </c:pt>
                <c:pt idx="12840" formatCode="0.0%">
                  <c:v>0.10748998180694895</c:v>
                </c:pt>
                <c:pt idx="12841" formatCode="0.0%">
                  <c:v>0.10921218030064994</c:v>
                </c:pt>
                <c:pt idx="12842" formatCode="0.0%">
                  <c:v>0.1085240179558339</c:v>
                </c:pt>
                <c:pt idx="12843" formatCode="0.0%">
                  <c:v>0.10746714716107089</c:v>
                </c:pt>
                <c:pt idx="12844" formatCode="0.0%">
                  <c:v>0.10552976048917635</c:v>
                </c:pt>
                <c:pt idx="12845" formatCode="0.0%">
                  <c:v>0.10440340245375196</c:v>
                </c:pt>
                <c:pt idx="12846" formatCode="0.0%">
                  <c:v>0.10514425013683711</c:v>
                </c:pt>
                <c:pt idx="12847" formatCode="0.0%">
                  <c:v>0.10521838703676954</c:v>
                </c:pt>
                <c:pt idx="12848" formatCode="0.0%">
                  <c:v>9.2818221883078769E-2</c:v>
                </c:pt>
                <c:pt idx="12849" formatCode="0.0%">
                  <c:v>9.3567023461688284E-2</c:v>
                </c:pt>
                <c:pt idx="12850" formatCode="0.0%">
                  <c:v>9.379868871325911E-2</c:v>
                </c:pt>
                <c:pt idx="12851" formatCode="0.0%">
                  <c:v>9.2488050415571926E-2</c:v>
                </c:pt>
                <c:pt idx="12852" formatCode="0.0%">
                  <c:v>8.8931109056640895E-2</c:v>
                </c:pt>
                <c:pt idx="12853" formatCode="0.0%">
                  <c:v>7.0939828109320258E-2</c:v>
                </c:pt>
                <c:pt idx="12854" formatCode="0.0%">
                  <c:v>7.0346545222312665E-2</c:v>
                </c:pt>
                <c:pt idx="12855" formatCode="0.0%">
                  <c:v>7.5693424255333222E-2</c:v>
                </c:pt>
                <c:pt idx="12856" formatCode="0.0%">
                  <c:v>9.3432063615872682E-2</c:v>
                </c:pt>
                <c:pt idx="12857" formatCode="0.0%">
                  <c:v>9.4197392943374397E-2</c:v>
                </c:pt>
                <c:pt idx="12858" formatCode="0.0%">
                  <c:v>9.289375585345859E-2</c:v>
                </c:pt>
                <c:pt idx="12859" formatCode="0.0%">
                  <c:v>9.2307372459666623E-2</c:v>
                </c:pt>
                <c:pt idx="12860" formatCode="0.0%">
                  <c:v>9.2435572855230352E-2</c:v>
                </c:pt>
                <c:pt idx="12861" formatCode="0.0%">
                  <c:v>8.9509603466424809E-2</c:v>
                </c:pt>
                <c:pt idx="12862" formatCode="0.0%">
                  <c:v>8.9369693092799823E-2</c:v>
                </c:pt>
                <c:pt idx="12863" formatCode="0.0%">
                  <c:v>8.8037854416978478E-2</c:v>
                </c:pt>
                <c:pt idx="12864" formatCode="0.0%">
                  <c:v>0.10599021468290801</c:v>
                </c:pt>
                <c:pt idx="12865" formatCode="0.0%">
                  <c:v>0.10600790975519632</c:v>
                </c:pt>
                <c:pt idx="12866" formatCode="0.0%">
                  <c:v>0.10547261510645839</c:v>
                </c:pt>
                <c:pt idx="12867" formatCode="0.0%">
                  <c:v>0.10366625787919348</c:v>
                </c:pt>
                <c:pt idx="12868" formatCode="0.0%">
                  <c:v>0.10438808788957592</c:v>
                </c:pt>
                <c:pt idx="12869" formatCode="0.0%">
                  <c:v>0.10372471903324137</c:v>
                </c:pt>
                <c:pt idx="12870" formatCode="0.0%">
                  <c:v>0.10456121934815593</c:v>
                </c:pt>
                <c:pt idx="12871" formatCode="0.0%">
                  <c:v>0.10459937950287071</c:v>
                </c:pt>
                <c:pt idx="12872" formatCode="0.0%">
                  <c:v>0.10895194718391546</c:v>
                </c:pt>
                <c:pt idx="12873" formatCode="0.0%">
                  <c:v>0.10883811600284135</c:v>
                </c:pt>
                <c:pt idx="12874" formatCode="0.0%">
                  <c:v>0.10884446036759973</c:v>
                </c:pt>
                <c:pt idx="12875" formatCode="0.0%">
                  <c:v>0.10289688140527321</c:v>
                </c:pt>
                <c:pt idx="12876" formatCode="0.0%">
                  <c:v>9.5261934624139274E-2</c:v>
                </c:pt>
                <c:pt idx="12877" formatCode="0.0%">
                  <c:v>9.7555311292326238E-2</c:v>
                </c:pt>
                <c:pt idx="12878" formatCode="0.0%">
                  <c:v>9.8268361397917517E-2</c:v>
                </c:pt>
                <c:pt idx="12879" formatCode="0.0%">
                  <c:v>9.1361008694096649E-2</c:v>
                </c:pt>
                <c:pt idx="12880" formatCode="0.0%">
                  <c:v>9.1646313770284302E-2</c:v>
                </c:pt>
                <c:pt idx="12881" formatCode="0.0%">
                  <c:v>9.207199423453935E-2</c:v>
                </c:pt>
                <c:pt idx="12882" formatCode="0.0%">
                  <c:v>9.5895956528963489E-2</c:v>
                </c:pt>
                <c:pt idx="12883" formatCode="0.0%">
                  <c:v>9.64889860824657E-2</c:v>
                </c:pt>
                <c:pt idx="12884" formatCode="0.0%">
                  <c:v>8.2774802865867789E-2</c:v>
                </c:pt>
                <c:pt idx="12885" formatCode="0.0%">
                  <c:v>8.5660353089058755E-2</c:v>
                </c:pt>
                <c:pt idx="12886" formatCode="0.0%">
                  <c:v>8.5546387874553306E-2</c:v>
                </c:pt>
                <c:pt idx="12887" formatCode="0.0%">
                  <c:v>8.4821834374175481E-2</c:v>
                </c:pt>
                <c:pt idx="12888" formatCode="0.0%">
                  <c:v>8.1882057685767243E-2</c:v>
                </c:pt>
                <c:pt idx="12889" formatCode="0.0%">
                  <c:v>8.3228965374029198E-2</c:v>
                </c:pt>
                <c:pt idx="12890" formatCode="0.0%">
                  <c:v>8.6294449749684143E-2</c:v>
                </c:pt>
                <c:pt idx="12891" formatCode="0.0%">
                  <c:v>8.7763558592846361E-2</c:v>
                </c:pt>
                <c:pt idx="12892" formatCode="0.0%">
                  <c:v>8.0690821494423567E-2</c:v>
                </c:pt>
                <c:pt idx="12893" formatCode="0.0%">
                  <c:v>8.1342069859512589E-2</c:v>
                </c:pt>
                <c:pt idx="12894" formatCode="0.0%">
                  <c:v>8.1319463900008701E-2</c:v>
                </c:pt>
                <c:pt idx="12895" formatCode="0.0%">
                  <c:v>8.9968018043564246E-2</c:v>
                </c:pt>
                <c:pt idx="12896" formatCode="0.0%">
                  <c:v>7.8684686184766095E-2</c:v>
                </c:pt>
                <c:pt idx="12897" formatCode="0.0%">
                  <c:v>7.6119035599313184E-2</c:v>
                </c:pt>
                <c:pt idx="12898" formatCode="0.0%">
                  <c:v>8.4414991095891415E-2</c:v>
                </c:pt>
                <c:pt idx="12899" formatCode="0.0%">
                  <c:v>8.6894814253219044E-2</c:v>
                </c:pt>
                <c:pt idx="12900" formatCode="0.0%">
                  <c:v>8.7414190279192547E-2</c:v>
                </c:pt>
                <c:pt idx="12901" formatCode="0.0%">
                  <c:v>8.4834820119451301E-2</c:v>
                </c:pt>
                <c:pt idx="12902" formatCode="0.0%">
                  <c:v>8.9352173524445841E-2</c:v>
                </c:pt>
                <c:pt idx="12903" formatCode="0.0%">
                  <c:v>9.0274419736652123E-2</c:v>
                </c:pt>
                <c:pt idx="12904" formatCode="0.0%">
                  <c:v>9.1273482488487975E-2</c:v>
                </c:pt>
                <c:pt idx="12905" formatCode="0.0%">
                  <c:v>9.5096636278844585E-2</c:v>
                </c:pt>
                <c:pt idx="12906" formatCode="0.0%">
                  <c:v>9.5246302449341097E-2</c:v>
                </c:pt>
                <c:pt idx="12907" formatCode="0.0%">
                  <c:v>9.5276505397622085E-2</c:v>
                </c:pt>
                <c:pt idx="12908" formatCode="0.0%">
                  <c:v>9.4122413496355306E-2</c:v>
                </c:pt>
                <c:pt idx="12909" formatCode="0.0%">
                  <c:v>9.2078793162105876E-2</c:v>
                </c:pt>
                <c:pt idx="12910" formatCode="0.0%">
                  <c:v>9.1376673037238884E-2</c:v>
                </c:pt>
                <c:pt idx="12911" formatCode="0.0%">
                  <c:v>9.7680094008419302E-2</c:v>
                </c:pt>
                <c:pt idx="12912" formatCode="0.0%">
                  <c:v>9.5663416398053064E-2</c:v>
                </c:pt>
                <c:pt idx="12913" formatCode="0.0%">
                  <c:v>9.399370175891987E-2</c:v>
                </c:pt>
                <c:pt idx="12914" formatCode="0.0%">
                  <c:v>9.3940389855225431E-2</c:v>
                </c:pt>
                <c:pt idx="12915" formatCode="0.0%">
                  <c:v>8.9949486945610557E-2</c:v>
                </c:pt>
                <c:pt idx="12916" formatCode="0.0%">
                  <c:v>9.0414699092718612E-2</c:v>
                </c:pt>
                <c:pt idx="12917" formatCode="0.0%">
                  <c:v>9.0169402514174393E-2</c:v>
                </c:pt>
                <c:pt idx="12918" formatCode="0.0%">
                  <c:v>8.0795817139019732E-2</c:v>
                </c:pt>
                <c:pt idx="12919" formatCode="0.0%">
                  <c:v>7.5726276114023272E-2</c:v>
                </c:pt>
                <c:pt idx="12920" formatCode="0.0%">
                  <c:v>8.7831326757911846E-2</c:v>
                </c:pt>
                <c:pt idx="12921" formatCode="0.0%">
                  <c:v>8.5171950226221996E-2</c:v>
                </c:pt>
                <c:pt idx="12922" formatCode="0.0%">
                  <c:v>7.9152190429263636E-2</c:v>
                </c:pt>
                <c:pt idx="12923" formatCode="0.0%">
                  <c:v>8.0850766522660447E-2</c:v>
                </c:pt>
                <c:pt idx="12924" formatCode="0.0%">
                  <c:v>8.4968170466247397E-2</c:v>
                </c:pt>
                <c:pt idx="12925" formatCode="0.0%">
                  <c:v>7.4408446293629776E-2</c:v>
                </c:pt>
                <c:pt idx="12926" formatCode="0.0%">
                  <c:v>7.4078533870730212E-2</c:v>
                </c:pt>
                <c:pt idx="12927" formatCode="0.0%">
                  <c:v>7.4602296934737244E-2</c:v>
                </c:pt>
                <c:pt idx="12928" formatCode="0.0%">
                  <c:v>7.4626150844629008E-2</c:v>
                </c:pt>
                <c:pt idx="12929" formatCode="0.0%">
                  <c:v>7.2103676302345973E-2</c:v>
                </c:pt>
                <c:pt idx="12930" formatCode="0.0%">
                  <c:v>7.2725926087922457E-2</c:v>
                </c:pt>
                <c:pt idx="12931" formatCode="0.0%">
                  <c:v>6.7493283426991679E-2</c:v>
                </c:pt>
                <c:pt idx="12932" formatCode="0.0%">
                  <c:v>7.0362484460260888E-2</c:v>
                </c:pt>
                <c:pt idx="12933" formatCode="0.0%">
                  <c:v>7.0505182888773929E-2</c:v>
                </c:pt>
                <c:pt idx="12934" formatCode="0.0%">
                  <c:v>7.0515259554154261E-2</c:v>
                </c:pt>
                <c:pt idx="12935" formatCode="0.0%">
                  <c:v>7.0510236442070356E-2</c:v>
                </c:pt>
                <c:pt idx="12936" formatCode="0.0%">
                  <c:v>7.0919924805039766E-2</c:v>
                </c:pt>
                <c:pt idx="12937" formatCode="0.0%">
                  <c:v>7.0588744485795413E-2</c:v>
                </c:pt>
                <c:pt idx="12938" formatCode="0.0%">
                  <c:v>6.9767950988100208E-2</c:v>
                </c:pt>
                <c:pt idx="12939" formatCode="0.0%">
                  <c:v>9.9084336692739416E-2</c:v>
                </c:pt>
                <c:pt idx="12940" formatCode="0.0%">
                  <c:v>9.7104346454285659E-2</c:v>
                </c:pt>
                <c:pt idx="12941" formatCode="0.0%">
                  <c:v>9.7597929542013309E-2</c:v>
                </c:pt>
                <c:pt idx="12942" formatCode="0.0%">
                  <c:v>9.8824839208036724E-2</c:v>
                </c:pt>
                <c:pt idx="12943" formatCode="0.0%">
                  <c:v>9.5804415128297293E-2</c:v>
                </c:pt>
                <c:pt idx="12944" formatCode="0.0%">
                  <c:v>9.2994744415181366E-2</c:v>
                </c:pt>
                <c:pt idx="12945" formatCode="0.0%">
                  <c:v>9.3497660475816841E-2</c:v>
                </c:pt>
                <c:pt idx="12946" formatCode="0.0%">
                  <c:v>9.0175607374456707E-2</c:v>
                </c:pt>
                <c:pt idx="12947" formatCode="0.0%">
                  <c:v>9.4988086697097018E-2</c:v>
                </c:pt>
                <c:pt idx="12948" formatCode="0.0%">
                  <c:v>9.4809594129885461E-2</c:v>
                </c:pt>
                <c:pt idx="12949" formatCode="0.0%">
                  <c:v>9.7192806522842803E-2</c:v>
                </c:pt>
                <c:pt idx="12950" formatCode="0.0%">
                  <c:v>9.7697223677763581E-2</c:v>
                </c:pt>
                <c:pt idx="12951" formatCode="0.0%">
                  <c:v>0.12224765188211634</c:v>
                </c:pt>
                <c:pt idx="12952" formatCode="0.0%">
                  <c:v>0.1214131841793457</c:v>
                </c:pt>
                <c:pt idx="12953" formatCode="0.0%">
                  <c:v>0.12522190059796426</c:v>
                </c:pt>
                <c:pt idx="12954" formatCode="0.0%">
                  <c:v>0.12409795978277326</c:v>
                </c:pt>
                <c:pt idx="12955" formatCode="0.0%">
                  <c:v>0.12424872314549168</c:v>
                </c:pt>
                <c:pt idx="12956" formatCode="0.0%">
                  <c:v>0.12440606190948975</c:v>
                </c:pt>
                <c:pt idx="12957" formatCode="0.0%">
                  <c:v>0.12814832917991534</c:v>
                </c:pt>
                <c:pt idx="12958" formatCode="0.0%">
                  <c:v>0.13015405898705151</c:v>
                </c:pt>
                <c:pt idx="12959" formatCode="0.0%">
                  <c:v>0.11791386980369845</c:v>
                </c:pt>
                <c:pt idx="12960" formatCode="0.0%">
                  <c:v>0.11104251348665832</c:v>
                </c:pt>
                <c:pt idx="12961" formatCode="0.0%">
                  <c:v>0.11145198735737433</c:v>
                </c:pt>
                <c:pt idx="12962" formatCode="0.0%">
                  <c:v>0.11346257629202226</c:v>
                </c:pt>
                <c:pt idx="12963" formatCode="0.0%">
                  <c:v>0.12341666339907098</c:v>
                </c:pt>
                <c:pt idx="12964" formatCode="0.0%">
                  <c:v>0.16373498302912137</c:v>
                </c:pt>
                <c:pt idx="12965" formatCode="0.0%">
                  <c:v>0.16870846680760318</c:v>
                </c:pt>
                <c:pt idx="12966" formatCode="0.0%">
                  <c:v>0.16866682362488974</c:v>
                </c:pt>
                <c:pt idx="12967" formatCode="0.0%">
                  <c:v>0.16518510031125497</c:v>
                </c:pt>
                <c:pt idx="12968" formatCode="0.0%">
                  <c:v>0.1677527984790326</c:v>
                </c:pt>
                <c:pt idx="12969" formatCode="0.0%">
                  <c:v>0.16665587447421562</c:v>
                </c:pt>
                <c:pt idx="12970" formatCode="0.0%">
                  <c:v>0.16641890443097992</c:v>
                </c:pt>
                <c:pt idx="12971" formatCode="0.0%">
                  <c:v>0.14457903005435052</c:v>
                </c:pt>
                <c:pt idx="12972" formatCode="0.0%">
                  <c:v>0.15524848133888489</c:v>
                </c:pt>
                <c:pt idx="12973" formatCode="0.0%">
                  <c:v>0.15559221012473892</c:v>
                </c:pt>
                <c:pt idx="12974" formatCode="0.0%">
                  <c:v>0.15452517808465441</c:v>
                </c:pt>
                <c:pt idx="12975" formatCode="0.0%">
                  <c:v>0.15398500779793475</c:v>
                </c:pt>
                <c:pt idx="12976" formatCode="0.0%">
                  <c:v>0.15188528050923925</c:v>
                </c:pt>
                <c:pt idx="12977" formatCode="0.0%">
                  <c:v>0.15581354157448979</c:v>
                </c:pt>
                <c:pt idx="12978" formatCode="0.0%">
                  <c:v>0.15664427714095516</c:v>
                </c:pt>
                <c:pt idx="12979" formatCode="0.0%">
                  <c:v>0.17087102328570111</c:v>
                </c:pt>
                <c:pt idx="12980" formatCode="0.0%">
                  <c:v>0.17131412907419041</c:v>
                </c:pt>
                <c:pt idx="12981" formatCode="0.0%">
                  <c:v>0.17289156787713569</c:v>
                </c:pt>
                <c:pt idx="12982" formatCode="0.0%">
                  <c:v>0.1658799022955996</c:v>
                </c:pt>
                <c:pt idx="12983" formatCode="0.0%">
                  <c:v>0.16320358598023432</c:v>
                </c:pt>
                <c:pt idx="12984" formatCode="0.0%">
                  <c:v>0.13119257861387193</c:v>
                </c:pt>
                <c:pt idx="12985" formatCode="0.0%">
                  <c:v>0.13189391065226516</c:v>
                </c:pt>
                <c:pt idx="12986" formatCode="0.0%">
                  <c:v>0.1341825592513701</c:v>
                </c:pt>
                <c:pt idx="12987" formatCode="0.0%">
                  <c:v>0.14282118329924534</c:v>
                </c:pt>
                <c:pt idx="12988" formatCode="0.0%">
                  <c:v>0.15630913045868908</c:v>
                </c:pt>
                <c:pt idx="12989" formatCode="0.0%">
                  <c:v>0.15747544463306623</c:v>
                </c:pt>
                <c:pt idx="12990" formatCode="0.0%">
                  <c:v>0.15812983209670395</c:v>
                </c:pt>
                <c:pt idx="12991" formatCode="0.0%">
                  <c:v>0.16000971793449006</c:v>
                </c:pt>
                <c:pt idx="12992" formatCode="0.0%">
                  <c:v>0.14272297753112806</c:v>
                </c:pt>
                <c:pt idx="12993" formatCode="0.0%">
                  <c:v>0.1382005063246356</c:v>
                </c:pt>
                <c:pt idx="12994" formatCode="0.0%">
                  <c:v>0.13876442132634814</c:v>
                </c:pt>
                <c:pt idx="12995" formatCode="0.0%">
                  <c:v>0.1387669757204873</c:v>
                </c:pt>
                <c:pt idx="12996" formatCode="0.0%">
                  <c:v>0.13826620719328023</c:v>
                </c:pt>
                <c:pt idx="12997" formatCode="0.0%">
                  <c:v>0.15184729693689258</c:v>
                </c:pt>
                <c:pt idx="12998" formatCode="0.0%">
                  <c:v>0.15376611345112243</c:v>
                </c:pt>
                <c:pt idx="12999" formatCode="0.0%">
                  <c:v>0.14094957858363588</c:v>
                </c:pt>
                <c:pt idx="13000" formatCode="0.0%">
                  <c:v>0.13583345571334762</c:v>
                </c:pt>
                <c:pt idx="13001" formatCode="0.0%">
                  <c:v>0.13770908558682243</c:v>
                </c:pt>
                <c:pt idx="13002" formatCode="0.0%">
                  <c:v>0.13856019995945432</c:v>
                </c:pt>
                <c:pt idx="13003" formatCode="0.0%">
                  <c:v>0.13726986038863237</c:v>
                </c:pt>
                <c:pt idx="13004" formatCode="0.0%">
                  <c:v>0.1336551516898391</c:v>
                </c:pt>
                <c:pt idx="13005" formatCode="0.0%">
                  <c:v>0.11983525479889583</c:v>
                </c:pt>
                <c:pt idx="13006" formatCode="0.0%">
                  <c:v>0.12343568101769128</c:v>
                </c:pt>
                <c:pt idx="13007" formatCode="0.0%">
                  <c:v>0.11940461991296906</c:v>
                </c:pt>
                <c:pt idx="13008" formatCode="0.0%">
                  <c:v>0.10297240035478183</c:v>
                </c:pt>
                <c:pt idx="13009" formatCode="0.0%">
                  <c:v>9.9435032992194028E-2</c:v>
                </c:pt>
                <c:pt idx="13010" formatCode="0.0%">
                  <c:v>9.912748447468947E-2</c:v>
                </c:pt>
                <c:pt idx="13011" formatCode="0.0%">
                  <c:v>0.10328863475009914</c:v>
                </c:pt>
                <c:pt idx="13012" formatCode="0.0%">
                  <c:v>0.10130132639093063</c:v>
                </c:pt>
                <c:pt idx="13013" formatCode="0.0%">
                  <c:v>0.10969588696764226</c:v>
                </c:pt>
                <c:pt idx="13014" formatCode="0.0%">
                  <c:v>0.10704016260333866</c:v>
                </c:pt>
                <c:pt idx="13015" formatCode="0.0%">
                  <c:v>0.10718527445857368</c:v>
                </c:pt>
                <c:pt idx="13016" formatCode="0.0%">
                  <c:v>0.10900255086826156</c:v>
                </c:pt>
                <c:pt idx="13017" formatCode="0.0%">
                  <c:v>8.3450007553544342E-2</c:v>
                </c:pt>
                <c:pt idx="13018" formatCode="0.0%">
                  <c:v>8.1876311149783484E-2</c:v>
                </c:pt>
                <c:pt idx="13019" formatCode="0.0%">
                  <c:v>8.1209264538160089E-2</c:v>
                </c:pt>
                <c:pt idx="13020" formatCode="0.0%">
                  <c:v>8.1424064048602654E-2</c:v>
                </c:pt>
                <c:pt idx="13021" formatCode="0.0%">
                  <c:v>7.7619560445896157E-2</c:v>
                </c:pt>
                <c:pt idx="13022" formatCode="0.0%">
                  <c:v>0.10770608817350029</c:v>
                </c:pt>
                <c:pt idx="13023" formatCode="0.0%">
                  <c:v>0.10354426955963264</c:v>
                </c:pt>
                <c:pt idx="13024" formatCode="0.0%">
                  <c:v>0.11220860798749809</c:v>
                </c:pt>
                <c:pt idx="13025" formatCode="0.0%">
                  <c:v>0.10951824407527544</c:v>
                </c:pt>
                <c:pt idx="13026" formatCode="0.0%">
                  <c:v>0.13006206646815141</c:v>
                </c:pt>
                <c:pt idx="13027" formatCode="0.0%">
                  <c:v>0.13003741470909522</c:v>
                </c:pt>
                <c:pt idx="13028" formatCode="0.0%">
                  <c:v>0.132052015774242</c:v>
                </c:pt>
                <c:pt idx="13029" formatCode="0.0%">
                  <c:v>0.13205252251558849</c:v>
                </c:pt>
                <c:pt idx="13030" formatCode="0.0%">
                  <c:v>0.13250212131543287</c:v>
                </c:pt>
                <c:pt idx="13031" formatCode="0.0%">
                  <c:v>0.12866229441779933</c:v>
                </c:pt>
                <c:pt idx="13032" formatCode="0.0%">
                  <c:v>0.12838946955145414</c:v>
                </c:pt>
                <c:pt idx="13033" formatCode="0.0%">
                  <c:v>0.12357443779454991</c:v>
                </c:pt>
                <c:pt idx="13034" formatCode="0.0%">
                  <c:v>0.12357629167105511</c:v>
                </c:pt>
                <c:pt idx="13035" formatCode="0.0%">
                  <c:v>0.12667257235978666</c:v>
                </c:pt>
                <c:pt idx="13036" formatCode="0.0%">
                  <c:v>0.12593852729213481</c:v>
                </c:pt>
                <c:pt idx="13037" formatCode="0.0%">
                  <c:v>0.13709848199862337</c:v>
                </c:pt>
                <c:pt idx="13038" formatCode="0.0%">
                  <c:v>0.13699127228193772</c:v>
                </c:pt>
                <c:pt idx="13039" formatCode="0.0%">
                  <c:v>0.13750811242638922</c:v>
                </c:pt>
                <c:pt idx="13040" formatCode="0.0%">
                  <c:v>0.13982254365906649</c:v>
                </c:pt>
                <c:pt idx="13041" formatCode="0.0%">
                  <c:v>0.14408947772676672</c:v>
                </c:pt>
                <c:pt idx="13042" formatCode="0.0%">
                  <c:v>0.11706863337578607</c:v>
                </c:pt>
                <c:pt idx="13043" formatCode="0.0%">
                  <c:v>0.12200763329619514</c:v>
                </c:pt>
                <c:pt idx="13044" formatCode="0.0%">
                  <c:v>0.11928270052115049</c:v>
                </c:pt>
                <c:pt idx="13045" formatCode="0.0%">
                  <c:v>0.12487283795669171</c:v>
                </c:pt>
                <c:pt idx="13046" formatCode="0.0%">
                  <c:v>0.10876538834544264</c:v>
                </c:pt>
                <c:pt idx="13047" formatCode="0.0%">
                  <c:v>0.11106334328577588</c:v>
                </c:pt>
                <c:pt idx="13048" formatCode="0.0%">
                  <c:v>0.10991785080823069</c:v>
                </c:pt>
                <c:pt idx="13049" formatCode="0.0%">
                  <c:v>0.11661742572036714</c:v>
                </c:pt>
                <c:pt idx="13050" formatCode="0.0%">
                  <c:v>0.12246181514136301</c:v>
                </c:pt>
                <c:pt idx="13051" formatCode="0.0%">
                  <c:v>0.1223698096052621</c:v>
                </c:pt>
                <c:pt idx="13052" formatCode="0.0%">
                  <c:v>0.12166396968900756</c:v>
                </c:pt>
                <c:pt idx="13053" formatCode="0.0%">
                  <c:v>0.13565104819823606</c:v>
                </c:pt>
                <c:pt idx="13054" formatCode="0.0%">
                  <c:v>0.14432061516219452</c:v>
                </c:pt>
                <c:pt idx="13055" formatCode="0.0%">
                  <c:v>0.14494132762462927</c:v>
                </c:pt>
                <c:pt idx="13056" formatCode="0.0%">
                  <c:v>0.15224985160264423</c:v>
                </c:pt>
                <c:pt idx="13057" formatCode="0.0%">
                  <c:v>0.14750496368689503</c:v>
                </c:pt>
                <c:pt idx="13058" formatCode="0.0%">
                  <c:v>0.14773778303273963</c:v>
                </c:pt>
                <c:pt idx="13059" formatCode="0.0%">
                  <c:v>0.15773329757826651</c:v>
                </c:pt>
                <c:pt idx="13060" formatCode="0.0%">
                  <c:v>0.15400120342624873</c:v>
                </c:pt>
                <c:pt idx="13061" formatCode="0.0%">
                  <c:v>0.16013039668267118</c:v>
                </c:pt>
                <c:pt idx="13062" formatCode="0.0%">
                  <c:v>0.15519505924118759</c:v>
                </c:pt>
                <c:pt idx="13063" formatCode="0.0%">
                  <c:v>0.15868359917647334</c:v>
                </c:pt>
                <c:pt idx="13064" formatCode="0.0%">
                  <c:v>0.15908306901452385</c:v>
                </c:pt>
                <c:pt idx="13065" formatCode="0.0%">
                  <c:v>0.15825373085741767</c:v>
                </c:pt>
                <c:pt idx="13066" formatCode="0.0%">
                  <c:v>0.16529275523216916</c:v>
                </c:pt>
                <c:pt idx="13067" formatCode="0.0%">
                  <c:v>0.17597488490077448</c:v>
                </c:pt>
                <c:pt idx="13068" formatCode="0.0%">
                  <c:v>0.17916334207518531</c:v>
                </c:pt>
                <c:pt idx="13069" formatCode="0.0%">
                  <c:v>0.16543424291135272</c:v>
                </c:pt>
                <c:pt idx="13070" formatCode="0.0%">
                  <c:v>0.17576326787158889</c:v>
                </c:pt>
                <c:pt idx="13071" formatCode="0.0%">
                  <c:v>0.17159278071126613</c:v>
                </c:pt>
                <c:pt idx="13072" formatCode="0.0%">
                  <c:v>0.16940498306901489</c:v>
                </c:pt>
                <c:pt idx="13073" formatCode="0.0%">
                  <c:v>0.16656160222181038</c:v>
                </c:pt>
                <c:pt idx="13074" formatCode="0.0%">
                  <c:v>0.18860697354297509</c:v>
                </c:pt>
                <c:pt idx="13075" formatCode="0.0%">
                  <c:v>0.20667298901834219</c:v>
                </c:pt>
                <c:pt idx="13076" formatCode="0.0%">
                  <c:v>0.19327075652405959</c:v>
                </c:pt>
                <c:pt idx="13077" formatCode="0.0%">
                  <c:v>0.19371054697875784</c:v>
                </c:pt>
                <c:pt idx="13078" formatCode="0.0%">
                  <c:v>0.19341891436173786</c:v>
                </c:pt>
                <c:pt idx="13079" formatCode="0.0%">
                  <c:v>0.20958490493322365</c:v>
                </c:pt>
                <c:pt idx="13080" formatCode="0.0%">
                  <c:v>0.20569544069931481</c:v>
                </c:pt>
                <c:pt idx="13081" formatCode="0.0%">
                  <c:v>0.20399656386272116</c:v>
                </c:pt>
                <c:pt idx="13082" formatCode="0.0%">
                  <c:v>0.20280711367239526</c:v>
                </c:pt>
                <c:pt idx="13083" formatCode="0.0%">
                  <c:v>0.22291979575995563</c:v>
                </c:pt>
                <c:pt idx="13084" formatCode="0.0%">
                  <c:v>0.23315732240212581</c:v>
                </c:pt>
                <c:pt idx="13085" formatCode="0.0%">
                  <c:v>0.23255607043149207</c:v>
                </c:pt>
                <c:pt idx="13086" formatCode="0.0%">
                  <c:v>0.23201407794888226</c:v>
                </c:pt>
                <c:pt idx="13087" formatCode="0.0%">
                  <c:v>0.22148099085882489</c:v>
                </c:pt>
                <c:pt idx="13088" formatCode="0.0%">
                  <c:v>0.2242140770264939</c:v>
                </c:pt>
                <c:pt idx="13089" formatCode="0.0%">
                  <c:v>0.22908864758763378</c:v>
                </c:pt>
                <c:pt idx="13090" formatCode="0.0%">
                  <c:v>0.2359833359727935</c:v>
                </c:pt>
                <c:pt idx="13091" formatCode="0.0%">
                  <c:v>0.2381902022855282</c:v>
                </c:pt>
                <c:pt idx="13092" formatCode="0.0%">
                  <c:v>0.23508160628758887</c:v>
                </c:pt>
                <c:pt idx="13093" formatCode="0.0%">
                  <c:v>0.23692638932871662</c:v>
                </c:pt>
                <c:pt idx="13094" formatCode="0.0%">
                  <c:v>0.21030910088955698</c:v>
                </c:pt>
                <c:pt idx="13095" formatCode="0.0%">
                  <c:v>0.20278428718747724</c:v>
                </c:pt>
                <c:pt idx="13096" formatCode="0.0%">
                  <c:v>0.202781947303316</c:v>
                </c:pt>
                <c:pt idx="13097" formatCode="0.0%">
                  <c:v>0.19986728781575136</c:v>
                </c:pt>
                <c:pt idx="13098" formatCode="0.0%">
                  <c:v>0.19969684275532268</c:v>
                </c:pt>
                <c:pt idx="13099" formatCode="0.0%">
                  <c:v>0.2100425093475102</c:v>
                </c:pt>
                <c:pt idx="13100" formatCode="0.0%">
                  <c:v>0.20976664282811658</c:v>
                </c:pt>
                <c:pt idx="13101" formatCode="0.0%">
                  <c:v>0.20837970260575309</c:v>
                </c:pt>
                <c:pt idx="13102" formatCode="0.0%">
                  <c:v>0.20698972765754969</c:v>
                </c:pt>
                <c:pt idx="13103" formatCode="0.0%">
                  <c:v>0.19120961797526798</c:v>
                </c:pt>
                <c:pt idx="13104" formatCode="0.0%">
                  <c:v>0.18631893301614072</c:v>
                </c:pt>
                <c:pt idx="13105" formatCode="0.0%">
                  <c:v>0.18644874876528605</c:v>
                </c:pt>
                <c:pt idx="13106" formatCode="0.0%">
                  <c:v>0.18926239561263428</c:v>
                </c:pt>
                <c:pt idx="13107" formatCode="0.0%">
                  <c:v>0.18770223645286721</c:v>
                </c:pt>
                <c:pt idx="13108" formatCode="0.0%">
                  <c:v>0.17131720974535902</c:v>
                </c:pt>
                <c:pt idx="13109" formatCode="0.0%">
                  <c:v>0.16984054421561204</c:v>
                </c:pt>
                <c:pt idx="13110" formatCode="0.0%">
                  <c:v>0.1606081528361672</c:v>
                </c:pt>
                <c:pt idx="13111" formatCode="0.0%">
                  <c:v>0.16327654106675832</c:v>
                </c:pt>
                <c:pt idx="13112" formatCode="0.0%">
                  <c:v>0.1706693279687351</c:v>
                </c:pt>
                <c:pt idx="13113" formatCode="0.0%">
                  <c:v>0.16682953329636216</c:v>
                </c:pt>
                <c:pt idx="13114" formatCode="0.0%">
                  <c:v>0.17303409437250153</c:v>
                </c:pt>
                <c:pt idx="13115" formatCode="0.0%">
                  <c:v>0.16696558683674012</c:v>
                </c:pt>
                <c:pt idx="13116" formatCode="0.0%">
                  <c:v>0.1647703582668634</c:v>
                </c:pt>
                <c:pt idx="13117" formatCode="0.0%">
                  <c:v>0.16216170172925282</c:v>
                </c:pt>
                <c:pt idx="13118" formatCode="0.0%">
                  <c:v>0.15712958886507242</c:v>
                </c:pt>
                <c:pt idx="13119" formatCode="0.0%">
                  <c:v>0.10265554103037014</c:v>
                </c:pt>
                <c:pt idx="13120" formatCode="0.0%">
                  <c:v>0.10266160238375421</c:v>
                </c:pt>
                <c:pt idx="13121" formatCode="0.0%">
                  <c:v>0.10759064781587274</c:v>
                </c:pt>
                <c:pt idx="13122" formatCode="0.0%">
                  <c:v>0.1151867130696648</c:v>
                </c:pt>
                <c:pt idx="13123" formatCode="0.0%">
                  <c:v>0.11609341296519722</c:v>
                </c:pt>
                <c:pt idx="13124" formatCode="0.0%">
                  <c:v>0.11663581767547007</c:v>
                </c:pt>
                <c:pt idx="13125" formatCode="0.0%">
                  <c:v>0.13445133152484301</c:v>
                </c:pt>
                <c:pt idx="13126" formatCode="0.0%">
                  <c:v>0.13148180548866542</c:v>
                </c:pt>
                <c:pt idx="13127" formatCode="0.0%">
                  <c:v>0.13373505186056917</c:v>
                </c:pt>
                <c:pt idx="13128" formatCode="0.0%">
                  <c:v>0.13325282872408142</c:v>
                </c:pt>
                <c:pt idx="13129" formatCode="0.0%">
                  <c:v>0.14545511986723908</c:v>
                </c:pt>
                <c:pt idx="13130" formatCode="0.0%">
                  <c:v>0.1438793596990941</c:v>
                </c:pt>
                <c:pt idx="13131" formatCode="0.0%">
                  <c:v>0.13623863691327029</c:v>
                </c:pt>
                <c:pt idx="13132" formatCode="0.0%">
                  <c:v>0.12131020585206792</c:v>
                </c:pt>
                <c:pt idx="13133" formatCode="0.0%">
                  <c:v>0.12142415773888701</c:v>
                </c:pt>
                <c:pt idx="13134" formatCode="0.0%">
                  <c:v>0.11892963196403951</c:v>
                </c:pt>
                <c:pt idx="13135" formatCode="0.0%">
                  <c:v>0.12279628289591626</c:v>
                </c:pt>
                <c:pt idx="13136" formatCode="0.0%">
                  <c:v>0.12253433197751601</c:v>
                </c:pt>
                <c:pt idx="13137" formatCode="0.0%">
                  <c:v>0.12264162681352074</c:v>
                </c:pt>
                <c:pt idx="13138" formatCode="0.0%">
                  <c:v>0.12361868584848829</c:v>
                </c:pt>
                <c:pt idx="13139" formatCode="0.0%">
                  <c:v>0.12281814201952822</c:v>
                </c:pt>
                <c:pt idx="13140" formatCode="0.0%">
                  <c:v>0.13780194826240624</c:v>
                </c:pt>
                <c:pt idx="13141" formatCode="0.0%">
                  <c:v>0.13674829140939188</c:v>
                </c:pt>
                <c:pt idx="13142" formatCode="0.0%">
                  <c:v>0.1289286640144732</c:v>
                </c:pt>
                <c:pt idx="13143" formatCode="0.0%">
                  <c:v>0.12820320664284987</c:v>
                </c:pt>
                <c:pt idx="13144" formatCode="0.0%">
                  <c:v>0.13438447035560841</c:v>
                </c:pt>
                <c:pt idx="13145" formatCode="0.0%">
                  <c:v>0.11908888452207007</c:v>
                </c:pt>
                <c:pt idx="13146" formatCode="0.0%">
                  <c:v>0.11768456889908209</c:v>
                </c:pt>
                <c:pt idx="13147" formatCode="0.0%">
                  <c:v>0.13126851017800251</c:v>
                </c:pt>
                <c:pt idx="13148" formatCode="0.0%">
                  <c:v>0.13137490633127771</c:v>
                </c:pt>
                <c:pt idx="13149" formatCode="0.0%">
                  <c:v>0.11687905905724784</c:v>
                </c:pt>
                <c:pt idx="13150" formatCode="0.0%">
                  <c:v>0.12691199823120153</c:v>
                </c:pt>
                <c:pt idx="13151" formatCode="0.0%">
                  <c:v>0.128040639549409</c:v>
                </c:pt>
                <c:pt idx="13152" formatCode="0.0%">
                  <c:v>0.12945227824507333</c:v>
                </c:pt>
                <c:pt idx="13153" formatCode="0.0%">
                  <c:v>0.12713092209927646</c:v>
                </c:pt>
                <c:pt idx="13154" formatCode="0.0%">
                  <c:v>0.12584132455341815</c:v>
                </c:pt>
                <c:pt idx="13155" formatCode="0.0%">
                  <c:v>0.12700797356962343</c:v>
                </c:pt>
                <c:pt idx="13156" formatCode="0.0%">
                  <c:v>0.14101205727759891</c:v>
                </c:pt>
                <c:pt idx="13157" formatCode="0.0%">
                  <c:v>0.1436046082501802</c:v>
                </c:pt>
                <c:pt idx="13158" formatCode="0.0%">
                  <c:v>0.14350672023747033</c:v>
                </c:pt>
                <c:pt idx="13159" formatCode="0.0%">
                  <c:v>0.15130104582286338</c:v>
                </c:pt>
                <c:pt idx="13160" formatCode="0.0%">
                  <c:v>0.13909323747050908</c:v>
                </c:pt>
                <c:pt idx="13161" formatCode="0.0%">
                  <c:v>0.13553938568701382</c:v>
                </c:pt>
                <c:pt idx="13162" formatCode="0.0%">
                  <c:v>0.13729054333196955</c:v>
                </c:pt>
                <c:pt idx="13163" formatCode="0.0%">
                  <c:v>0.13830011623848829</c:v>
                </c:pt>
                <c:pt idx="13164" formatCode="0.0%">
                  <c:v>0.13288714239326163</c:v>
                </c:pt>
                <c:pt idx="13165" formatCode="0.0%">
                  <c:v>0.13604251003254805</c:v>
                </c:pt>
                <c:pt idx="13166" formatCode="0.0%">
                  <c:v>0.13587377512285176</c:v>
                </c:pt>
                <c:pt idx="13167" formatCode="0.0%">
                  <c:v>0.12013478705061857</c:v>
                </c:pt>
                <c:pt idx="13168" formatCode="0.0%">
                  <c:v>0.12090833768377987</c:v>
                </c:pt>
                <c:pt idx="13169" formatCode="0.0%">
                  <c:v>0.12313418513812775</c:v>
                </c:pt>
                <c:pt idx="13170" formatCode="0.0%">
                  <c:v>0.115303578709319</c:v>
                </c:pt>
                <c:pt idx="13171" formatCode="0.0%">
                  <c:v>0.11403865173506057</c:v>
                </c:pt>
                <c:pt idx="13172" formatCode="0.0%">
                  <c:v>0.11317145383770133</c:v>
                </c:pt>
                <c:pt idx="13173" formatCode="0.0%">
                  <c:v>0.1148244479702383</c:v>
                </c:pt>
                <c:pt idx="13174" formatCode="0.0%">
                  <c:v>0.11666367584803795</c:v>
                </c:pt>
                <c:pt idx="13175" formatCode="0.0%">
                  <c:v>0.11519655572263028</c:v>
                </c:pt>
                <c:pt idx="13176" formatCode="0.0%">
                  <c:v>0.10266043639461994</c:v>
                </c:pt>
                <c:pt idx="13177" formatCode="0.0%">
                  <c:v>0.10495731795787133</c:v>
                </c:pt>
                <c:pt idx="13178" formatCode="0.0%">
                  <c:v>0.10699089499845188</c:v>
                </c:pt>
                <c:pt idx="13179" formatCode="0.0%">
                  <c:v>0.10842452403636522</c:v>
                </c:pt>
                <c:pt idx="13180" formatCode="0.0%">
                  <c:v>0.10801534730830809</c:v>
                </c:pt>
                <c:pt idx="13181" formatCode="0.0%">
                  <c:v>0.12908994079883146</c:v>
                </c:pt>
                <c:pt idx="13182" formatCode="0.0%">
                  <c:v>0.13094729885539974</c:v>
                </c:pt>
                <c:pt idx="13183" formatCode="0.0%">
                  <c:v>0.13469290042434887</c:v>
                </c:pt>
                <c:pt idx="13184" formatCode="0.0%">
                  <c:v>0.14187451400454965</c:v>
                </c:pt>
                <c:pt idx="13185" formatCode="0.0%">
                  <c:v>0.13733195626316194</c:v>
                </c:pt>
                <c:pt idx="13186" formatCode="0.0%">
                  <c:v>0.14031755543998037</c:v>
                </c:pt>
                <c:pt idx="13187" formatCode="0.0%">
                  <c:v>0.13887036569091904</c:v>
                </c:pt>
                <c:pt idx="13188" formatCode="0.0%">
                  <c:v>0.14471795349114475</c:v>
                </c:pt>
                <c:pt idx="13189" formatCode="0.0%">
                  <c:v>0.15017665548459666</c:v>
                </c:pt>
                <c:pt idx="13190" formatCode="0.0%">
                  <c:v>0.14962931588582723</c:v>
                </c:pt>
                <c:pt idx="13191" formatCode="0.0%">
                  <c:v>0.1538297668809053</c:v>
                </c:pt>
                <c:pt idx="13192" formatCode="0.0%">
                  <c:v>0.16595421262420501</c:v>
                </c:pt>
                <c:pt idx="13193" formatCode="0.0%">
                  <c:v>0.16723510416348517</c:v>
                </c:pt>
                <c:pt idx="13194" formatCode="0.0%">
                  <c:v>0.16139476196523297</c:v>
                </c:pt>
                <c:pt idx="13195" formatCode="0.0%">
                  <c:v>0.16790246176124732</c:v>
                </c:pt>
                <c:pt idx="13196" formatCode="0.0%">
                  <c:v>0.16582274920667434</c:v>
                </c:pt>
                <c:pt idx="13197" formatCode="0.0%">
                  <c:v>0.16462558848053441</c:v>
                </c:pt>
                <c:pt idx="13198" formatCode="0.0%">
                  <c:v>0.16519293692938625</c:v>
                </c:pt>
                <c:pt idx="13199" formatCode="0.0%">
                  <c:v>0.15558356554410296</c:v>
                </c:pt>
                <c:pt idx="13200" formatCode="0.0%">
                  <c:v>0.1550413893999053</c:v>
                </c:pt>
                <c:pt idx="13201" formatCode="0.0%">
                  <c:v>0.14097486825046671</c:v>
                </c:pt>
                <c:pt idx="13202" formatCode="0.0%">
                  <c:v>0.14777327267280391</c:v>
                </c:pt>
                <c:pt idx="13203" formatCode="0.0%">
                  <c:v>0.14687692077411332</c:v>
                </c:pt>
                <c:pt idx="13204" formatCode="0.0%">
                  <c:v>0.14148439406410726</c:v>
                </c:pt>
                <c:pt idx="13205" formatCode="0.0%">
                  <c:v>0.14355748040806021</c:v>
                </c:pt>
                <c:pt idx="13206" formatCode="0.0%">
                  <c:v>0.14406250393592579</c:v>
                </c:pt>
                <c:pt idx="13207" formatCode="0.0%">
                  <c:v>0.14443712833700059</c:v>
                </c:pt>
                <c:pt idx="13208" formatCode="0.0%">
                  <c:v>0.14708279215612055</c:v>
                </c:pt>
                <c:pt idx="13209" formatCode="0.0%">
                  <c:v>0.1572699437051579</c:v>
                </c:pt>
                <c:pt idx="13210" formatCode="0.0%">
                  <c:v>0.17913049568903538</c:v>
                </c:pt>
                <c:pt idx="13211" formatCode="0.0%">
                  <c:v>0.18324039842398362</c:v>
                </c:pt>
                <c:pt idx="13212" formatCode="0.0%">
                  <c:v>0.17642851669024995</c:v>
                </c:pt>
                <c:pt idx="13213" formatCode="0.0%">
                  <c:v>0.17667686766649426</c:v>
                </c:pt>
                <c:pt idx="13214" formatCode="0.0%">
                  <c:v>0.17798897328554106</c:v>
                </c:pt>
                <c:pt idx="13215" formatCode="0.0%">
                  <c:v>0.1787759216613955</c:v>
                </c:pt>
                <c:pt idx="13216" formatCode="0.0%">
                  <c:v>0.18111874449032656</c:v>
                </c:pt>
                <c:pt idx="13217" formatCode="0.0%">
                  <c:v>0.18091743827547682</c:v>
                </c:pt>
                <c:pt idx="13218" formatCode="0.0%">
                  <c:v>0.18201233096953995</c:v>
                </c:pt>
                <c:pt idx="13219" formatCode="0.0%">
                  <c:v>0.18385919391435079</c:v>
                </c:pt>
                <c:pt idx="13220" formatCode="0.0%">
                  <c:v>0.18820889740292734</c:v>
                </c:pt>
                <c:pt idx="13221" formatCode="0.0%">
                  <c:v>0.187031757663145</c:v>
                </c:pt>
                <c:pt idx="13222" formatCode="0.0%">
                  <c:v>0.18336984605112081</c:v>
                </c:pt>
                <c:pt idx="13223" formatCode="0.0%">
                  <c:v>0.18819842383921581</c:v>
                </c:pt>
                <c:pt idx="13224" formatCode="0.0%">
                  <c:v>0.18863697351175623</c:v>
                </c:pt>
                <c:pt idx="13225" formatCode="0.0%">
                  <c:v>0.18830935748347968</c:v>
                </c:pt>
                <c:pt idx="13226" formatCode="0.0%">
                  <c:v>0.18743636457248711</c:v>
                </c:pt>
                <c:pt idx="13227" formatCode="0.0%">
                  <c:v>0.18594574848197049</c:v>
                </c:pt>
                <c:pt idx="13228" formatCode="0.0%">
                  <c:v>0.19215664312450317</c:v>
                </c:pt>
                <c:pt idx="13229" formatCode="0.0%">
                  <c:v>0.17876082779552174</c:v>
                </c:pt>
                <c:pt idx="13230" formatCode="0.0%">
                  <c:v>0.16748347570113536</c:v>
                </c:pt>
                <c:pt idx="13231" formatCode="0.0%">
                  <c:v>0.15947827634151562</c:v>
                </c:pt>
                <c:pt idx="13232" formatCode="0.0%">
                  <c:v>0.15291230359036667</c:v>
                </c:pt>
                <c:pt idx="13233" formatCode="0.0%">
                  <c:v>0.15709324848415257</c:v>
                </c:pt>
                <c:pt idx="13234" formatCode="0.0%">
                  <c:v>0.15680587967090318</c:v>
                </c:pt>
                <c:pt idx="13235" formatCode="0.0%">
                  <c:v>0.14814987263989382</c:v>
                </c:pt>
                <c:pt idx="13236" formatCode="0.0%">
                  <c:v>0.16100001729645452</c:v>
                </c:pt>
                <c:pt idx="13237" formatCode="0.0%">
                  <c:v>0.17290121843368558</c:v>
                </c:pt>
                <c:pt idx="13238" formatCode="0.0%">
                  <c:v>0.17269812708346194</c:v>
                </c:pt>
                <c:pt idx="13239" formatCode="0.0%">
                  <c:v>0.17195573976175202</c:v>
                </c:pt>
                <c:pt idx="13240" formatCode="0.0%">
                  <c:v>0.17236628744489535</c:v>
                </c:pt>
                <c:pt idx="13241" formatCode="0.0%">
                  <c:v>0.19445032172769983</c:v>
                </c:pt>
                <c:pt idx="13242" formatCode="0.0%">
                  <c:v>0.19560207607582283</c:v>
                </c:pt>
                <c:pt idx="13243" formatCode="0.0%">
                  <c:v>0.19057691148773381</c:v>
                </c:pt>
                <c:pt idx="13244" formatCode="0.0%">
                  <c:v>0.18885662509645063</c:v>
                </c:pt>
                <c:pt idx="13245" formatCode="0.0%">
                  <c:v>0.19236809520680823</c:v>
                </c:pt>
                <c:pt idx="13246" formatCode="0.0%">
                  <c:v>0.19170095484452473</c:v>
                </c:pt>
                <c:pt idx="13247" formatCode="0.0%">
                  <c:v>0.19306835495930083</c:v>
                </c:pt>
                <c:pt idx="13248" formatCode="0.0%">
                  <c:v>0.18212509388973119</c:v>
                </c:pt>
                <c:pt idx="13249" formatCode="0.0%">
                  <c:v>0.18510624718842381</c:v>
                </c:pt>
                <c:pt idx="13250" formatCode="0.0%">
                  <c:v>0.17218005122453611</c:v>
                </c:pt>
                <c:pt idx="13251" formatCode="0.0%">
                  <c:v>0.17191471894140503</c:v>
                </c:pt>
                <c:pt idx="13252" formatCode="0.0%">
                  <c:v>0.17082860593591653</c:v>
                </c:pt>
                <c:pt idx="13253" formatCode="0.0%">
                  <c:v>0.18938189536611374</c:v>
                </c:pt>
                <c:pt idx="13254" formatCode="0.0%">
                  <c:v>0.1894558357364815</c:v>
                </c:pt>
                <c:pt idx="13255" formatCode="0.0%">
                  <c:v>0.18753524452640238</c:v>
                </c:pt>
                <c:pt idx="13256" formatCode="0.0%">
                  <c:v>0.17981285204461381</c:v>
                </c:pt>
                <c:pt idx="13257" formatCode="0.0%">
                  <c:v>0.17908647070999945</c:v>
                </c:pt>
                <c:pt idx="13258" formatCode="0.0%">
                  <c:v>0.20445255033038295</c:v>
                </c:pt>
                <c:pt idx="13259" formatCode="0.0%">
                  <c:v>0.20441074563064179</c:v>
                </c:pt>
                <c:pt idx="13260" formatCode="0.0%">
                  <c:v>0.20712732464444691</c:v>
                </c:pt>
                <c:pt idx="13261" formatCode="0.0%">
                  <c:v>0.1832141380230087</c:v>
                </c:pt>
                <c:pt idx="13262" formatCode="0.0%">
                  <c:v>0.18390109640797997</c:v>
                </c:pt>
                <c:pt idx="13263" formatCode="0.0%">
                  <c:v>0.18252807652098876</c:v>
                </c:pt>
                <c:pt idx="13264" formatCode="0.0%">
                  <c:v>0.185556585616137</c:v>
                </c:pt>
                <c:pt idx="13265" formatCode="0.0%">
                  <c:v>0.18985725552012039</c:v>
                </c:pt>
                <c:pt idx="13266" formatCode="0.0%">
                  <c:v>0.19003930773624228</c:v>
                </c:pt>
                <c:pt idx="13267" formatCode="0.0%">
                  <c:v>0.18706047031683984</c:v>
                </c:pt>
                <c:pt idx="13268" formatCode="0.0%">
                  <c:v>0.19549584479700477</c:v>
                </c:pt>
                <c:pt idx="13269" formatCode="0.0%">
                  <c:v>0.1949667554624408</c:v>
                </c:pt>
                <c:pt idx="13270" formatCode="0.0%">
                  <c:v>0.19350148259251376</c:v>
                </c:pt>
                <c:pt idx="13271" formatCode="0.0%">
                  <c:v>0.19305925650593578</c:v>
                </c:pt>
                <c:pt idx="13272" formatCode="0.0%">
                  <c:v>0.19568022236211885</c:v>
                </c:pt>
                <c:pt idx="13273" formatCode="0.0%">
                  <c:v>0.17817632449817078</c:v>
                </c:pt>
                <c:pt idx="13274" formatCode="0.0%">
                  <c:v>0.17864390375376793</c:v>
                </c:pt>
                <c:pt idx="13275" formatCode="0.0%">
                  <c:v>0.17931580010326625</c:v>
                </c:pt>
                <c:pt idx="13276" formatCode="0.0%">
                  <c:v>0.18416444848898644</c:v>
                </c:pt>
                <c:pt idx="13277" formatCode="0.0%">
                  <c:v>0.17046734721810267</c:v>
                </c:pt>
                <c:pt idx="13278" formatCode="0.0%">
                  <c:v>0.16314259809733786</c:v>
                </c:pt>
                <c:pt idx="13279" formatCode="0.0%">
                  <c:v>0.17352241235707097</c:v>
                </c:pt>
                <c:pt idx="13280" formatCode="0.0%">
                  <c:v>0.15979638942017557</c:v>
                </c:pt>
                <c:pt idx="13281" formatCode="0.0%">
                  <c:v>0.15637851554971469</c:v>
                </c:pt>
                <c:pt idx="13282" formatCode="0.0%">
                  <c:v>0.15006902011170928</c:v>
                </c:pt>
                <c:pt idx="13283" formatCode="0.0%">
                  <c:v>0.15006941302909205</c:v>
                </c:pt>
                <c:pt idx="13284" formatCode="0.0%">
                  <c:v>0.14840573232956206</c:v>
                </c:pt>
                <c:pt idx="13285" formatCode="0.0%">
                  <c:v>0.1363944343546698</c:v>
                </c:pt>
                <c:pt idx="13286" formatCode="0.0%">
                  <c:v>0.13701375736064683</c:v>
                </c:pt>
                <c:pt idx="13287" formatCode="0.0%">
                  <c:v>0.15448449826988508</c:v>
                </c:pt>
                <c:pt idx="13288" formatCode="0.0%">
                  <c:v>0.14213083158479181</c:v>
                </c:pt>
                <c:pt idx="13289" formatCode="0.0%">
                  <c:v>0.14402552975547628</c:v>
                </c:pt>
                <c:pt idx="13290" formatCode="0.0%">
                  <c:v>0.14234085327078988</c:v>
                </c:pt>
                <c:pt idx="13291" formatCode="0.0%">
                  <c:v>0.13979471812878069</c:v>
                </c:pt>
                <c:pt idx="13292" formatCode="0.0%">
                  <c:v>0.14224702220208943</c:v>
                </c:pt>
                <c:pt idx="13293" formatCode="0.0%">
                  <c:v>0.14239942017582952</c:v>
                </c:pt>
                <c:pt idx="13294" formatCode="0.0%">
                  <c:v>0.14122786727011361</c:v>
                </c:pt>
                <c:pt idx="13295" formatCode="0.0%">
                  <c:v>0.13960856381889367</c:v>
                </c:pt>
                <c:pt idx="13296" formatCode="0.0%">
                  <c:v>0.14261809791527258</c:v>
                </c:pt>
                <c:pt idx="13297" formatCode="0.0%">
                  <c:v>0.15304474025427806</c:v>
                </c:pt>
                <c:pt idx="13298" formatCode="0.0%">
                  <c:v>0.13691345923211684</c:v>
                </c:pt>
                <c:pt idx="13299" formatCode="0.0%">
                  <c:v>0.13323062779502293</c:v>
                </c:pt>
                <c:pt idx="13300" formatCode="0.0%">
                  <c:v>0.13598741033009032</c:v>
                </c:pt>
                <c:pt idx="13301" formatCode="0.0%">
                  <c:v>0.13965181213143493</c:v>
                </c:pt>
                <c:pt idx="13302" formatCode="0.0%">
                  <c:v>0.13973709017493288</c:v>
                </c:pt>
                <c:pt idx="13303" formatCode="0.0%">
                  <c:v>0.14097625489748891</c:v>
                </c:pt>
                <c:pt idx="13304" formatCode="0.0%">
                  <c:v>0.13865716565807262</c:v>
                </c:pt>
                <c:pt idx="13305" formatCode="0.0%">
                  <c:v>0.13644860160128447</c:v>
                </c:pt>
                <c:pt idx="13306" formatCode="0.0%">
                  <c:v>0.14054735881008831</c:v>
                </c:pt>
                <c:pt idx="13307" formatCode="0.0%">
                  <c:v>0.12584390912298468</c:v>
                </c:pt>
                <c:pt idx="13308" formatCode="0.0%">
                  <c:v>0.13460218921108405</c:v>
                </c:pt>
                <c:pt idx="13309" formatCode="0.0%">
                  <c:v>0.13242170147022084</c:v>
                </c:pt>
                <c:pt idx="13310" formatCode="0.0%">
                  <c:v>0.13503932146173286</c:v>
                </c:pt>
                <c:pt idx="13311" formatCode="0.0%">
                  <c:v>0.13493929701535448</c:v>
                </c:pt>
                <c:pt idx="13312" formatCode="0.0%">
                  <c:v>0.13394501905550144</c:v>
                </c:pt>
                <c:pt idx="13313" formatCode="0.0%">
                  <c:v>0.14040323164153234</c:v>
                </c:pt>
                <c:pt idx="13314" formatCode="0.0%">
                  <c:v>0.14397726644238648</c:v>
                </c:pt>
                <c:pt idx="13315" formatCode="0.0%">
                  <c:v>0.14346015877221996</c:v>
                </c:pt>
                <c:pt idx="13316" formatCode="0.0%">
                  <c:v>0.12758541494040723</c:v>
                </c:pt>
                <c:pt idx="13317" formatCode="0.0%">
                  <c:v>0.12124079114201296</c:v>
                </c:pt>
                <c:pt idx="13318" formatCode="0.0%">
                  <c:v>0.1245647952373897</c:v>
                </c:pt>
                <c:pt idx="13319" formatCode="0.0%">
                  <c:v>0.12136798597972863</c:v>
                </c:pt>
                <c:pt idx="13320" formatCode="0.0%">
                  <c:v>0.12345418525060786</c:v>
                </c:pt>
                <c:pt idx="13321" formatCode="0.0%">
                  <c:v>0.11892777988578901</c:v>
                </c:pt>
                <c:pt idx="13322" formatCode="0.0%">
                  <c:v>0.11992650700367086</c:v>
                </c:pt>
                <c:pt idx="13323" formatCode="0.0%">
                  <c:v>0.14385657516858599</c:v>
                </c:pt>
                <c:pt idx="13324" formatCode="0.0%">
                  <c:v>0.14122168973509269</c:v>
                </c:pt>
                <c:pt idx="13325" formatCode="0.0%">
                  <c:v>0.14318666810024652</c:v>
                </c:pt>
                <c:pt idx="13326" formatCode="0.0%">
                  <c:v>0.14565877915470096</c:v>
                </c:pt>
                <c:pt idx="13327" formatCode="0.0%">
                  <c:v>0.14525709660231079</c:v>
                </c:pt>
                <c:pt idx="13328" formatCode="0.0%">
                  <c:v>0.1345432079905928</c:v>
                </c:pt>
                <c:pt idx="13329" formatCode="0.0%">
                  <c:v>0.13427525264028933</c:v>
                </c:pt>
                <c:pt idx="13330" formatCode="0.0%">
                  <c:v>0.13769728256178762</c:v>
                </c:pt>
                <c:pt idx="13331" formatCode="0.0%">
                  <c:v>0.14259963898036004</c:v>
                </c:pt>
                <c:pt idx="13332" formatCode="0.0%">
                  <c:v>0.15115821619734077</c:v>
                </c:pt>
                <c:pt idx="13333" formatCode="0.0%">
                  <c:v>0.15073719269838887</c:v>
                </c:pt>
                <c:pt idx="13334" formatCode="0.0%">
                  <c:v>0.15668674518821721</c:v>
                </c:pt>
                <c:pt idx="13335" formatCode="0.0%">
                  <c:v>0.15642209890854009</c:v>
                </c:pt>
                <c:pt idx="13336" formatCode="0.0%">
                  <c:v>0.15519715838101836</c:v>
                </c:pt>
                <c:pt idx="13337" formatCode="0.0%">
                  <c:v>0.15538260745398244</c:v>
                </c:pt>
                <c:pt idx="13338" formatCode="0.0%">
                  <c:v>0.15229824697956723</c:v>
                </c:pt>
                <c:pt idx="13339" formatCode="0.0%">
                  <c:v>0.15496477518644042</c:v>
                </c:pt>
                <c:pt idx="13340" formatCode="0.0%">
                  <c:v>0.15948989616453865</c:v>
                </c:pt>
                <c:pt idx="13341" formatCode="0.0%">
                  <c:v>0.1579428915108253</c:v>
                </c:pt>
                <c:pt idx="13342" formatCode="0.0%">
                  <c:v>0.15810735571602011</c:v>
                </c:pt>
                <c:pt idx="13343" formatCode="0.0%">
                  <c:v>0.13358734226384159</c:v>
                </c:pt>
                <c:pt idx="13344" formatCode="0.0%">
                  <c:v>0.13367094858817205</c:v>
                </c:pt>
                <c:pt idx="13345" formatCode="0.0%">
                  <c:v>0.13190928169256805</c:v>
                </c:pt>
                <c:pt idx="13346" formatCode="0.0%">
                  <c:v>0.13103564558334116</c:v>
                </c:pt>
                <c:pt idx="13347" formatCode="0.0%">
                  <c:v>0.13716886013977692</c:v>
                </c:pt>
                <c:pt idx="13348" formatCode="0.0%">
                  <c:v>0.13615119598066994</c:v>
                </c:pt>
                <c:pt idx="13349" formatCode="0.0%">
                  <c:v>0.13656252629431015</c:v>
                </c:pt>
                <c:pt idx="13350" formatCode="0.0%">
                  <c:v>0.13355283387267461</c:v>
                </c:pt>
                <c:pt idx="13351" formatCode="0.0%">
                  <c:v>0.13097513634759114</c:v>
                </c:pt>
                <c:pt idx="13352" formatCode="0.0%">
                  <c:v>0.11204955280364433</c:v>
                </c:pt>
                <c:pt idx="13353" formatCode="0.0%">
                  <c:v>0.11587166272515032</c:v>
                </c:pt>
                <c:pt idx="13354" formatCode="0.0%">
                  <c:v>0.10786070986487171</c:v>
                </c:pt>
                <c:pt idx="13355" formatCode="0.0%">
                  <c:v>0.11190295804547773</c:v>
                </c:pt>
                <c:pt idx="13356" formatCode="0.0%">
                  <c:v>0.1061636223193924</c:v>
                </c:pt>
                <c:pt idx="13357" formatCode="0.0%">
                  <c:v>0.10432641370213724</c:v>
                </c:pt>
                <c:pt idx="13358" formatCode="0.0%">
                  <c:v>0.10434284368022941</c:v>
                </c:pt>
                <c:pt idx="13359" formatCode="0.0%">
                  <c:v>0.11494142378282103</c:v>
                </c:pt>
                <c:pt idx="13360" formatCode="0.0%">
                  <c:v>0.10910189742888883</c:v>
                </c:pt>
                <c:pt idx="13361" formatCode="0.0%">
                  <c:v>0.11041629702228113</c:v>
                </c:pt>
                <c:pt idx="13362" formatCode="0.0%">
                  <c:v>0.10975782496468593</c:v>
                </c:pt>
                <c:pt idx="13363" formatCode="0.0%">
                  <c:v>0.10980819517096001</c:v>
                </c:pt>
                <c:pt idx="13364" formatCode="0.0%">
                  <c:v>0.12023072462790212</c:v>
                </c:pt>
                <c:pt idx="13365" formatCode="0.0%">
                  <c:v>0.12055841775331344</c:v>
                </c:pt>
                <c:pt idx="13366" formatCode="0.0%">
                  <c:v>0.12017583610527187</c:v>
                </c:pt>
                <c:pt idx="13367" formatCode="0.0%">
                  <c:v>0.11427952368490135</c:v>
                </c:pt>
                <c:pt idx="13368" formatCode="0.0%">
                  <c:v>0.11634069287681809</c:v>
                </c:pt>
                <c:pt idx="13369" formatCode="0.0%">
                  <c:v>0.11469755279819205</c:v>
                </c:pt>
                <c:pt idx="13370" formatCode="0.0%">
                  <c:v>0.11119661631068892</c:v>
                </c:pt>
                <c:pt idx="13371" formatCode="0.0%">
                  <c:v>0.11119645076474624</c:v>
                </c:pt>
                <c:pt idx="13372" formatCode="0.0%">
                  <c:v>0.11123879690279169</c:v>
                </c:pt>
                <c:pt idx="13373" formatCode="0.0%">
                  <c:v>0.10531862155945762</c:v>
                </c:pt>
                <c:pt idx="13374" formatCode="0.0%">
                  <c:v>0.11338935231043351</c:v>
                </c:pt>
                <c:pt idx="13375" formatCode="0.0%">
                  <c:v>0.11357498906148529</c:v>
                </c:pt>
                <c:pt idx="13376" formatCode="0.0%">
                  <c:v>0.10846712664814533</c:v>
                </c:pt>
                <c:pt idx="13377" formatCode="0.0%">
                  <c:v>0.11081707378032307</c:v>
                </c:pt>
                <c:pt idx="13378" formatCode="0.0%">
                  <c:v>0.11089184978703415</c:v>
                </c:pt>
                <c:pt idx="13379" formatCode="0.0%">
                  <c:v>0.10744153148357106</c:v>
                </c:pt>
                <c:pt idx="13380" formatCode="0.0%">
                  <c:v>0.10699878662480582</c:v>
                </c:pt>
                <c:pt idx="13381" formatCode="0.0%">
                  <c:v>0.10647612458585848</c:v>
                </c:pt>
                <c:pt idx="13382" formatCode="0.0%">
                  <c:v>0.10923756324243875</c:v>
                </c:pt>
                <c:pt idx="13383" formatCode="0.0%">
                  <c:v>0.10923269560725671</c:v>
                </c:pt>
                <c:pt idx="13384" formatCode="0.0%">
                  <c:v>9.4069192122030534E-2</c:v>
                </c:pt>
                <c:pt idx="13385" formatCode="0.0%">
                  <c:v>9.079554592355038E-2</c:v>
                </c:pt>
                <c:pt idx="13386" formatCode="0.0%">
                  <c:v>9.7278533514932888E-2</c:v>
                </c:pt>
                <c:pt idx="13387" formatCode="0.0%">
                  <c:v>9.6462443637188922E-2</c:v>
                </c:pt>
                <c:pt idx="13388" formatCode="0.0%">
                  <c:v>9.3899884881229106E-2</c:v>
                </c:pt>
                <c:pt idx="13389" formatCode="0.0%">
                  <c:v>0.10191582767743659</c:v>
                </c:pt>
                <c:pt idx="13390" formatCode="0.0%">
                  <c:v>0.10589015773124828</c:v>
                </c:pt>
                <c:pt idx="13391" formatCode="0.0%">
                  <c:v>0.11572173125970313</c:v>
                </c:pt>
                <c:pt idx="13392" formatCode="0.0%">
                  <c:v>0.11679399681319838</c:v>
                </c:pt>
                <c:pt idx="13393" formatCode="0.0%">
                  <c:v>0.11652904193662755</c:v>
                </c:pt>
                <c:pt idx="13394" formatCode="0.0%">
                  <c:v>0.11610883278493804</c:v>
                </c:pt>
                <c:pt idx="13395" formatCode="0.0%">
                  <c:v>0.11427161806802622</c:v>
                </c:pt>
                <c:pt idx="13396" formatCode="0.0%">
                  <c:v>0.11414717528208755</c:v>
                </c:pt>
                <c:pt idx="13397" formatCode="0.0%">
                  <c:v>0.11197128101307337</c:v>
                </c:pt>
                <c:pt idx="13398" formatCode="0.0%">
                  <c:v>0.11332872075469305</c:v>
                </c:pt>
                <c:pt idx="13399" formatCode="0.0%">
                  <c:v>0.1036220550188328</c:v>
                </c:pt>
                <c:pt idx="13400" formatCode="0.0%">
                  <c:v>0.1110196463692366</c:v>
                </c:pt>
                <c:pt idx="13401" formatCode="0.0%">
                  <c:v>0.11451685142234426</c:v>
                </c:pt>
                <c:pt idx="13402" formatCode="0.0%">
                  <c:v>0.11175584290003743</c:v>
                </c:pt>
                <c:pt idx="13403" formatCode="0.0%">
                  <c:v>0.1157764935862113</c:v>
                </c:pt>
                <c:pt idx="13404" formatCode="0.0%">
                  <c:v>0.11600818612377067</c:v>
                </c:pt>
                <c:pt idx="13405" formatCode="0.0%">
                  <c:v>0.11958578895112348</c:v>
                </c:pt>
                <c:pt idx="13406" formatCode="0.0%">
                  <c:v>0.1113125114463496</c:v>
                </c:pt>
                <c:pt idx="13407" formatCode="0.0%">
                  <c:v>0.11209430301031255</c:v>
                </c:pt>
                <c:pt idx="13408" formatCode="0.0%">
                  <c:v>0.11190251616306197</c:v>
                </c:pt>
                <c:pt idx="13409" formatCode="0.0%">
                  <c:v>0.1080043680493105</c:v>
                </c:pt>
                <c:pt idx="13410" formatCode="0.0%">
                  <c:v>0.1021809754663396</c:v>
                </c:pt>
                <c:pt idx="13411" formatCode="0.0%">
                  <c:v>9.3564696892750196E-2</c:v>
                </c:pt>
                <c:pt idx="13412" formatCode="0.0%">
                  <c:v>0.10616162823001962</c:v>
                </c:pt>
                <c:pt idx="13413" formatCode="0.0%">
                  <c:v>0.10624941659445244</c:v>
                </c:pt>
                <c:pt idx="13414" formatCode="0.0%">
                  <c:v>9.9994430815583762E-2</c:v>
                </c:pt>
                <c:pt idx="13415" formatCode="0.0%">
                  <c:v>0.10064431565561351</c:v>
                </c:pt>
                <c:pt idx="13416" formatCode="0.0%">
                  <c:v>0.10664399154037679</c:v>
                </c:pt>
                <c:pt idx="13417" formatCode="0.0%">
                  <c:v>0.11591786669754793</c:v>
                </c:pt>
                <c:pt idx="13418" formatCode="0.0%">
                  <c:v>0.11632337562435952</c:v>
                </c:pt>
                <c:pt idx="13419" formatCode="0.0%">
                  <c:v>0.11535616894373794</c:v>
                </c:pt>
                <c:pt idx="13420" formatCode="0.0%">
                  <c:v>0.11146608498870557</c:v>
                </c:pt>
                <c:pt idx="13421" formatCode="0.0%">
                  <c:v>0.10887167822291186</c:v>
                </c:pt>
                <c:pt idx="13422" formatCode="0.0%">
                  <c:v>0.10255011385558126</c:v>
                </c:pt>
                <c:pt idx="13423" formatCode="0.0%">
                  <c:v>0.10711081308299004</c:v>
                </c:pt>
                <c:pt idx="13424" formatCode="0.0%">
                  <c:v>0.10788506310401853</c:v>
                </c:pt>
                <c:pt idx="13425" formatCode="0.0%">
                  <c:v>0.10572532524781923</c:v>
                </c:pt>
                <c:pt idx="13426" formatCode="0.0%">
                  <c:v>0.10948098267741226</c:v>
                </c:pt>
                <c:pt idx="13427" formatCode="0.0%">
                  <c:v>0.11089757405333023</c:v>
                </c:pt>
                <c:pt idx="13428" formatCode="0.0%">
                  <c:v>0.11502913831510429</c:v>
                </c:pt>
                <c:pt idx="13429" formatCode="0.0%">
                  <c:v>0.11573558626412792</c:v>
                </c:pt>
                <c:pt idx="13430" formatCode="0.0%">
                  <c:v>0.11572884395589639</c:v>
                </c:pt>
                <c:pt idx="13431" formatCode="0.0%">
                  <c:v>0.11960082131068309</c:v>
                </c:pt>
                <c:pt idx="13432" formatCode="0.0%">
                  <c:v>0.11011235201892759</c:v>
                </c:pt>
                <c:pt idx="13433" formatCode="0.0%">
                  <c:v>0.1143980214997168</c:v>
                </c:pt>
                <c:pt idx="13434" formatCode="0.0%">
                  <c:v>0.10808650776025519</c:v>
                </c:pt>
                <c:pt idx="13435" formatCode="0.0%">
                  <c:v>0.10804762237141631</c:v>
                </c:pt>
                <c:pt idx="13436" formatCode="0.0%">
                  <c:v>0.11333608263673002</c:v>
                </c:pt>
                <c:pt idx="13437" formatCode="0.0%">
                  <c:v>0.14768255449841833</c:v>
                </c:pt>
                <c:pt idx="13438" formatCode="0.0%">
                  <c:v>0.14867625279181568</c:v>
                </c:pt>
                <c:pt idx="13439" formatCode="0.0%">
                  <c:v>0.1513286479939473</c:v>
                </c:pt>
                <c:pt idx="13440" formatCode="0.0%">
                  <c:v>0.15204181489383753</c:v>
                </c:pt>
                <c:pt idx="13441" formatCode="0.0%">
                  <c:v>0.15029181016440799</c:v>
                </c:pt>
                <c:pt idx="13442" formatCode="0.0%">
                  <c:v>0.15280202891909106</c:v>
                </c:pt>
                <c:pt idx="13443" formatCode="0.0%">
                  <c:v>0.14433044016991911</c:v>
                </c:pt>
                <c:pt idx="13444" formatCode="0.0%">
                  <c:v>0.14328832568220101</c:v>
                </c:pt>
                <c:pt idx="13445" formatCode="0.0%">
                  <c:v>0.1518862792746159</c:v>
                </c:pt>
                <c:pt idx="13446" formatCode="0.0%">
                  <c:v>0.15282760004798879</c:v>
                </c:pt>
                <c:pt idx="13447" formatCode="0.0%">
                  <c:v>0.15396876920894303</c:v>
                </c:pt>
                <c:pt idx="13448" formatCode="0.0%">
                  <c:v>0.14695301915334485</c:v>
                </c:pt>
                <c:pt idx="13449" formatCode="0.0%">
                  <c:v>0.16424049948895258</c:v>
                </c:pt>
                <c:pt idx="13450" formatCode="0.0%">
                  <c:v>0.17440354424196255</c:v>
                </c:pt>
                <c:pt idx="13451" formatCode="0.0%">
                  <c:v>0.17444418459103259</c:v>
                </c:pt>
                <c:pt idx="13452" formatCode="0.0%">
                  <c:v>0.17378269028941579</c:v>
                </c:pt>
                <c:pt idx="13453" formatCode="0.0%">
                  <c:v>0.17352975857916147</c:v>
                </c:pt>
                <c:pt idx="13454" formatCode="0.0%">
                  <c:v>0.17469523314997859</c:v>
                </c:pt>
                <c:pt idx="13455" formatCode="0.0%">
                  <c:v>0.17289656776882212</c:v>
                </c:pt>
                <c:pt idx="13456" formatCode="0.0%">
                  <c:v>0.17872937404776246</c:v>
                </c:pt>
                <c:pt idx="13457" formatCode="0.0%">
                  <c:v>0.15374411225417486</c:v>
                </c:pt>
                <c:pt idx="13458" formatCode="0.0%">
                  <c:v>0.15125759166587815</c:v>
                </c:pt>
                <c:pt idx="13459" formatCode="0.0%">
                  <c:v>0.15019885494083754</c:v>
                </c:pt>
                <c:pt idx="13460" formatCode="0.0%">
                  <c:v>0.15799172814923018</c:v>
                </c:pt>
                <c:pt idx="13461" formatCode="0.0%">
                  <c:v>0.18585622856554992</c:v>
                </c:pt>
                <c:pt idx="13462" formatCode="0.0%">
                  <c:v>0.18562220230983528</c:v>
                </c:pt>
                <c:pt idx="13463" formatCode="0.0%">
                  <c:v>0.1856900842875234</c:v>
                </c:pt>
                <c:pt idx="13464" formatCode="0.0%">
                  <c:v>0.18805269633802726</c:v>
                </c:pt>
                <c:pt idx="13465" formatCode="0.0%">
                  <c:v>0.19373950227274769</c:v>
                </c:pt>
                <c:pt idx="13466" formatCode="0.0%">
                  <c:v>0.19093504135569359</c:v>
                </c:pt>
                <c:pt idx="13467" formatCode="0.0%">
                  <c:v>0.17972430388945446</c:v>
                </c:pt>
                <c:pt idx="13468" formatCode="0.0%">
                  <c:v>0.18764798751680917</c:v>
                </c:pt>
                <c:pt idx="13469" formatCode="0.0%">
                  <c:v>0.18292401430622274</c:v>
                </c:pt>
                <c:pt idx="13470" formatCode="0.0%">
                  <c:v>0.17992019374276055</c:v>
                </c:pt>
                <c:pt idx="13471" formatCode="0.0%">
                  <c:v>0.17774940482321536</c:v>
                </c:pt>
                <c:pt idx="13472" formatCode="0.0%">
                  <c:v>0.17567709392367939</c:v>
                </c:pt>
                <c:pt idx="13473" formatCode="0.0%">
                  <c:v>0.18590352129267462</c:v>
                </c:pt>
                <c:pt idx="13474" formatCode="0.0%">
                  <c:v>0.17945789354073041</c:v>
                </c:pt>
                <c:pt idx="13475" formatCode="0.0%">
                  <c:v>0.17771943780435051</c:v>
                </c:pt>
                <c:pt idx="13476" formatCode="0.0%">
                  <c:v>0.17594833095969811</c:v>
                </c:pt>
                <c:pt idx="13477" formatCode="0.0%">
                  <c:v>0.17818978248447057</c:v>
                </c:pt>
                <c:pt idx="13478" formatCode="0.0%">
                  <c:v>0.17437200161821612</c:v>
                </c:pt>
                <c:pt idx="13479" formatCode="0.0%">
                  <c:v>0.17350738097278115</c:v>
                </c:pt>
                <c:pt idx="13480" formatCode="0.0%">
                  <c:v>0.15916318968953896</c:v>
                </c:pt>
                <c:pt idx="13481" formatCode="0.0%">
                  <c:v>0.13824092134832969</c:v>
                </c:pt>
                <c:pt idx="13482" formatCode="0.0%">
                  <c:v>0.14122160119718491</c:v>
                </c:pt>
                <c:pt idx="13483" formatCode="0.0%">
                  <c:v>0.14120123221634123</c:v>
                </c:pt>
                <c:pt idx="13484" formatCode="0.0%">
                  <c:v>0.14005095920013241</c:v>
                </c:pt>
                <c:pt idx="13485" formatCode="0.0%">
                  <c:v>0.14796853273173413</c:v>
                </c:pt>
                <c:pt idx="13486" formatCode="0.0%">
                  <c:v>0.16080349302391683</c:v>
                </c:pt>
                <c:pt idx="13487" formatCode="0.0%">
                  <c:v>0.16072521780691246</c:v>
                </c:pt>
                <c:pt idx="13488" formatCode="0.0%">
                  <c:v>0.15246887183406632</c:v>
                </c:pt>
                <c:pt idx="13489" formatCode="0.0%">
                  <c:v>0.15505278545834927</c:v>
                </c:pt>
                <c:pt idx="13490" formatCode="0.0%">
                  <c:v>0.15505991146998019</c:v>
                </c:pt>
                <c:pt idx="13491" formatCode="0.0%">
                  <c:v>0.1555732964515526</c:v>
                </c:pt>
                <c:pt idx="13492" formatCode="0.0%">
                  <c:v>0.15658934022443785</c:v>
                </c:pt>
                <c:pt idx="13493" formatCode="0.0%">
                  <c:v>0.13978082280355669</c:v>
                </c:pt>
                <c:pt idx="13494" formatCode="0.0%">
                  <c:v>0.13804516396178237</c:v>
                </c:pt>
                <c:pt idx="13495" formatCode="0.0%">
                  <c:v>0.14530258830373816</c:v>
                </c:pt>
                <c:pt idx="13496" formatCode="0.0%">
                  <c:v>0.15209578364754303</c:v>
                </c:pt>
                <c:pt idx="13497" formatCode="0.0%">
                  <c:v>0.14953258007216358</c:v>
                </c:pt>
                <c:pt idx="13498" formatCode="0.0%">
                  <c:v>0.15193613777505111</c:v>
                </c:pt>
                <c:pt idx="13499" formatCode="0.0%">
                  <c:v>0.15173295400635428</c:v>
                </c:pt>
                <c:pt idx="13500" formatCode="0.0%">
                  <c:v>0.15007632784213421</c:v>
                </c:pt>
                <c:pt idx="13501" formatCode="0.0%">
                  <c:v>0.14916001341715679</c:v>
                </c:pt>
                <c:pt idx="13502" formatCode="0.0%">
                  <c:v>0.15496271056867375</c:v>
                </c:pt>
                <c:pt idx="13503" formatCode="0.0%">
                  <c:v>0.15523089761538483</c:v>
                </c:pt>
                <c:pt idx="13504" formatCode="0.0%">
                  <c:v>0.15558729542179794</c:v>
                </c:pt>
                <c:pt idx="13505" formatCode="0.0%">
                  <c:v>0.13777776579949857</c:v>
                </c:pt>
                <c:pt idx="13506" formatCode="0.0%">
                  <c:v>0.12273331526134028</c:v>
                </c:pt>
                <c:pt idx="13507" formatCode="0.0%">
                  <c:v>0.12878185129481304</c:v>
                </c:pt>
                <c:pt idx="13508" formatCode="0.0%">
                  <c:v>0.12935713470838719</c:v>
                </c:pt>
                <c:pt idx="13509" formatCode="0.0%">
                  <c:v>0.12757984674507028</c:v>
                </c:pt>
                <c:pt idx="13510" formatCode="0.0%">
                  <c:v>0.12889988306881511</c:v>
                </c:pt>
                <c:pt idx="13511" formatCode="0.0%">
                  <c:v>0.12871525357227667</c:v>
                </c:pt>
                <c:pt idx="13512" formatCode="0.0%">
                  <c:v>0.12805975797762476</c:v>
                </c:pt>
                <c:pt idx="13513" formatCode="0.0%">
                  <c:v>0.12806260975480069</c:v>
                </c:pt>
                <c:pt idx="13514" formatCode="0.0%">
                  <c:v>0.13058935817884562</c:v>
                </c:pt>
                <c:pt idx="13515" formatCode="0.0%">
                  <c:v>0.13813682087926929</c:v>
                </c:pt>
                <c:pt idx="13516" formatCode="0.0%">
                  <c:v>0.13031583614412609</c:v>
                </c:pt>
                <c:pt idx="13517" formatCode="0.0%">
                  <c:v>0.12954320915173387</c:v>
                </c:pt>
                <c:pt idx="13518" formatCode="0.0%">
                  <c:v>0.12726874275400676</c:v>
                </c:pt>
                <c:pt idx="13519" formatCode="0.0%">
                  <c:v>0.12873181995940522</c:v>
                </c:pt>
                <c:pt idx="13520" formatCode="0.0%">
                  <c:v>0.12809774243087405</c:v>
                </c:pt>
                <c:pt idx="13521" formatCode="0.0%">
                  <c:v>0.12894966575786462</c:v>
                </c:pt>
                <c:pt idx="13522" formatCode="0.0%">
                  <c:v>0.11705832327519915</c:v>
                </c:pt>
                <c:pt idx="13523" formatCode="0.0%">
                  <c:v>0.11602060714684785</c:v>
                </c:pt>
                <c:pt idx="13524" formatCode="0.0%">
                  <c:v>0.11115541437873699</c:v>
                </c:pt>
                <c:pt idx="13525" formatCode="0.0%">
                  <c:v>0.1036547590299793</c:v>
                </c:pt>
                <c:pt idx="13526" formatCode="0.0%">
                  <c:v>0.10662962118679588</c:v>
                </c:pt>
                <c:pt idx="13527" formatCode="0.0%">
                  <c:v>0.10084800826975382</c:v>
                </c:pt>
                <c:pt idx="13528" formatCode="0.0%">
                  <c:v>9.9995551128126067E-2</c:v>
                </c:pt>
                <c:pt idx="13529" formatCode="0.0%">
                  <c:v>0.11823203197544331</c:v>
                </c:pt>
                <c:pt idx="13530" formatCode="0.0%">
                  <c:v>0.11747994247513391</c:v>
                </c:pt>
                <c:pt idx="13531" formatCode="0.0%">
                  <c:v>0.11747105849965962</c:v>
                </c:pt>
                <c:pt idx="13532" formatCode="0.0%">
                  <c:v>0.11740701563107335</c:v>
                </c:pt>
                <c:pt idx="13533" formatCode="0.0%">
                  <c:v>0.13777696099188236</c:v>
                </c:pt>
                <c:pt idx="13534" formatCode="0.0%">
                  <c:v>0.13746454270671418</c:v>
                </c:pt>
                <c:pt idx="13535" formatCode="0.0%">
                  <c:v>0.13178015063177739</c:v>
                </c:pt>
                <c:pt idx="13536" formatCode="0.0%">
                  <c:v>0.13456003404300371</c:v>
                </c:pt>
                <c:pt idx="13537" formatCode="0.0%">
                  <c:v>0.13891971455782981</c:v>
                </c:pt>
                <c:pt idx="13538" formatCode="0.0%">
                  <c:v>0.14058952608816055</c:v>
                </c:pt>
                <c:pt idx="13539" formatCode="0.0%">
                  <c:v>0.13872216145968996</c:v>
                </c:pt>
                <c:pt idx="13540" formatCode="0.0%">
                  <c:v>0.13888192418296275</c:v>
                </c:pt>
                <c:pt idx="13541" formatCode="0.0%">
                  <c:v>0.14141795043708866</c:v>
                </c:pt>
                <c:pt idx="13542" formatCode="0.0%">
                  <c:v>0.14128577282340823</c:v>
                </c:pt>
                <c:pt idx="13543" formatCode="0.0%">
                  <c:v>0.14067263240330996</c:v>
                </c:pt>
                <c:pt idx="13544" formatCode="0.0%">
                  <c:v>0.1406988186927155</c:v>
                </c:pt>
                <c:pt idx="13545" formatCode="0.0%">
                  <c:v>0.14078064993527245</c:v>
                </c:pt>
                <c:pt idx="13546" formatCode="0.0%">
                  <c:v>0.18655233295066195</c:v>
                </c:pt>
                <c:pt idx="13547" formatCode="0.0%">
                  <c:v>0.19258401862163191</c:v>
                </c:pt>
                <c:pt idx="13548" formatCode="0.0%">
                  <c:v>0.20629133116364914</c:v>
                </c:pt>
                <c:pt idx="13549" formatCode="0.0%">
                  <c:v>0.19242433108044499</c:v>
                </c:pt>
                <c:pt idx="13550" formatCode="0.0%">
                  <c:v>0.19603753655520692</c:v>
                </c:pt>
                <c:pt idx="13551" formatCode="0.0%">
                  <c:v>0.19601594288371765</c:v>
                </c:pt>
                <c:pt idx="13552" formatCode="0.0%">
                  <c:v>0.19698442668970839</c:v>
                </c:pt>
                <c:pt idx="13553" formatCode="0.0%">
                  <c:v>0.19585137898004359</c:v>
                </c:pt>
                <c:pt idx="13554" formatCode="0.0%">
                  <c:v>0.19732211329108615</c:v>
                </c:pt>
                <c:pt idx="13555" formatCode="0.0%">
                  <c:v>0.19558486820863621</c:v>
                </c:pt>
                <c:pt idx="13556" formatCode="0.0%">
                  <c:v>0.19445381058634911</c:v>
                </c:pt>
                <c:pt idx="13557" formatCode="0.0%">
                  <c:v>0.19253897332420092</c:v>
                </c:pt>
                <c:pt idx="13558" formatCode="0.0%">
                  <c:v>0.18999786329005894</c:v>
                </c:pt>
                <c:pt idx="13559" formatCode="0.0%">
                  <c:v>0.18694530533668938</c:v>
                </c:pt>
                <c:pt idx="13560" formatCode="0.0%">
                  <c:v>0.18610453384205519</c:v>
                </c:pt>
                <c:pt idx="13561" formatCode="0.0%">
                  <c:v>0.18589987941808925</c:v>
                </c:pt>
                <c:pt idx="13562" formatCode="0.0%">
                  <c:v>0.19182293113241816</c:v>
                </c:pt>
                <c:pt idx="13563" formatCode="0.0%">
                  <c:v>0.19172387176606756</c:v>
                </c:pt>
                <c:pt idx="13564" formatCode="0.0%">
                  <c:v>0.20339638459542189</c:v>
                </c:pt>
                <c:pt idx="13565" formatCode="0.0%">
                  <c:v>0.2034649369517241</c:v>
                </c:pt>
                <c:pt idx="13566" formatCode="0.0%">
                  <c:v>0.16153865024437855</c:v>
                </c:pt>
                <c:pt idx="13567" formatCode="0.0%">
                  <c:v>0.15273585582999213</c:v>
                </c:pt>
                <c:pt idx="13568" formatCode="0.0%">
                  <c:v>0.13588172795215994</c:v>
                </c:pt>
                <c:pt idx="13569" formatCode="0.0%">
                  <c:v>0.14301744484711723</c:v>
                </c:pt>
                <c:pt idx="13570" formatCode="0.0%">
                  <c:v>0.14022074178456612</c:v>
                </c:pt>
                <c:pt idx="13571" formatCode="0.0%">
                  <c:v>0.14009303879555443</c:v>
                </c:pt>
                <c:pt idx="13572" formatCode="0.0%">
                  <c:v>0.14453327628802953</c:v>
                </c:pt>
                <c:pt idx="13573" formatCode="0.0%">
                  <c:v>0.14134772846103086</c:v>
                </c:pt>
                <c:pt idx="13574" formatCode="0.0%">
                  <c:v>0.14230649698173761</c:v>
                </c:pt>
                <c:pt idx="13575" formatCode="0.0%">
                  <c:v>0.13697952176908662</c:v>
                </c:pt>
                <c:pt idx="13576" formatCode="0.0%">
                  <c:v>0.13789980022345111</c:v>
                </c:pt>
                <c:pt idx="13577" formatCode="0.0%">
                  <c:v>0.14255097717362625</c:v>
                </c:pt>
                <c:pt idx="13578" formatCode="0.0%">
                  <c:v>0.14255024851731507</c:v>
                </c:pt>
                <c:pt idx="13579" formatCode="0.0%">
                  <c:v>0.1424928222930319</c:v>
                </c:pt>
                <c:pt idx="13580" formatCode="0.0%">
                  <c:v>0.14969794813302223</c:v>
                </c:pt>
                <c:pt idx="13581" formatCode="0.0%">
                  <c:v>0.149790399561505</c:v>
                </c:pt>
                <c:pt idx="13582" formatCode="0.0%">
                  <c:v>0.15778529748921136</c:v>
                </c:pt>
                <c:pt idx="13583" formatCode="0.0%">
                  <c:v>0.15929521506953959</c:v>
                </c:pt>
                <c:pt idx="13584" formatCode="0.0%">
                  <c:v>0.14799009109556499</c:v>
                </c:pt>
                <c:pt idx="13585" formatCode="0.0%">
                  <c:v>0.14799979351155299</c:v>
                </c:pt>
                <c:pt idx="13586" formatCode="0.0%">
                  <c:v>0.15332942572223315</c:v>
                </c:pt>
                <c:pt idx="13587" formatCode="0.0%">
                  <c:v>0.15370032396245797</c:v>
                </c:pt>
                <c:pt idx="13588" formatCode="0.0%">
                  <c:v>0.15250176627243192</c:v>
                </c:pt>
                <c:pt idx="13589" formatCode="0.0%">
                  <c:v>0.14149979619284792</c:v>
                </c:pt>
                <c:pt idx="13590" formatCode="0.0%">
                  <c:v>0.14689628081487477</c:v>
                </c:pt>
                <c:pt idx="13591" formatCode="0.0%">
                  <c:v>0.14865609006808922</c:v>
                </c:pt>
                <c:pt idx="13592" formatCode="0.0%">
                  <c:v>0.1286515340246501</c:v>
                </c:pt>
                <c:pt idx="13593" formatCode="0.0%">
                  <c:v>0.12294859308329037</c:v>
                </c:pt>
                <c:pt idx="13594" formatCode="0.0%">
                  <c:v>0.12281003224688639</c:v>
                </c:pt>
                <c:pt idx="13595" formatCode="0.0%">
                  <c:v>0.12295039941024928</c:v>
                </c:pt>
                <c:pt idx="13596" formatCode="0.0%">
                  <c:v>0.11881665719956738</c:v>
                </c:pt>
                <c:pt idx="13597" formatCode="0.0%">
                  <c:v>0.11819542328192473</c:v>
                </c:pt>
                <c:pt idx="13598" formatCode="0.0%">
                  <c:v>0.1181099748103403</c:v>
                </c:pt>
                <c:pt idx="13599" formatCode="0.0%">
                  <c:v>0.11686704973355234</c:v>
                </c:pt>
                <c:pt idx="13600" formatCode="0.0%">
                  <c:v>0.11315318860064641</c:v>
                </c:pt>
                <c:pt idx="13601" formatCode="0.0%">
                  <c:v>0.11395939119362347</c:v>
                </c:pt>
                <c:pt idx="13602" formatCode="0.0%">
                  <c:v>0.10550226768843395</c:v>
                </c:pt>
                <c:pt idx="13603" formatCode="0.0%">
                  <c:v>0.10345963111908089</c:v>
                </c:pt>
                <c:pt idx="13604" formatCode="0.0%">
                  <c:v>0.10869751909494316</c:v>
                </c:pt>
                <c:pt idx="13605" formatCode="0.0%">
                  <c:v>0.1148803170029366</c:v>
                </c:pt>
                <c:pt idx="13606" formatCode="0.0%">
                  <c:v>0.1032691254366971</c:v>
                </c:pt>
                <c:pt idx="13607" formatCode="0.0%">
                  <c:v>0.1142770126148578</c:v>
                </c:pt>
                <c:pt idx="13608" formatCode="0.0%">
                  <c:v>0.11812996110470166</c:v>
                </c:pt>
                <c:pt idx="13609" formatCode="0.0%">
                  <c:v>0.12435535595637641</c:v>
                </c:pt>
                <c:pt idx="13610" formatCode="0.0%">
                  <c:v>0.11228312556757714</c:v>
                </c:pt>
                <c:pt idx="13611" formatCode="0.0%">
                  <c:v>0.10564390582629925</c:v>
                </c:pt>
                <c:pt idx="13612" formatCode="0.0%">
                  <c:v>0.10578479698752657</c:v>
                </c:pt>
                <c:pt idx="13613" formatCode="0.0%">
                  <c:v>0.10459954367659159</c:v>
                </c:pt>
                <c:pt idx="13614" formatCode="0.0%">
                  <c:v>0.10797616159599596</c:v>
                </c:pt>
                <c:pt idx="13615" formatCode="0.0%">
                  <c:v>0.10802341244080152</c:v>
                </c:pt>
                <c:pt idx="13616" formatCode="0.0%">
                  <c:v>0.11387072273275092</c:v>
                </c:pt>
                <c:pt idx="13617" formatCode="0.0%">
                  <c:v>0.11701070593033613</c:v>
                </c:pt>
                <c:pt idx="13618" formatCode="0.0%">
                  <c:v>0.11726802059586233</c:v>
                </c:pt>
                <c:pt idx="13619" formatCode="0.0%">
                  <c:v>0.12125441978562169</c:v>
                </c:pt>
                <c:pt idx="13620" formatCode="0.0%">
                  <c:v>0.12098502934682266</c:v>
                </c:pt>
                <c:pt idx="13621" formatCode="0.0%">
                  <c:v>0.12775877536934915</c:v>
                </c:pt>
                <c:pt idx="13622" formatCode="0.0%">
                  <c:v>0.12447456923617131</c:v>
                </c:pt>
                <c:pt idx="13623" formatCode="0.0%">
                  <c:v>0.12762855299502782</c:v>
                </c:pt>
                <c:pt idx="13624" formatCode="0.0%">
                  <c:v>0.11818157974847779</c:v>
                </c:pt>
                <c:pt idx="13625" formatCode="0.0%">
                  <c:v>0.10817395467944539</c:v>
                </c:pt>
                <c:pt idx="13626" formatCode="0.0%">
                  <c:v>0.10520292351271651</c:v>
                </c:pt>
                <c:pt idx="13627" formatCode="0.0%">
                  <c:v>0.10028052620828581</c:v>
                </c:pt>
                <c:pt idx="13628" formatCode="0.0%">
                  <c:v>0.10494068056004237</c:v>
                </c:pt>
                <c:pt idx="13629" formatCode="0.0%">
                  <c:v>0.10114536443483899</c:v>
                </c:pt>
                <c:pt idx="13630" formatCode="0.0%">
                  <c:v>0.10162793674136526</c:v>
                </c:pt>
                <c:pt idx="13631" formatCode="0.0%">
                  <c:v>9.9789642676368681E-2</c:v>
                </c:pt>
                <c:pt idx="13632" formatCode="0.0%">
                  <c:v>9.7695892437034873E-2</c:v>
                </c:pt>
                <c:pt idx="13633" formatCode="0.0%">
                  <c:v>9.6520208544862401E-2</c:v>
                </c:pt>
                <c:pt idx="13634" formatCode="0.0%">
                  <c:v>9.8378526197636804E-2</c:v>
                </c:pt>
                <c:pt idx="13635" formatCode="0.0%">
                  <c:v>9.1840651759610009E-2</c:v>
                </c:pt>
                <c:pt idx="13636" formatCode="0.0%">
                  <c:v>8.9879121850935523E-2</c:v>
                </c:pt>
                <c:pt idx="13637" formatCode="0.0%">
                  <c:v>7.6744020482716266E-2</c:v>
                </c:pt>
                <c:pt idx="13638" formatCode="0.0%">
                  <c:v>8.4615263804161817E-2</c:v>
                </c:pt>
                <c:pt idx="13639" formatCode="0.0%">
                  <c:v>0.10668334246500685</c:v>
                </c:pt>
                <c:pt idx="13640" formatCode="0.0%">
                  <c:v>0.11073227350641947</c:v>
                </c:pt>
                <c:pt idx="13641" formatCode="0.0%">
                  <c:v>0.10766080697520662</c:v>
                </c:pt>
                <c:pt idx="13642" formatCode="0.0%">
                  <c:v>0.10938273844950819</c:v>
                </c:pt>
                <c:pt idx="13643" formatCode="0.0%">
                  <c:v>0.11222831254212146</c:v>
                </c:pt>
                <c:pt idx="13644" formatCode="0.0%">
                  <c:v>0.11220723012299794</c:v>
                </c:pt>
                <c:pt idx="13645" formatCode="0.0%">
                  <c:v>0.11048019121515874</c:v>
                </c:pt>
                <c:pt idx="13646" formatCode="0.0%">
                  <c:v>0.12047730429122182</c:v>
                </c:pt>
                <c:pt idx="13647" formatCode="0.0%">
                  <c:v>0.1393441112910771</c:v>
                </c:pt>
                <c:pt idx="13648" formatCode="0.0%">
                  <c:v>0.13489713448108726</c:v>
                </c:pt>
                <c:pt idx="13649" formatCode="0.0%">
                  <c:v>0.13571778544909688</c:v>
                </c:pt>
                <c:pt idx="13650" formatCode="0.0%">
                  <c:v>0.14031674389636456</c:v>
                </c:pt>
                <c:pt idx="13651" formatCode="0.0%">
                  <c:v>0.14026301283085663</c:v>
                </c:pt>
                <c:pt idx="13652" formatCode="0.0%">
                  <c:v>0.14046055676586644</c:v>
                </c:pt>
                <c:pt idx="13653" formatCode="0.0%">
                  <c:v>0.14273836118322633</c:v>
                </c:pt>
                <c:pt idx="13654" formatCode="0.0%">
                  <c:v>0.1359466176007039</c:v>
                </c:pt>
                <c:pt idx="13655" formatCode="0.0%">
                  <c:v>0.13606228588014316</c:v>
                </c:pt>
                <c:pt idx="13656" formatCode="0.0%">
                  <c:v>0.13556054611476301</c:v>
                </c:pt>
                <c:pt idx="13657" formatCode="0.0%">
                  <c:v>0.13505405957814096</c:v>
                </c:pt>
                <c:pt idx="13658" formatCode="0.0%">
                  <c:v>0.14076569693854804</c:v>
                </c:pt>
                <c:pt idx="13659" formatCode="0.0%">
                  <c:v>0.13197008939392474</c:v>
                </c:pt>
                <c:pt idx="13660" formatCode="0.0%">
                  <c:v>0.12566992451870795</c:v>
                </c:pt>
                <c:pt idx="13661" formatCode="0.0%">
                  <c:v>0.12988489402809097</c:v>
                </c:pt>
                <c:pt idx="13662" formatCode="0.0%">
                  <c:v>0.12420223490086305</c:v>
                </c:pt>
                <c:pt idx="13663" formatCode="0.0%">
                  <c:v>0.11602711006788927</c:v>
                </c:pt>
                <c:pt idx="13664" formatCode="0.0%">
                  <c:v>0.11607313758443739</c:v>
                </c:pt>
                <c:pt idx="13665" formatCode="0.0%">
                  <c:v>0.11743103835470485</c:v>
                </c:pt>
                <c:pt idx="13666" formatCode="0.0%">
                  <c:v>0.1137219424046302</c:v>
                </c:pt>
                <c:pt idx="13667" formatCode="0.0%">
                  <c:v>9.8032230229496878E-2</c:v>
                </c:pt>
                <c:pt idx="13668" formatCode="0.0%">
                  <c:v>9.7976012118114769E-2</c:v>
                </c:pt>
                <c:pt idx="13669" formatCode="0.0%">
                  <c:v>9.8981618741689023E-2</c:v>
                </c:pt>
                <c:pt idx="13670" formatCode="0.0%">
                  <c:v>9.699882633034719E-2</c:v>
                </c:pt>
                <c:pt idx="13671" formatCode="0.0%">
                  <c:v>0.11113836741527069</c:v>
                </c:pt>
                <c:pt idx="13672" formatCode="0.0%">
                  <c:v>0.10999766204396573</c:v>
                </c:pt>
                <c:pt idx="13673" formatCode="0.0%">
                  <c:v>0.10819130281779915</c:v>
                </c:pt>
                <c:pt idx="13674" formatCode="0.0%">
                  <c:v>0.1205854851693144</c:v>
                </c:pt>
                <c:pt idx="13675" formatCode="0.0%">
                  <c:v>0.12636430582585104</c:v>
                </c:pt>
                <c:pt idx="13676" formatCode="0.0%">
                  <c:v>0.13863897544830464</c:v>
                </c:pt>
                <c:pt idx="13677" formatCode="0.0%">
                  <c:v>0.14138599787974471</c:v>
                </c:pt>
                <c:pt idx="13678" formatCode="0.0%">
                  <c:v>0.13935904465350882</c:v>
                </c:pt>
                <c:pt idx="13679" formatCode="0.0%">
                  <c:v>0.13554299107850185</c:v>
                </c:pt>
                <c:pt idx="13680" formatCode="0.0%">
                  <c:v>0.1353772527236474</c:v>
                </c:pt>
                <c:pt idx="13681" formatCode="0.0%">
                  <c:v>0.12767811466912513</c:v>
                </c:pt>
                <c:pt idx="13682" formatCode="0.0%">
                  <c:v>0.12704674977645489</c:v>
                </c:pt>
                <c:pt idx="13683" formatCode="0.0%">
                  <c:v>0.13821050697258278</c:v>
                </c:pt>
                <c:pt idx="13684" formatCode="0.0%">
                  <c:v>0.13967134878723569</c:v>
                </c:pt>
                <c:pt idx="13685" formatCode="0.0%">
                  <c:v>0.22276953173723063</c:v>
                </c:pt>
                <c:pt idx="13686" formatCode="0.0%">
                  <c:v>0.2231258956172896</c:v>
                </c:pt>
                <c:pt idx="13687" formatCode="0.0%">
                  <c:v>0.22448616265115418</c:v>
                </c:pt>
                <c:pt idx="13688" formatCode="0.0%">
                  <c:v>0.25772866099045993</c:v>
                </c:pt>
                <c:pt idx="13689" formatCode="0.0%">
                  <c:v>0.2717248260537018</c:v>
                </c:pt>
                <c:pt idx="13690" formatCode="0.0%">
                  <c:v>0.27082776059818975</c:v>
                </c:pt>
                <c:pt idx="13691" formatCode="0.0%">
                  <c:v>0.26788399758341142</c:v>
                </c:pt>
                <c:pt idx="13692" formatCode="0.0%">
                  <c:v>0.26766969308932997</c:v>
                </c:pt>
                <c:pt idx="13693" formatCode="0.0%">
                  <c:v>0.27194193227761349</c:v>
                </c:pt>
                <c:pt idx="13694" formatCode="0.0%">
                  <c:v>0.26757231280806615</c:v>
                </c:pt>
                <c:pt idx="13695" formatCode="0.0%">
                  <c:v>0.26497340669860336</c:v>
                </c:pt>
                <c:pt idx="13696" formatCode="0.0%">
                  <c:v>0.26012346465796032</c:v>
                </c:pt>
                <c:pt idx="13697" formatCode="0.0%">
                  <c:v>0.2571745095689108</c:v>
                </c:pt>
                <c:pt idx="13698" formatCode="0.0%">
                  <c:v>0.24902683088703537</c:v>
                </c:pt>
                <c:pt idx="13699" formatCode="0.0%">
                  <c:v>0.25312169915209032</c:v>
                </c:pt>
                <c:pt idx="13700" formatCode="0.0%">
                  <c:v>0.25015527865763676</c:v>
                </c:pt>
                <c:pt idx="13701" formatCode="0.0%">
                  <c:v>0.2498973312265344</c:v>
                </c:pt>
                <c:pt idx="13702" formatCode="0.0%">
                  <c:v>0.2544885154530469</c:v>
                </c:pt>
                <c:pt idx="13703" formatCode="0.0%">
                  <c:v>0.25378899241057007</c:v>
                </c:pt>
                <c:pt idx="13704" formatCode="0.0%">
                  <c:v>0.25290029707962158</c:v>
                </c:pt>
                <c:pt idx="13705" formatCode="0.0%">
                  <c:v>0.20941424451075152</c:v>
                </c:pt>
                <c:pt idx="13706" formatCode="0.0%">
                  <c:v>0.20906874125687311</c:v>
                </c:pt>
                <c:pt idx="13707" formatCode="0.0%">
                  <c:v>0.21711428129595606</c:v>
                </c:pt>
                <c:pt idx="13708" formatCode="0.0%">
                  <c:v>0.18892004654856628</c:v>
                </c:pt>
                <c:pt idx="13709" formatCode="0.0%">
                  <c:v>0.17806007598058712</c:v>
                </c:pt>
                <c:pt idx="13710" formatCode="0.0%">
                  <c:v>0.17845079618889972</c:v>
                </c:pt>
                <c:pt idx="13711" formatCode="0.0%">
                  <c:v>0.16931065065573964</c:v>
                </c:pt>
                <c:pt idx="13712" formatCode="0.0%">
                  <c:v>0.16945540408234472</c:v>
                </c:pt>
                <c:pt idx="13713" formatCode="0.0%">
                  <c:v>0.16094599312358432</c:v>
                </c:pt>
                <c:pt idx="13714" formatCode="0.0%">
                  <c:v>0.1620347694621293</c:v>
                </c:pt>
                <c:pt idx="13715" formatCode="0.0%">
                  <c:v>0.16290903352373323</c:v>
                </c:pt>
                <c:pt idx="13716" formatCode="0.0%">
                  <c:v>0.16236044403113778</c:v>
                </c:pt>
                <c:pt idx="13717" formatCode="0.0%">
                  <c:v>0.157409947194531</c:v>
                </c:pt>
                <c:pt idx="13718" formatCode="0.0%">
                  <c:v>0.14091963102570046</c:v>
                </c:pt>
                <c:pt idx="13719" formatCode="0.0%">
                  <c:v>0.13627773135983054</c:v>
                </c:pt>
                <c:pt idx="13720" formatCode="0.0%">
                  <c:v>0.19575623722923616</c:v>
                </c:pt>
                <c:pt idx="13721" formatCode="0.0%">
                  <c:v>0.19998262595361893</c:v>
                </c:pt>
                <c:pt idx="13722" formatCode="0.0%">
                  <c:v>0.20197187237286085</c:v>
                </c:pt>
                <c:pt idx="13723" formatCode="0.0%">
                  <c:v>0.21532978376887454</c:v>
                </c:pt>
                <c:pt idx="13724" formatCode="0.0%">
                  <c:v>0.21586073373628015</c:v>
                </c:pt>
                <c:pt idx="13725" formatCode="0.0%">
                  <c:v>0.21959171591224741</c:v>
                </c:pt>
                <c:pt idx="13726" formatCode="0.0%">
                  <c:v>0.22948502377882879</c:v>
                </c:pt>
                <c:pt idx="13727" formatCode="0.0%">
                  <c:v>0.2276494974473546</c:v>
                </c:pt>
                <c:pt idx="13728" formatCode="0.0%">
                  <c:v>0.23663041580252531</c:v>
                </c:pt>
                <c:pt idx="13729" formatCode="0.0%">
                  <c:v>0.23198944092390594</c:v>
                </c:pt>
                <c:pt idx="13730" formatCode="0.0%">
                  <c:v>0.23333493861120796</c:v>
                </c:pt>
                <c:pt idx="13731" formatCode="0.0%">
                  <c:v>0.23324116165970096</c:v>
                </c:pt>
                <c:pt idx="13732" formatCode="0.0%">
                  <c:v>0.2320986039159518</c:v>
                </c:pt>
                <c:pt idx="13733" formatCode="0.0%">
                  <c:v>0.28472280893891466</c:v>
                </c:pt>
                <c:pt idx="13734" formatCode="0.0%">
                  <c:v>0.28402277856950298</c:v>
                </c:pt>
                <c:pt idx="13735" formatCode="0.0%">
                  <c:v>0.27639041741233505</c:v>
                </c:pt>
                <c:pt idx="13736" formatCode="0.0%">
                  <c:v>0.27842516572075854</c:v>
                </c:pt>
                <c:pt idx="13737" formatCode="0.0%">
                  <c:v>0.27731750405381594</c:v>
                </c:pt>
                <c:pt idx="13738" formatCode="0.0%">
                  <c:v>0.27702141101591926</c:v>
                </c:pt>
                <c:pt idx="13739" formatCode="0.0%">
                  <c:v>0.27891090530008794</c:v>
                </c:pt>
                <c:pt idx="13740" formatCode="0.0%">
                  <c:v>0.2761903709654791</c:v>
                </c:pt>
                <c:pt idx="13741" formatCode="0.0%">
                  <c:v>0.27798982645151094</c:v>
                </c:pt>
                <c:pt idx="13742" formatCode="0.0%">
                  <c:v>0.27414252203461931</c:v>
                </c:pt>
                <c:pt idx="13743" formatCode="0.0%">
                  <c:v>0.26731388930043615</c:v>
                </c:pt>
                <c:pt idx="13744" formatCode="0.0%">
                  <c:v>0.27306497925698187</c:v>
                </c:pt>
                <c:pt idx="13745" formatCode="0.0%">
                  <c:v>0.27381857172148644</c:v>
                </c:pt>
                <c:pt idx="13746" formatCode="0.0%">
                  <c:v>0.26607783629343479</c:v>
                </c:pt>
                <c:pt idx="13747" formatCode="0.0%">
                  <c:v>0.27189508210384078</c:v>
                </c:pt>
                <c:pt idx="13748" formatCode="0.0%">
                  <c:v>0.26883344873973281</c:v>
                </c:pt>
                <c:pt idx="13749" formatCode="0.0%">
                  <c:v>0.27214525597309869</c:v>
                </c:pt>
                <c:pt idx="13750" formatCode="0.0%">
                  <c:v>0.27134573507972781</c:v>
                </c:pt>
                <c:pt idx="13751" formatCode="0.0%">
                  <c:v>0.27159904958431808</c:v>
                </c:pt>
                <c:pt idx="13752" formatCode="0.0%">
                  <c:v>0.27359188501568715</c:v>
                </c:pt>
                <c:pt idx="13753" formatCode="0.0%">
                  <c:v>0.24256532813705503</c:v>
                </c:pt>
                <c:pt idx="13754" formatCode="0.0%">
                  <c:v>0.24294124404413223</c:v>
                </c:pt>
                <c:pt idx="13755" formatCode="0.0%">
                  <c:v>0.24340051771060417</c:v>
                </c:pt>
                <c:pt idx="13756" formatCode="0.0%">
                  <c:v>0.24060910136719715</c:v>
                </c:pt>
                <c:pt idx="13757" formatCode="0.0%">
                  <c:v>0.24139849816820619</c:v>
                </c:pt>
                <c:pt idx="13758" formatCode="0.0%">
                  <c:v>0.26290068199151478</c:v>
                </c:pt>
                <c:pt idx="13759" formatCode="0.0%">
                  <c:v>0.25790306524557177</c:v>
                </c:pt>
                <c:pt idx="13760" formatCode="0.0%">
                  <c:v>0.21560173550709058</c:v>
                </c:pt>
                <c:pt idx="13761" formatCode="0.0%">
                  <c:v>0.21456445817407449</c:v>
                </c:pt>
                <c:pt idx="13762" formatCode="0.0%">
                  <c:v>0.22958931035615876</c:v>
                </c:pt>
                <c:pt idx="13763" formatCode="0.0%">
                  <c:v>0.22620909362371222</c:v>
                </c:pt>
                <c:pt idx="13764" formatCode="0.0%">
                  <c:v>0.21781198346684366</c:v>
                </c:pt>
                <c:pt idx="13765" formatCode="0.0%">
                  <c:v>0.21762485729242179</c:v>
                </c:pt>
                <c:pt idx="13766" formatCode="0.0%">
                  <c:v>0.2170987807950174</c:v>
                </c:pt>
                <c:pt idx="13767" formatCode="0.0%">
                  <c:v>0.2098814529933663</c:v>
                </c:pt>
                <c:pt idx="13768" formatCode="0.0%">
                  <c:v>0.21032527965447667</c:v>
                </c:pt>
                <c:pt idx="13769" formatCode="0.0%">
                  <c:v>0.21374519045954371</c:v>
                </c:pt>
                <c:pt idx="13770" formatCode="0.0%">
                  <c:v>0.20241435837816416</c:v>
                </c:pt>
                <c:pt idx="13771" formatCode="0.0%">
                  <c:v>0.21093785764901909</c:v>
                </c:pt>
                <c:pt idx="13772" formatCode="0.0%">
                  <c:v>0.21059762412664959</c:v>
                </c:pt>
                <c:pt idx="13773" formatCode="0.0%">
                  <c:v>0.20471713351933582</c:v>
                </c:pt>
                <c:pt idx="13774" formatCode="0.0%">
                  <c:v>0.20035381506716735</c:v>
                </c:pt>
                <c:pt idx="13775" formatCode="0.0%">
                  <c:v>0.20013098084050346</c:v>
                </c:pt>
                <c:pt idx="13776" formatCode="0.0%">
                  <c:v>0.20669966352012953</c:v>
                </c:pt>
                <c:pt idx="13777" formatCode="0.0%">
                  <c:v>0.20983513473308676</c:v>
                </c:pt>
                <c:pt idx="13778" formatCode="0.0%">
                  <c:v>0.17891421098936883</c:v>
                </c:pt>
                <c:pt idx="13779" formatCode="0.0%">
                  <c:v>0.18083370807544882</c:v>
                </c:pt>
                <c:pt idx="13780" formatCode="0.0%">
                  <c:v>0.18092627453286006</c:v>
                </c:pt>
                <c:pt idx="13781" formatCode="0.0%">
                  <c:v>0.19088488001612686</c:v>
                </c:pt>
                <c:pt idx="13782" formatCode="0.0%">
                  <c:v>0.19021450701050788</c:v>
                </c:pt>
                <c:pt idx="13783" formatCode="0.0%">
                  <c:v>0.18926924110969834</c:v>
                </c:pt>
                <c:pt idx="13784" formatCode="0.0%">
                  <c:v>0.2048406881525778</c:v>
                </c:pt>
                <c:pt idx="13785" formatCode="0.0%">
                  <c:v>0.19820747153420293</c:v>
                </c:pt>
                <c:pt idx="13786" formatCode="0.0%">
                  <c:v>0.19986741423698565</c:v>
                </c:pt>
                <c:pt idx="13787" formatCode="0.0%">
                  <c:v>0.20259950020141865</c:v>
                </c:pt>
                <c:pt idx="13788" formatCode="0.0%">
                  <c:v>0.18788128142354454</c:v>
                </c:pt>
                <c:pt idx="13789" formatCode="0.0%">
                  <c:v>0.17814158464121838</c:v>
                </c:pt>
                <c:pt idx="13790" formatCode="0.0%">
                  <c:v>0.17793124986420839</c:v>
                </c:pt>
                <c:pt idx="13791" formatCode="0.0%">
                  <c:v>0.172486859382426</c:v>
                </c:pt>
                <c:pt idx="13792" formatCode="0.0%">
                  <c:v>0.16768177124377212</c:v>
                </c:pt>
                <c:pt idx="13793" formatCode="0.0%">
                  <c:v>0.16429106878596833</c:v>
                </c:pt>
                <c:pt idx="13794" formatCode="0.0%">
                  <c:v>0.16507966736823843</c:v>
                </c:pt>
                <c:pt idx="13795" formatCode="0.0%">
                  <c:v>0.17808971828953735</c:v>
                </c:pt>
                <c:pt idx="13796" formatCode="0.0%">
                  <c:v>0.194914697829775</c:v>
                </c:pt>
                <c:pt idx="13797" formatCode="0.0%">
                  <c:v>0.19728940848990445</c:v>
                </c:pt>
                <c:pt idx="13798" formatCode="0.0%">
                  <c:v>0.19706303004099013</c:v>
                </c:pt>
                <c:pt idx="13799" formatCode="0.0%">
                  <c:v>0.20643370866639624</c:v>
                </c:pt>
                <c:pt idx="13800" formatCode="0.0%">
                  <c:v>0.20641399433667301</c:v>
                </c:pt>
                <c:pt idx="13801" formatCode="0.0%">
                  <c:v>0.19566727216242039</c:v>
                </c:pt>
                <c:pt idx="13802" formatCode="0.0%">
                  <c:v>0.19274240680241053</c:v>
                </c:pt>
                <c:pt idx="13803" formatCode="0.0%">
                  <c:v>0.19231060318680637</c:v>
                </c:pt>
                <c:pt idx="13804" formatCode="0.0%">
                  <c:v>0.17503912281579806</c:v>
                </c:pt>
                <c:pt idx="13805" formatCode="0.0%">
                  <c:v>0.18127492227573694</c:v>
                </c:pt>
                <c:pt idx="13806" formatCode="0.0%">
                  <c:v>0.17799119783024153</c:v>
                </c:pt>
                <c:pt idx="13807" formatCode="0.0%">
                  <c:v>0.17888216858697553</c:v>
                </c:pt>
                <c:pt idx="13808" formatCode="0.0%">
                  <c:v>0.17805616482982534</c:v>
                </c:pt>
                <c:pt idx="13809" formatCode="0.0%">
                  <c:v>0.18704875734222107</c:v>
                </c:pt>
                <c:pt idx="13810" formatCode="0.0%">
                  <c:v>0.18581999791211409</c:v>
                </c:pt>
                <c:pt idx="13811" formatCode="0.0%">
                  <c:v>0.1881805987914596</c:v>
                </c:pt>
                <c:pt idx="13812" formatCode="0.0%">
                  <c:v>0.18873639932423827</c:v>
                </c:pt>
                <c:pt idx="13813" formatCode="0.0%">
                  <c:v>0.18775001678701209</c:v>
                </c:pt>
                <c:pt idx="13814" formatCode="0.0%">
                  <c:v>0.18629175162360917</c:v>
                </c:pt>
                <c:pt idx="13815" formatCode="0.0%">
                  <c:v>0.17506344020297818</c:v>
                </c:pt>
                <c:pt idx="13816" formatCode="0.0%">
                  <c:v>0.15553371449666642</c:v>
                </c:pt>
                <c:pt idx="13817" formatCode="0.0%">
                  <c:v>0.15270133885601753</c:v>
                </c:pt>
                <c:pt idx="13818" formatCode="0.0%">
                  <c:v>0.16380743988533242</c:v>
                </c:pt>
                <c:pt idx="13819" formatCode="0.0%">
                  <c:v>0.15205100016115902</c:v>
                </c:pt>
                <c:pt idx="13820" formatCode="0.0%">
                  <c:v>0.15905693023659398</c:v>
                </c:pt>
                <c:pt idx="13821" formatCode="0.0%">
                  <c:v>0.17051403583988581</c:v>
                </c:pt>
                <c:pt idx="13822" formatCode="0.0%">
                  <c:v>0.15820345631931193</c:v>
                </c:pt>
                <c:pt idx="13823" formatCode="0.0%">
                  <c:v>0.15893130074214207</c:v>
                </c:pt>
                <c:pt idx="13824" formatCode="0.0%">
                  <c:v>0.15848858278747699</c:v>
                </c:pt>
                <c:pt idx="13825" formatCode="0.0%">
                  <c:v>0.15449625560043506</c:v>
                </c:pt>
                <c:pt idx="13826" formatCode="0.0%">
                  <c:v>0.16706958157876645</c:v>
                </c:pt>
                <c:pt idx="13827" formatCode="0.0%">
                  <c:v>0.16580342946124285</c:v>
                </c:pt>
                <c:pt idx="13828" formatCode="0.0%">
                  <c:v>0.16725719768441033</c:v>
                </c:pt>
                <c:pt idx="13829" formatCode="0.0%">
                  <c:v>0.1589260402495111</c:v>
                </c:pt>
                <c:pt idx="13830" formatCode="0.0%">
                  <c:v>0.15954863808719788</c:v>
                </c:pt>
                <c:pt idx="13831" formatCode="0.0%">
                  <c:v>0.15730495452641657</c:v>
                </c:pt>
                <c:pt idx="13832" formatCode="0.0%">
                  <c:v>0.16138625942690224</c:v>
                </c:pt>
                <c:pt idx="13833" formatCode="0.0%">
                  <c:v>0.15981035095806176</c:v>
                </c:pt>
                <c:pt idx="13834" formatCode="0.0%">
                  <c:v>0.15985882075927077</c:v>
                </c:pt>
                <c:pt idx="13835" formatCode="0.0%">
                  <c:v>0.1619200382961665</c:v>
                </c:pt>
                <c:pt idx="13836" formatCode="0.0%">
                  <c:v>0.14818808219873733</c:v>
                </c:pt>
                <c:pt idx="13837" formatCode="0.0%">
                  <c:v>0.15263466010934959</c:v>
                </c:pt>
                <c:pt idx="13838" formatCode="0.0%">
                  <c:v>0.13916325989669673</c:v>
                </c:pt>
                <c:pt idx="13839" formatCode="0.0%">
                  <c:v>0.14069154707301129</c:v>
                </c:pt>
                <c:pt idx="13840" formatCode="0.0%">
                  <c:v>0.13533559271114426</c:v>
                </c:pt>
                <c:pt idx="13841" formatCode="0.0%">
                  <c:v>0.11850065477295205</c:v>
                </c:pt>
                <c:pt idx="13842" formatCode="0.0%">
                  <c:v>0.12127464843311273</c:v>
                </c:pt>
                <c:pt idx="13843" formatCode="0.0%">
                  <c:v>0.11852466504970104</c:v>
                </c:pt>
                <c:pt idx="13844" formatCode="0.0%">
                  <c:v>0.11842955000722345</c:v>
                </c:pt>
                <c:pt idx="13845" formatCode="0.0%">
                  <c:v>0.12114501200115919</c:v>
                </c:pt>
                <c:pt idx="13846" formatCode="0.0%">
                  <c:v>0.10894208568775832</c:v>
                </c:pt>
                <c:pt idx="13847" formatCode="0.0%">
                  <c:v>0.10318787320917751</c:v>
                </c:pt>
                <c:pt idx="13848" formatCode="0.0%">
                  <c:v>0.10332668808289983</c:v>
                </c:pt>
                <c:pt idx="13849" formatCode="0.0%">
                  <c:v>0.1141487580844474</c:v>
                </c:pt>
                <c:pt idx="13850" formatCode="0.0%">
                  <c:v>0.11363638782968583</c:v>
                </c:pt>
                <c:pt idx="13851" formatCode="0.0%">
                  <c:v>0.11456307734605031</c:v>
                </c:pt>
                <c:pt idx="13852" formatCode="0.0%">
                  <c:v>0.10745601927401327</c:v>
                </c:pt>
                <c:pt idx="13853" formatCode="0.0%">
                  <c:v>0.10643196990459675</c:v>
                </c:pt>
                <c:pt idx="13854" formatCode="0.0%">
                  <c:v>0.10698254751905911</c:v>
                </c:pt>
                <c:pt idx="13855" formatCode="0.0%">
                  <c:v>0.11020219127509767</c:v>
                </c:pt>
                <c:pt idx="13856" formatCode="0.0%">
                  <c:v>0.11339353866449296</c:v>
                </c:pt>
                <c:pt idx="13857" formatCode="0.0%">
                  <c:v>0.10846234882457206</c:v>
                </c:pt>
                <c:pt idx="13858" formatCode="0.0%">
                  <c:v>0.1083463765415402</c:v>
                </c:pt>
                <c:pt idx="13859" formatCode="0.0%">
                  <c:v>0.11453934348602916</c:v>
                </c:pt>
                <c:pt idx="13860" formatCode="0.0%">
                  <c:v>0.12543589656545259</c:v>
                </c:pt>
                <c:pt idx="13861" formatCode="0.0%">
                  <c:v>0.1257497503305359</c:v>
                </c:pt>
                <c:pt idx="13862" formatCode="0.0%">
                  <c:v>0.12376845813675094</c:v>
                </c:pt>
                <c:pt idx="13863" formatCode="0.0%">
                  <c:v>0.12347637895281964</c:v>
                </c:pt>
                <c:pt idx="13864" formatCode="0.0%">
                  <c:v>0.13839346192149882</c:v>
                </c:pt>
                <c:pt idx="13865" formatCode="0.0%">
                  <c:v>0.13312865178159108</c:v>
                </c:pt>
                <c:pt idx="13866" formatCode="0.0%">
                  <c:v>0.12909889320925522</c:v>
                </c:pt>
                <c:pt idx="13867" formatCode="0.0%">
                  <c:v>0.12926707996061498</c:v>
                </c:pt>
                <c:pt idx="13868" formatCode="0.0%">
                  <c:v>0.13124345640250326</c:v>
                </c:pt>
                <c:pt idx="13869" formatCode="0.0%">
                  <c:v>0.1264179259524888</c:v>
                </c:pt>
                <c:pt idx="13870" formatCode="0.0%">
                  <c:v>0.12665053073085006</c:v>
                </c:pt>
                <c:pt idx="13871" formatCode="0.0%">
                  <c:v>0.13013968098957315</c:v>
                </c:pt>
                <c:pt idx="13872" formatCode="0.0%">
                  <c:v>0.1303050628622307</c:v>
                </c:pt>
                <c:pt idx="13873" formatCode="0.0%">
                  <c:v>0.13028588257370816</c:v>
                </c:pt>
                <c:pt idx="13874" formatCode="0.0%">
                  <c:v>0.13485930559450868</c:v>
                </c:pt>
                <c:pt idx="13875" formatCode="0.0%">
                  <c:v>0.13184066979635839</c:v>
                </c:pt>
                <c:pt idx="13876" formatCode="0.0%">
                  <c:v>0.12597807431154534</c:v>
                </c:pt>
                <c:pt idx="13877" formatCode="0.0%">
                  <c:v>0.1285956616674773</c:v>
                </c:pt>
                <c:pt idx="13878" formatCode="0.0%">
                  <c:v>0.12844581253443293</c:v>
                </c:pt>
                <c:pt idx="13879" formatCode="0.0%">
                  <c:v>0.12454670658277819</c:v>
                </c:pt>
                <c:pt idx="13880" formatCode="0.0%">
                  <c:v>0.11510986318077439</c:v>
                </c:pt>
                <c:pt idx="13881" formatCode="0.0%">
                  <c:v>0.11480119597548467</c:v>
                </c:pt>
                <c:pt idx="13882" formatCode="0.0%">
                  <c:v>0.11265697357586307</c:v>
                </c:pt>
                <c:pt idx="13883" formatCode="0.0%">
                  <c:v>0.11084353514577437</c:v>
                </c:pt>
                <c:pt idx="13884" formatCode="0.0%">
                  <c:v>0.10843014168037678</c:v>
                </c:pt>
                <c:pt idx="13885" formatCode="0.0%">
                  <c:v>0.10837049813006355</c:v>
                </c:pt>
                <c:pt idx="13886" formatCode="0.0%">
                  <c:v>0.1108194879336421</c:v>
                </c:pt>
                <c:pt idx="13887" formatCode="0.0%">
                  <c:v>0.10918645831802959</c:v>
                </c:pt>
                <c:pt idx="13888" formatCode="0.0%">
                  <c:v>0.10176121037807433</c:v>
                </c:pt>
                <c:pt idx="13889" formatCode="0.0%">
                  <c:v>0.11056510217121739</c:v>
                </c:pt>
                <c:pt idx="13890" formatCode="0.0%">
                  <c:v>0.11368594595119419</c:v>
                </c:pt>
                <c:pt idx="13891" formatCode="0.0%">
                  <c:v>0.11331460487398896</c:v>
                </c:pt>
                <c:pt idx="13892" formatCode="0.0%">
                  <c:v>0.11462816587523732</c:v>
                </c:pt>
                <c:pt idx="13893" formatCode="0.0%">
                  <c:v>0.12369867120403658</c:v>
                </c:pt>
                <c:pt idx="13894" formatCode="0.0%">
                  <c:v>0.11964159360490495</c:v>
                </c:pt>
                <c:pt idx="13895" formatCode="0.0%">
                  <c:v>0.12372525813117514</c:v>
                </c:pt>
                <c:pt idx="13896" formatCode="0.0%">
                  <c:v>0.12876691231577045</c:v>
                </c:pt>
                <c:pt idx="13897" formatCode="0.0%">
                  <c:v>0.12390693635610382</c:v>
                </c:pt>
                <c:pt idx="13898" formatCode="0.0%">
                  <c:v>0.1242405013804692</c:v>
                </c:pt>
                <c:pt idx="13899" formatCode="0.0%">
                  <c:v>0.12489164139824487</c:v>
                </c:pt>
                <c:pt idx="13900" formatCode="0.0%">
                  <c:v>0.11838532070130973</c:v>
                </c:pt>
                <c:pt idx="13901" formatCode="0.0%">
                  <c:v>0.11887008802426935</c:v>
                </c:pt>
                <c:pt idx="13902" formatCode="0.0%">
                  <c:v>0.11731027886733623</c:v>
                </c:pt>
                <c:pt idx="13903" formatCode="0.0%">
                  <c:v>0.12320659515348956</c:v>
                </c:pt>
                <c:pt idx="13904" formatCode="0.0%">
                  <c:v>0.12977122319698553</c:v>
                </c:pt>
                <c:pt idx="13905" formatCode="0.0%">
                  <c:v>0.13087285639488519</c:v>
                </c:pt>
                <c:pt idx="13906" formatCode="0.0%">
                  <c:v>0.13089109388460426</c:v>
                </c:pt>
                <c:pt idx="13907" formatCode="0.0%">
                  <c:v>0.13139680774247492</c:v>
                </c:pt>
                <c:pt idx="13908" formatCode="0.0%">
                  <c:v>0.14178694021614532</c:v>
                </c:pt>
                <c:pt idx="13909" formatCode="0.0%">
                  <c:v>0.1377065755686129</c:v>
                </c:pt>
                <c:pt idx="13910" formatCode="0.0%">
                  <c:v>0.1349164203289831</c:v>
                </c:pt>
                <c:pt idx="13911" formatCode="0.0%">
                  <c:v>0.13589026247531882</c:v>
                </c:pt>
                <c:pt idx="13912" formatCode="0.0%">
                  <c:v>0.13625041155543652</c:v>
                </c:pt>
                <c:pt idx="13913" formatCode="0.0%">
                  <c:v>0.14188904851753673</c:v>
                </c:pt>
                <c:pt idx="13914" formatCode="0.0%">
                  <c:v>0.14112017979644437</c:v>
                </c:pt>
                <c:pt idx="13915" formatCode="0.0%">
                  <c:v>0.13718437709779929</c:v>
                </c:pt>
                <c:pt idx="13916" formatCode="0.0%">
                  <c:v>0.13346073071905726</c:v>
                </c:pt>
                <c:pt idx="13917" formatCode="0.0%">
                  <c:v>0.1333727796969941</c:v>
                </c:pt>
                <c:pt idx="13918" formatCode="0.0%">
                  <c:v>0.1355969928048858</c:v>
                </c:pt>
                <c:pt idx="13919" formatCode="0.0%">
                  <c:v>0.16484558239723715</c:v>
                </c:pt>
                <c:pt idx="13920" formatCode="0.0%">
                  <c:v>0.16447553909038531</c:v>
                </c:pt>
                <c:pt idx="13921" formatCode="0.0%">
                  <c:v>0.16433468369186804</c:v>
                </c:pt>
                <c:pt idx="13922" formatCode="0.0%">
                  <c:v>0.16501525828925975</c:v>
                </c:pt>
                <c:pt idx="13923" formatCode="0.0%">
                  <c:v>0.16042054637006076</c:v>
                </c:pt>
                <c:pt idx="13924" formatCode="0.0%">
                  <c:v>0.15998925772958508</c:v>
                </c:pt>
                <c:pt idx="13925" formatCode="0.0%">
                  <c:v>0.16821792830650337</c:v>
                </c:pt>
                <c:pt idx="13926" formatCode="0.0%">
                  <c:v>0.1721307172046396</c:v>
                </c:pt>
                <c:pt idx="13927" formatCode="0.0%">
                  <c:v>0.17049991770340894</c:v>
                </c:pt>
                <c:pt idx="13928" formatCode="0.0%">
                  <c:v>0.16486806122172729</c:v>
                </c:pt>
                <c:pt idx="13929" formatCode="0.0%">
                  <c:v>0.16260868821472607</c:v>
                </c:pt>
                <c:pt idx="13930" formatCode="0.0%">
                  <c:v>0.16716158393871208</c:v>
                </c:pt>
                <c:pt idx="13931" formatCode="0.0%">
                  <c:v>0.16784402089577741</c:v>
                </c:pt>
                <c:pt idx="13932" formatCode="0.0%">
                  <c:v>0.17254187858579087</c:v>
                </c:pt>
                <c:pt idx="13933" formatCode="0.0%">
                  <c:v>0.16826770089959373</c:v>
                </c:pt>
                <c:pt idx="13934" formatCode="0.0%">
                  <c:v>0.17227668736858623</c:v>
                </c:pt>
                <c:pt idx="13935" formatCode="0.0%">
                  <c:v>0.17153030749216866</c:v>
                </c:pt>
                <c:pt idx="13936" formatCode="0.0%">
                  <c:v>0.16897126958783359</c:v>
                </c:pt>
                <c:pt idx="13937" formatCode="0.0%">
                  <c:v>0.17264463900128774</c:v>
                </c:pt>
                <c:pt idx="13938" formatCode="0.0%">
                  <c:v>0.17152988107682088</c:v>
                </c:pt>
                <c:pt idx="13939" formatCode="0.0%">
                  <c:v>0.14619964440704308</c:v>
                </c:pt>
                <c:pt idx="13940" formatCode="0.0%">
                  <c:v>0.14995433040772943</c:v>
                </c:pt>
                <c:pt idx="13941" formatCode="0.0%">
                  <c:v>0.15071555402079836</c:v>
                </c:pt>
                <c:pt idx="13942" formatCode="0.0%">
                  <c:v>0.15008450659140582</c:v>
                </c:pt>
                <c:pt idx="13943" formatCode="0.0%">
                  <c:v>0.15068470243351303</c:v>
                </c:pt>
                <c:pt idx="13944" formatCode="0.0%">
                  <c:v>0.14395196001160226</c:v>
                </c:pt>
                <c:pt idx="13945" formatCode="0.0%">
                  <c:v>0.13503960108594359</c:v>
                </c:pt>
                <c:pt idx="13946" formatCode="0.0%">
                  <c:v>0.12841714822304467</c:v>
                </c:pt>
                <c:pt idx="13947" formatCode="0.0%">
                  <c:v>0.12792279047314309</c:v>
                </c:pt>
                <c:pt idx="13948" formatCode="0.0%">
                  <c:v>0.12810727066483063</c:v>
                </c:pt>
                <c:pt idx="13949" formatCode="0.0%">
                  <c:v>0.13044657836192322</c:v>
                </c:pt>
                <c:pt idx="13950" formatCode="0.0%">
                  <c:v>0.12084435490144481</c:v>
                </c:pt>
                <c:pt idx="13951" formatCode="0.0%">
                  <c:v>0.12146818725973789</c:v>
                </c:pt>
                <c:pt idx="13952" formatCode="0.0%">
                  <c:v>0.11729957605692695</c:v>
                </c:pt>
                <c:pt idx="13953" formatCode="0.0%">
                  <c:v>0.11688698652421677</c:v>
                </c:pt>
                <c:pt idx="13954" formatCode="0.0%">
                  <c:v>0.11498687352616596</c:v>
                </c:pt>
                <c:pt idx="13955" formatCode="0.0%">
                  <c:v>0.11749307340074308</c:v>
                </c:pt>
                <c:pt idx="13956" formatCode="0.0%">
                  <c:v>0.12267282094636622</c:v>
                </c:pt>
                <c:pt idx="13957" formatCode="0.0%">
                  <c:v>0.11965114388041266</c:v>
                </c:pt>
                <c:pt idx="13958" formatCode="0.0%">
                  <c:v>0.11983441920725729</c:v>
                </c:pt>
                <c:pt idx="13959" formatCode="0.0%">
                  <c:v>0.11474528668389664</c:v>
                </c:pt>
                <c:pt idx="13960" formatCode="0.0%">
                  <c:v>0.11490833351339459</c:v>
                </c:pt>
                <c:pt idx="13961" formatCode="0.0%">
                  <c:v>0.11779542777869229</c:v>
                </c:pt>
                <c:pt idx="13962" formatCode="0.0%">
                  <c:v>0.12165118596583822</c:v>
                </c:pt>
                <c:pt idx="13963" formatCode="0.0%">
                  <c:v>0.11709169595051672</c:v>
                </c:pt>
                <c:pt idx="13964" formatCode="0.0%">
                  <c:v>0.11137262519858074</c:v>
                </c:pt>
                <c:pt idx="13965" formatCode="0.0%">
                  <c:v>0.11078271480857284</c:v>
                </c:pt>
                <c:pt idx="13966" formatCode="0.0%">
                  <c:v>0.108965607873949</c:v>
                </c:pt>
                <c:pt idx="13967" formatCode="0.0%">
                  <c:v>0.11703875847843066</c:v>
                </c:pt>
                <c:pt idx="13968" formatCode="0.0%">
                  <c:v>0.11805473854370951</c:v>
                </c:pt>
                <c:pt idx="13969" formatCode="0.0%">
                  <c:v>0.11446850442347789</c:v>
                </c:pt>
                <c:pt idx="13970" formatCode="0.0%">
                  <c:v>0.11765340910098841</c:v>
                </c:pt>
                <c:pt idx="13971" formatCode="0.0%">
                  <c:v>0.11685054564060028</c:v>
                </c:pt>
                <c:pt idx="13972" formatCode="0.0%">
                  <c:v>9.8563476574691472E-2</c:v>
                </c:pt>
                <c:pt idx="13973" formatCode="0.0%">
                  <c:v>0.10392916006664542</c:v>
                </c:pt>
                <c:pt idx="13974" formatCode="0.0%">
                  <c:v>0.11676868698023711</c:v>
                </c:pt>
                <c:pt idx="13975" formatCode="0.0%">
                  <c:v>0.11494406213885304</c:v>
                </c:pt>
                <c:pt idx="13976" formatCode="0.0%">
                  <c:v>0.11363473588000557</c:v>
                </c:pt>
                <c:pt idx="13977" formatCode="0.0%">
                  <c:v>0.12475002846142547</c:v>
                </c:pt>
                <c:pt idx="13978" formatCode="0.0%">
                  <c:v>0.12623496920648122</c:v>
                </c:pt>
                <c:pt idx="13979" formatCode="0.0%">
                  <c:v>0.12332130703527541</c:v>
                </c:pt>
                <c:pt idx="13980" formatCode="0.0%">
                  <c:v>0.11806678659551088</c:v>
                </c:pt>
                <c:pt idx="13981" formatCode="0.0%">
                  <c:v>0.11535434957700094</c:v>
                </c:pt>
                <c:pt idx="13982" formatCode="0.0%">
                  <c:v>0.12402691975638866</c:v>
                </c:pt>
                <c:pt idx="13983" formatCode="0.0%">
                  <c:v>0.12485602211139339</c:v>
                </c:pt>
                <c:pt idx="13984" formatCode="0.0%">
                  <c:v>0.12107505321305435</c:v>
                </c:pt>
                <c:pt idx="13985" formatCode="0.0%">
                  <c:v>0.12255684507789094</c:v>
                </c:pt>
                <c:pt idx="13986" formatCode="0.0%">
                  <c:v>0.12159115964930434</c:v>
                </c:pt>
                <c:pt idx="13987" formatCode="0.0%">
                  <c:v>0.11810942988097108</c:v>
                </c:pt>
                <c:pt idx="13988" formatCode="0.0%">
                  <c:v>0.11985536779050815</c:v>
                </c:pt>
                <c:pt idx="13989" formatCode="0.0%">
                  <c:v>0.11936350719487436</c:v>
                </c:pt>
                <c:pt idx="13990" formatCode="0.0%">
                  <c:v>0.12094834860301303</c:v>
                </c:pt>
                <c:pt idx="13991" formatCode="0.0%">
                  <c:v>0.12109438510997519</c:v>
                </c:pt>
                <c:pt idx="13992" formatCode="0.0%">
                  <c:v>0.12048571636120528</c:v>
                </c:pt>
                <c:pt idx="13993" formatCode="0.0%">
                  <c:v>0.11901310604449104</c:v>
                </c:pt>
                <c:pt idx="13994" formatCode="0.0%">
                  <c:v>0.105876439350209</c:v>
                </c:pt>
                <c:pt idx="13995" formatCode="0.0%">
                  <c:v>0.10505843561456124</c:v>
                </c:pt>
                <c:pt idx="13996" formatCode="0.0%">
                  <c:v>9.2597312487471245E-2</c:v>
                </c:pt>
                <c:pt idx="13997" formatCode="0.0%">
                  <c:v>8.4518147042165884E-2</c:v>
                </c:pt>
                <c:pt idx="13998" formatCode="0.0%">
                  <c:v>0.10179293594481695</c:v>
                </c:pt>
                <c:pt idx="13999" formatCode="0.0%">
                  <c:v>0.10237993097026299</c:v>
                </c:pt>
                <c:pt idx="14000" formatCode="0.0%">
                  <c:v>0.11228189184207141</c:v>
                </c:pt>
                <c:pt idx="14001" formatCode="0.0%">
                  <c:v>0.11158687611883766</c:v>
                </c:pt>
                <c:pt idx="14002" formatCode="0.0%">
                  <c:v>0.10093445227515345</c:v>
                </c:pt>
                <c:pt idx="14003" formatCode="0.0%">
                  <c:v>0.10009262257565534</c:v>
                </c:pt>
                <c:pt idx="14004" formatCode="0.0%">
                  <c:v>9.9913995680784407E-2</c:v>
                </c:pt>
                <c:pt idx="14005" formatCode="0.0%">
                  <c:v>9.9987213987373133E-2</c:v>
                </c:pt>
                <c:pt idx="14006" formatCode="0.0%">
                  <c:v>0.10227599590700584</c:v>
                </c:pt>
                <c:pt idx="14007" formatCode="0.0%">
                  <c:v>0.10317652378540201</c:v>
                </c:pt>
                <c:pt idx="14008" formatCode="0.0%">
                  <c:v>0.10011588743581558</c:v>
                </c:pt>
                <c:pt idx="14009" formatCode="0.0%">
                  <c:v>9.9159026472896733E-2</c:v>
                </c:pt>
                <c:pt idx="14010" formatCode="0.0%">
                  <c:v>9.4075620395178555E-2</c:v>
                </c:pt>
                <c:pt idx="14011" formatCode="0.0%">
                  <c:v>9.7520473365340754E-2</c:v>
                </c:pt>
                <c:pt idx="14012" formatCode="0.0%">
                  <c:v>0.10422134825475014</c:v>
                </c:pt>
                <c:pt idx="14013" formatCode="0.0%">
                  <c:v>0.10137880422218333</c:v>
                </c:pt>
                <c:pt idx="14014" formatCode="0.0%">
                  <c:v>9.9126734392551999E-2</c:v>
                </c:pt>
                <c:pt idx="14015" formatCode="0.0%">
                  <c:v>9.5881347639646008E-2</c:v>
                </c:pt>
                <c:pt idx="14016" formatCode="0.0%">
                  <c:v>9.5155041984310226E-2</c:v>
                </c:pt>
                <c:pt idx="14017" formatCode="0.0%">
                  <c:v>9.499878193437776E-2</c:v>
                </c:pt>
                <c:pt idx="14018" formatCode="0.0%">
                  <c:v>8.4940974689459506E-2</c:v>
                </c:pt>
                <c:pt idx="14019" formatCode="0.0%">
                  <c:v>8.4565628319124661E-2</c:v>
                </c:pt>
                <c:pt idx="14020" formatCode="0.0%">
                  <c:v>7.4655809018820879E-2</c:v>
                </c:pt>
                <c:pt idx="14021" formatCode="0.0%">
                  <c:v>7.5561151515136024E-2</c:v>
                </c:pt>
                <c:pt idx="14022" formatCode="0.0%">
                  <c:v>7.8852960119138421E-2</c:v>
                </c:pt>
                <c:pt idx="14023" formatCode="0.0%">
                  <c:v>8.3500852471149592E-2</c:v>
                </c:pt>
                <c:pt idx="14024" formatCode="0.0%">
                  <c:v>8.584619916535273E-2</c:v>
                </c:pt>
                <c:pt idx="14025" formatCode="0.0%">
                  <c:v>8.3683511786514841E-2</c:v>
                </c:pt>
                <c:pt idx="14026" formatCode="0.0%">
                  <c:v>7.9963875875146487E-2</c:v>
                </c:pt>
                <c:pt idx="14027" formatCode="0.0%">
                  <c:v>8.6350957985058471E-2</c:v>
                </c:pt>
                <c:pt idx="14028" formatCode="0.0%">
                  <c:v>8.6148762613638116E-2</c:v>
                </c:pt>
                <c:pt idx="14029" formatCode="0.0%">
                  <c:v>8.5732120676532464E-2</c:v>
                </c:pt>
                <c:pt idx="14030" formatCode="0.0%">
                  <c:v>9.289270016639764E-2</c:v>
                </c:pt>
                <c:pt idx="14031" formatCode="0.0%">
                  <c:v>8.8438894088184394E-2</c:v>
                </c:pt>
                <c:pt idx="14032" formatCode="0.0%">
                  <c:v>8.3376453007068155E-2</c:v>
                </c:pt>
                <c:pt idx="14033" formatCode="0.0%">
                  <c:v>8.3358882115120464E-2</c:v>
                </c:pt>
                <c:pt idx="14034" formatCode="0.0%">
                  <c:v>8.2565193928975655E-2</c:v>
                </c:pt>
                <c:pt idx="14035" formatCode="0.0%">
                  <c:v>0.10211411899079863</c:v>
                </c:pt>
                <c:pt idx="14036" formatCode="0.0%">
                  <c:v>0.10993044593228909</c:v>
                </c:pt>
                <c:pt idx="14037" formatCode="0.0%">
                  <c:v>0.10995626787022027</c:v>
                </c:pt>
                <c:pt idx="14038" formatCode="0.0%">
                  <c:v>0.10888628094419849</c:v>
                </c:pt>
                <c:pt idx="14039" formatCode="0.0%">
                  <c:v>0.11136443617405282</c:v>
                </c:pt>
                <c:pt idx="14040" formatCode="0.0%">
                  <c:v>0.11118043072291744</c:v>
                </c:pt>
                <c:pt idx="14041" formatCode="0.0%">
                  <c:v>0.10978357548382779</c:v>
                </c:pt>
                <c:pt idx="14042" formatCode="0.0%">
                  <c:v>0.10442169412929034</c:v>
                </c:pt>
                <c:pt idx="14043" formatCode="0.0%">
                  <c:v>9.5488787388592927E-2</c:v>
                </c:pt>
                <c:pt idx="14044" formatCode="0.0%">
                  <c:v>9.5293004126214831E-2</c:v>
                </c:pt>
                <c:pt idx="14045" formatCode="0.0%">
                  <c:v>9.5751671240541417E-2</c:v>
                </c:pt>
                <c:pt idx="14046" formatCode="0.0%">
                  <c:v>9.6355841959786664E-2</c:v>
                </c:pt>
                <c:pt idx="14047" formatCode="0.0%">
                  <c:v>9.4056093872764965E-2</c:v>
                </c:pt>
                <c:pt idx="14048" formatCode="0.0%">
                  <c:v>9.8904429139611269E-2</c:v>
                </c:pt>
                <c:pt idx="14049" formatCode="0.0%">
                  <c:v>0.10108314232964642</c:v>
                </c:pt>
                <c:pt idx="14050" formatCode="0.0%">
                  <c:v>9.9074861108494838E-2</c:v>
                </c:pt>
                <c:pt idx="14051" formatCode="0.0%">
                  <c:v>9.8989968148275487E-2</c:v>
                </c:pt>
                <c:pt idx="14052" formatCode="0.0%">
                  <c:v>9.8691539896137062E-2</c:v>
                </c:pt>
                <c:pt idx="14053" formatCode="0.0%">
                  <c:v>0.10110558972313692</c:v>
                </c:pt>
                <c:pt idx="14054" formatCode="0.0%">
                  <c:v>0.10037077106614926</c:v>
                </c:pt>
                <c:pt idx="14055" formatCode="0.0%">
                  <c:v>7.9181467807119502E-2</c:v>
                </c:pt>
                <c:pt idx="14056" formatCode="0.0%">
                  <c:v>6.4843960085054081E-2</c:v>
                </c:pt>
                <c:pt idx="14057" formatCode="0.0%">
                  <c:v>7.8356765965088671E-2</c:v>
                </c:pt>
                <c:pt idx="14058" formatCode="0.0%">
                  <c:v>9.5116684873618643E-2</c:v>
                </c:pt>
                <c:pt idx="14059" formatCode="0.0%">
                  <c:v>9.8248704082880625E-2</c:v>
                </c:pt>
                <c:pt idx="14060" formatCode="0.0%">
                  <c:v>0.11231174009258661</c:v>
                </c:pt>
                <c:pt idx="14061" formatCode="0.0%">
                  <c:v>0.11163793139711974</c:v>
                </c:pt>
                <c:pt idx="14062" formatCode="0.0%">
                  <c:v>0.11653521501515361</c:v>
                </c:pt>
                <c:pt idx="14063" formatCode="0.0%">
                  <c:v>0.11686472503544969</c:v>
                </c:pt>
                <c:pt idx="14064" formatCode="0.0%">
                  <c:v>0.12496393245549819</c:v>
                </c:pt>
                <c:pt idx="14065" formatCode="0.0%">
                  <c:v>0.12486401701230493</c:v>
                </c:pt>
                <c:pt idx="14066" formatCode="0.0%">
                  <c:v>0.12523303451823603</c:v>
                </c:pt>
                <c:pt idx="14067" formatCode="0.0%">
                  <c:v>0.12512110138165877</c:v>
                </c:pt>
                <c:pt idx="14068" formatCode="0.0%">
                  <c:v>0.12465462460459825</c:v>
                </c:pt>
                <c:pt idx="14069" formatCode="0.0%">
                  <c:v>0.11943222014831952</c:v>
                </c:pt>
                <c:pt idx="14070" formatCode="0.0%">
                  <c:v>0.11949000340146831</c:v>
                </c:pt>
                <c:pt idx="14071" formatCode="0.0%">
                  <c:v>0.14662927449813951</c:v>
                </c:pt>
                <c:pt idx="14072" formatCode="0.0%">
                  <c:v>0.15415480203859341</c:v>
                </c:pt>
                <c:pt idx="14073" formatCode="0.0%">
                  <c:v>0.16142097969275959</c:v>
                </c:pt>
                <c:pt idx="14074" formatCode="0.0%">
                  <c:v>0.16078222531227512</c:v>
                </c:pt>
                <c:pt idx="14075" formatCode="0.0%">
                  <c:v>0.16375950425673494</c:v>
                </c:pt>
                <c:pt idx="14076" formatCode="0.0%">
                  <c:v>0.16524661420553569</c:v>
                </c:pt>
                <c:pt idx="14077" formatCode="0.0%">
                  <c:v>0.15948006401026396</c:v>
                </c:pt>
                <c:pt idx="14078" formatCode="0.0%">
                  <c:v>0.15116914501847861</c:v>
                </c:pt>
                <c:pt idx="14079" formatCode="0.0%">
                  <c:v>0.15424584761649693</c:v>
                </c:pt>
                <c:pt idx="14080" formatCode="0.0%">
                  <c:v>0.14136764617888983</c:v>
                </c:pt>
                <c:pt idx="14081" formatCode="0.0%">
                  <c:v>0.14231849050643661</c:v>
                </c:pt>
                <c:pt idx="14082" formatCode="0.0%">
                  <c:v>0.14845843806828982</c:v>
                </c:pt>
                <c:pt idx="14083" formatCode="0.0%">
                  <c:v>0.14510417550525551</c:v>
                </c:pt>
                <c:pt idx="14084" formatCode="0.0%">
                  <c:v>0.14014250833472974</c:v>
                </c:pt>
                <c:pt idx="14085" formatCode="0.0%">
                  <c:v>0.14054975912539572</c:v>
                </c:pt>
                <c:pt idx="14086" formatCode="0.0%">
                  <c:v>0.14611628422942299</c:v>
                </c:pt>
                <c:pt idx="14087" formatCode="0.0%">
                  <c:v>0.15029758088331902</c:v>
                </c:pt>
                <c:pt idx="14088" formatCode="0.0%">
                  <c:v>0.14890200971010531</c:v>
                </c:pt>
                <c:pt idx="14089" formatCode="0.0%">
                  <c:v>0.14866243707658561</c:v>
                </c:pt>
                <c:pt idx="14090" formatCode="0.0%">
                  <c:v>0.15660544323003095</c:v>
                </c:pt>
                <c:pt idx="14091" formatCode="0.0%">
                  <c:v>0.13794589454333819</c:v>
                </c:pt>
                <c:pt idx="14092" formatCode="0.0%">
                  <c:v>0.13108185263100069</c:v>
                </c:pt>
                <c:pt idx="14093" formatCode="0.0%">
                  <c:v>0.11961748865324967</c:v>
                </c:pt>
                <c:pt idx="14094" formatCode="0.0%">
                  <c:v>0.13260424829235762</c:v>
                </c:pt>
                <c:pt idx="14095" formatCode="0.0%">
                  <c:v>0.13089372089604218</c:v>
                </c:pt>
                <c:pt idx="14096" formatCode="0.0%">
                  <c:v>0.12907149907524379</c:v>
                </c:pt>
                <c:pt idx="14097" formatCode="0.0%">
                  <c:v>0.12828643473032494</c:v>
                </c:pt>
                <c:pt idx="14098" formatCode="0.0%">
                  <c:v>0.1225262200300636</c:v>
                </c:pt>
                <c:pt idx="14099" formatCode="0.0%">
                  <c:v>0.11525503884318422</c:v>
                </c:pt>
                <c:pt idx="14100" formatCode="0.0%">
                  <c:v>0.12924610042187482</c:v>
                </c:pt>
                <c:pt idx="14101" formatCode="0.0%">
                  <c:v>0.12800671306117037</c:v>
                </c:pt>
                <c:pt idx="14102" formatCode="0.0%">
                  <c:v>0.11926158095861625</c:v>
                </c:pt>
                <c:pt idx="14103" formatCode="0.0%">
                  <c:v>0.11922359813722375</c:v>
                </c:pt>
                <c:pt idx="14104" formatCode="0.0%">
                  <c:v>0.12069259789611707</c:v>
                </c:pt>
                <c:pt idx="14105" formatCode="0.0%">
                  <c:v>0.13591331166491952</c:v>
                </c:pt>
                <c:pt idx="14106" formatCode="0.0%">
                  <c:v>0.12898667871522754</c:v>
                </c:pt>
                <c:pt idx="14107" formatCode="0.0%">
                  <c:v>0.12689763314003089</c:v>
                </c:pt>
                <c:pt idx="14108" formatCode="0.0%">
                  <c:v>0.12536300133773198</c:v>
                </c:pt>
                <c:pt idx="14109" formatCode="0.0%">
                  <c:v>0.12761193580692229</c:v>
                </c:pt>
                <c:pt idx="14110" formatCode="0.0%">
                  <c:v>0.11912146002762289</c:v>
                </c:pt>
                <c:pt idx="14111" formatCode="0.0%">
                  <c:v>0.12254928679790041</c:v>
                </c:pt>
                <c:pt idx="14112" formatCode="0.0%">
                  <c:v>0.12573602366500841</c:v>
                </c:pt>
                <c:pt idx="14113" formatCode="0.0%">
                  <c:v>0.12561015954511723</c:v>
                </c:pt>
                <c:pt idx="14114" formatCode="0.0%">
                  <c:v>0.11718034244964015</c:v>
                </c:pt>
                <c:pt idx="14115" formatCode="0.0%">
                  <c:v>0.1172681900314247</c:v>
                </c:pt>
                <c:pt idx="14116" formatCode="0.0%">
                  <c:v>0.11699817476447362</c:v>
                </c:pt>
                <c:pt idx="14117" formatCode="0.0%">
                  <c:v>0.11813192636511835</c:v>
                </c:pt>
                <c:pt idx="14118" formatCode="0.0%">
                  <c:v>0.1175309630385057</c:v>
                </c:pt>
                <c:pt idx="14119" formatCode="0.0%">
                  <c:v>0.11904666737636679</c:v>
                </c:pt>
                <c:pt idx="14120" formatCode="0.0%">
                  <c:v>0.11376114312275337</c:v>
                </c:pt>
                <c:pt idx="14121" formatCode="0.0%">
                  <c:v>0.11367641913199969</c:v>
                </c:pt>
                <c:pt idx="14122" formatCode="0.0%">
                  <c:v>0.11504679450366201</c:v>
                </c:pt>
                <c:pt idx="14123" formatCode="0.0%">
                  <c:v>0.11589373183094154</c:v>
                </c:pt>
                <c:pt idx="14124" formatCode="0.0%">
                  <c:v>0.11327549893165477</c:v>
                </c:pt>
                <c:pt idx="14125" formatCode="0.0%">
                  <c:v>0.10312083683816549</c:v>
                </c:pt>
                <c:pt idx="14126" formatCode="0.0%">
                  <c:v>0.10523652525403004</c:v>
                </c:pt>
                <c:pt idx="14127" formatCode="0.0%">
                  <c:v>0.10326169051355284</c:v>
                </c:pt>
                <c:pt idx="14128" formatCode="0.0%">
                  <c:v>0.10206731318940601</c:v>
                </c:pt>
                <c:pt idx="14129" formatCode="0.0%">
                  <c:v>0.10426812965002911</c:v>
                </c:pt>
                <c:pt idx="14130" formatCode="0.0%">
                  <c:v>0.10543169341667089</c:v>
                </c:pt>
                <c:pt idx="14131" formatCode="0.0%">
                  <c:v>0.10461271775699856</c:v>
                </c:pt>
                <c:pt idx="14132" formatCode="0.0%">
                  <c:v>0.10060664827760274</c:v>
                </c:pt>
                <c:pt idx="14133" formatCode="0.0%">
                  <c:v>9.9482489975382185E-2</c:v>
                </c:pt>
                <c:pt idx="14134" formatCode="0.0%">
                  <c:v>9.5727284851268163E-2</c:v>
                </c:pt>
                <c:pt idx="14135" formatCode="0.0%">
                  <c:v>9.7693456931622943E-2</c:v>
                </c:pt>
                <c:pt idx="14136" formatCode="0.0%">
                  <c:v>9.9022379695058435E-2</c:v>
                </c:pt>
                <c:pt idx="14137" formatCode="0.0%">
                  <c:v>8.7009489208607918E-2</c:v>
                </c:pt>
                <c:pt idx="14138" formatCode="0.0%">
                  <c:v>8.6986386326055681E-2</c:v>
                </c:pt>
                <c:pt idx="14139" formatCode="0.0%">
                  <c:v>0.11524024350715996</c:v>
                </c:pt>
                <c:pt idx="14140" formatCode="0.0%">
                  <c:v>0.11307674080433511</c:v>
                </c:pt>
                <c:pt idx="14141" formatCode="0.0%">
                  <c:v>0.11261716644737976</c:v>
                </c:pt>
                <c:pt idx="14142" formatCode="0.0%">
                  <c:v>0.11510406303439938</c:v>
                </c:pt>
                <c:pt idx="14143" formatCode="0.0%">
                  <c:v>0.11513319264142516</c:v>
                </c:pt>
                <c:pt idx="14144" formatCode="0.0%">
                  <c:v>0.11567572025678663</c:v>
                </c:pt>
                <c:pt idx="14145" formatCode="0.0%">
                  <c:v>0.12038130385070415</c:v>
                </c:pt>
                <c:pt idx="14146" formatCode="0.0%">
                  <c:v>0.12011582188880515</c:v>
                </c:pt>
                <c:pt idx="14147" formatCode="0.0%">
                  <c:v>0.11885324884910184</c:v>
                </c:pt>
                <c:pt idx="14148" formatCode="0.0%">
                  <c:v>0.12336900925515479</c:v>
                </c:pt>
                <c:pt idx="14149" formatCode="0.0%">
                  <c:v>0.12340849824451254</c:v>
                </c:pt>
                <c:pt idx="14150" formatCode="0.0%">
                  <c:v>0.14255296728736466</c:v>
                </c:pt>
                <c:pt idx="14151" formatCode="0.0%">
                  <c:v>0.14315102222197351</c:v>
                </c:pt>
                <c:pt idx="14152" formatCode="0.0%">
                  <c:v>0.15159639819541937</c:v>
                </c:pt>
                <c:pt idx="14153" formatCode="0.0%">
                  <c:v>0.15071743280125272</c:v>
                </c:pt>
                <c:pt idx="14154" formatCode="0.0%">
                  <c:v>0.14269473992168955</c:v>
                </c:pt>
                <c:pt idx="14155" formatCode="0.0%">
                  <c:v>0.14334229772508061</c:v>
                </c:pt>
                <c:pt idx="14156" formatCode="0.0%">
                  <c:v>0.1428307558242069</c:v>
                </c:pt>
                <c:pt idx="14157" formatCode="0.0%">
                  <c:v>0.14551654101088127</c:v>
                </c:pt>
                <c:pt idx="14158" formatCode="0.0%">
                  <c:v>0.14789506588179188</c:v>
                </c:pt>
                <c:pt idx="14159" formatCode="0.0%">
                  <c:v>0.13390119326341865</c:v>
                </c:pt>
                <c:pt idx="14160" formatCode="0.0%">
                  <c:v>0.13120541667801969</c:v>
                </c:pt>
                <c:pt idx="14161" formatCode="0.0%">
                  <c:v>0.13086550399072228</c:v>
                </c:pt>
                <c:pt idx="14162" formatCode="0.0%">
                  <c:v>0.12827013006242682</c:v>
                </c:pt>
                <c:pt idx="14163" formatCode="0.0%">
                  <c:v>0.12861878646989297</c:v>
                </c:pt>
                <c:pt idx="14164" formatCode="0.0%">
                  <c:v>0.13164935175722012</c:v>
                </c:pt>
                <c:pt idx="14165" formatCode="0.0%">
                  <c:v>0.12272239099865864</c:v>
                </c:pt>
                <c:pt idx="14166" formatCode="0.0%">
                  <c:v>0.13297260412179845</c:v>
                </c:pt>
                <c:pt idx="14167" formatCode="0.0%">
                  <c:v>0.13339170831733979</c:v>
                </c:pt>
                <c:pt idx="14168" formatCode="0.0%">
                  <c:v>0.12877370479052466</c:v>
                </c:pt>
                <c:pt idx="14169" formatCode="0.0%">
                  <c:v>0.12490748312819526</c:v>
                </c:pt>
                <c:pt idx="14170" formatCode="0.0%">
                  <c:v>0.10889045488993976</c:v>
                </c:pt>
                <c:pt idx="14171" formatCode="0.0%">
                  <c:v>0.10925106975453902</c:v>
                </c:pt>
                <c:pt idx="14172" formatCode="0.0%">
                  <c:v>9.6102418370122442E-2</c:v>
                </c:pt>
                <c:pt idx="14173" formatCode="0.0%">
                  <c:v>9.7133651117173689E-2</c:v>
                </c:pt>
                <c:pt idx="14174" formatCode="0.0%">
                  <c:v>9.7359543348444086E-2</c:v>
                </c:pt>
                <c:pt idx="14175" formatCode="0.0%">
                  <c:v>9.9434832398441586E-2</c:v>
                </c:pt>
                <c:pt idx="14176" formatCode="0.0%">
                  <c:v>0.10133799362888875</c:v>
                </c:pt>
                <c:pt idx="14177" formatCode="0.0%">
                  <c:v>0.10444982503177479</c:v>
                </c:pt>
                <c:pt idx="14178" formatCode="0.0%">
                  <c:v>0.10391669603224968</c:v>
                </c:pt>
                <c:pt idx="14179" formatCode="0.0%">
                  <c:v>0.1055354011294103</c:v>
                </c:pt>
                <c:pt idx="14180" formatCode="0.0%">
                  <c:v>0.10648618266097908</c:v>
                </c:pt>
                <c:pt idx="14181" formatCode="0.0%">
                  <c:v>0.13439595393695175</c:v>
                </c:pt>
                <c:pt idx="14182" formatCode="0.0%">
                  <c:v>0.15857122895375866</c:v>
                </c:pt>
                <c:pt idx="14183" formatCode="0.0%">
                  <c:v>0.18118963352324205</c:v>
                </c:pt>
                <c:pt idx="14184" formatCode="0.0%">
                  <c:v>0.18061037815381997</c:v>
                </c:pt>
                <c:pt idx="14185" formatCode="0.0%">
                  <c:v>0.17944711329773058</c:v>
                </c:pt>
                <c:pt idx="14186" formatCode="0.0%">
                  <c:v>0.16940864796218411</c:v>
                </c:pt>
                <c:pt idx="14187" formatCode="0.0%">
                  <c:v>0.18066334721149047</c:v>
                </c:pt>
                <c:pt idx="14188" formatCode="0.0%">
                  <c:v>0.18173529169346539</c:v>
                </c:pt>
                <c:pt idx="14189" formatCode="0.0%">
                  <c:v>0.18244468228700719</c:v>
                </c:pt>
                <c:pt idx="14190" formatCode="0.0%">
                  <c:v>0.18615446912615669</c:v>
                </c:pt>
                <c:pt idx="14191" formatCode="0.0%">
                  <c:v>0.18905491072737857</c:v>
                </c:pt>
                <c:pt idx="14192" formatCode="0.0%">
                  <c:v>0.18507937284215026</c:v>
                </c:pt>
                <c:pt idx="14193" formatCode="0.0%">
                  <c:v>0.18168975194457149</c:v>
                </c:pt>
                <c:pt idx="14194" formatCode="0.0%">
                  <c:v>0.1787775012640371</c:v>
                </c:pt>
                <c:pt idx="14195" formatCode="0.0%">
                  <c:v>0.17720247515254919</c:v>
                </c:pt>
                <c:pt idx="14196" formatCode="0.0%">
                  <c:v>0.18138580919887265</c:v>
                </c:pt>
                <c:pt idx="14197" formatCode="0.0%">
                  <c:v>0.18209608209902395</c:v>
                </c:pt>
                <c:pt idx="14198" formatCode="0.0%">
                  <c:v>0.18224329356099456</c:v>
                </c:pt>
                <c:pt idx="14199" formatCode="0.0%">
                  <c:v>0.18204982952163265</c:v>
                </c:pt>
                <c:pt idx="14200" formatCode="0.0%">
                  <c:v>0.18190346984671318</c:v>
                </c:pt>
                <c:pt idx="14201" formatCode="0.0%">
                  <c:v>0.17160057305373938</c:v>
                </c:pt>
                <c:pt idx="14202" formatCode="0.0%">
                  <c:v>0.15405619726853367</c:v>
                </c:pt>
                <c:pt idx="14203" formatCode="0.0%">
                  <c:v>0.12375457374352564</c:v>
                </c:pt>
                <c:pt idx="14204" formatCode="0.0%">
                  <c:v>0.1310659710435772</c:v>
                </c:pt>
                <c:pt idx="14205" formatCode="0.0%">
                  <c:v>0.13194437400665171</c:v>
                </c:pt>
                <c:pt idx="14206" formatCode="0.0%">
                  <c:v>0.13240761924936048</c:v>
                </c:pt>
                <c:pt idx="14207" formatCode="0.0%">
                  <c:v>0.10750908365150491</c:v>
                </c:pt>
                <c:pt idx="14208" formatCode="0.0%">
                  <c:v>0.10750671869638731</c:v>
                </c:pt>
                <c:pt idx="14209" formatCode="0.0%">
                  <c:v>0.10763271258238949</c:v>
                </c:pt>
                <c:pt idx="14210" formatCode="0.0%">
                  <c:v>0.10552273770991334</c:v>
                </c:pt>
                <c:pt idx="14211" formatCode="0.0%">
                  <c:v>0.11954952636264937</c:v>
                </c:pt>
                <c:pt idx="14212" formatCode="0.0%">
                  <c:v>0.11913358588835717</c:v>
                </c:pt>
                <c:pt idx="14213" formatCode="0.0%">
                  <c:v>0.11914675977235124</c:v>
                </c:pt>
                <c:pt idx="14214" formatCode="0.0%">
                  <c:v>0.12222441682881235</c:v>
                </c:pt>
                <c:pt idx="14215" formatCode="0.0%">
                  <c:v>0.10645868092088366</c:v>
                </c:pt>
                <c:pt idx="14216" formatCode="0.0%">
                  <c:v>0.10583480332173739</c:v>
                </c:pt>
                <c:pt idx="14217" formatCode="0.0%">
                  <c:v>0.11270209308464253</c:v>
                </c:pt>
                <c:pt idx="14218" formatCode="0.0%">
                  <c:v>0.11240382284173786</c:v>
                </c:pt>
                <c:pt idx="14219" formatCode="0.0%">
                  <c:v>0.11067484249789757</c:v>
                </c:pt>
                <c:pt idx="14220" formatCode="0.0%">
                  <c:v>0.10957322920379158</c:v>
                </c:pt>
                <c:pt idx="14221" formatCode="0.0%">
                  <c:v>0.11051672527738415</c:v>
                </c:pt>
                <c:pt idx="14222" formatCode="0.0%">
                  <c:v>0.11154835647165803</c:v>
                </c:pt>
                <c:pt idx="14223" formatCode="0.0%">
                  <c:v>0.11578374794874689</c:v>
                </c:pt>
                <c:pt idx="14224" formatCode="0.0%">
                  <c:v>0.11147366551915361</c:v>
                </c:pt>
                <c:pt idx="14225" formatCode="0.0%">
                  <c:v>0.11345429924205482</c:v>
                </c:pt>
                <c:pt idx="14226" formatCode="0.0%">
                  <c:v>0.10948905960657618</c:v>
                </c:pt>
                <c:pt idx="14227" formatCode="0.0%">
                  <c:v>0.10644666088626215</c:v>
                </c:pt>
                <c:pt idx="14228" formatCode="0.0%">
                  <c:v>0.10693419681311413</c:v>
                </c:pt>
                <c:pt idx="14229" formatCode="0.0%">
                  <c:v>0.10697884745661063</c:v>
                </c:pt>
                <c:pt idx="14230" formatCode="0.0%">
                  <c:v>0.10744877722282214</c:v>
                </c:pt>
                <c:pt idx="14231" formatCode="0.0%">
                  <c:v>7.8692922201506851E-2</c:v>
                </c:pt>
                <c:pt idx="14232" formatCode="0.0%">
                  <c:v>8.3514004112266518E-2</c:v>
                </c:pt>
                <c:pt idx="14233" formatCode="0.0%">
                  <c:v>9.2095256992091978E-2</c:v>
                </c:pt>
                <c:pt idx="14234" formatCode="0.0%">
                  <c:v>9.1049814926961917E-2</c:v>
                </c:pt>
                <c:pt idx="14235" formatCode="0.0%">
                  <c:v>9.0884681914078294E-2</c:v>
                </c:pt>
                <c:pt idx="14236" formatCode="0.0%">
                  <c:v>0.1258760379251237</c:v>
                </c:pt>
                <c:pt idx="14237" formatCode="0.0%">
                  <c:v>0.11911975241563777</c:v>
                </c:pt>
                <c:pt idx="14238" formatCode="0.0%">
                  <c:v>0.11961169881440992</c:v>
                </c:pt>
                <c:pt idx="14239" formatCode="0.0%">
                  <c:v>0.11973913960122463</c:v>
                </c:pt>
                <c:pt idx="14240" formatCode="0.0%">
                  <c:v>0.11901685326673968</c:v>
                </c:pt>
                <c:pt idx="14241" formatCode="0.0%">
                  <c:v>0.11971637261183193</c:v>
                </c:pt>
                <c:pt idx="14242" formatCode="0.0%">
                  <c:v>0.12031003809130103</c:v>
                </c:pt>
                <c:pt idx="14243" formatCode="0.0%">
                  <c:v>0.11642130262438107</c:v>
                </c:pt>
                <c:pt idx="14244" formatCode="0.0%">
                  <c:v>0.12174838956553272</c:v>
                </c:pt>
                <c:pt idx="14245" formatCode="0.0%">
                  <c:v>0.11983743287266135</c:v>
                </c:pt>
                <c:pt idx="14246" formatCode="0.0%">
                  <c:v>0.12247426102565002</c:v>
                </c:pt>
                <c:pt idx="14247" formatCode="0.0%">
                  <c:v>0.12220452150751343</c:v>
                </c:pt>
                <c:pt idx="14248" formatCode="0.0%">
                  <c:v>0.12227797631895911</c:v>
                </c:pt>
                <c:pt idx="14249" formatCode="0.0%">
                  <c:v>0.12474751124631903</c:v>
                </c:pt>
                <c:pt idx="14250" formatCode="0.0%">
                  <c:v>0.12963239210831787</c:v>
                </c:pt>
                <c:pt idx="14251" formatCode="0.0%">
                  <c:v>0.13059479806155078</c:v>
                </c:pt>
                <c:pt idx="14252" formatCode="0.0%">
                  <c:v>0.13110406741113662</c:v>
                </c:pt>
                <c:pt idx="14253" formatCode="0.0%">
                  <c:v>0.12729869248718542</c:v>
                </c:pt>
                <c:pt idx="14254" formatCode="0.0%">
                  <c:v>0.12914223138013115</c:v>
                </c:pt>
                <c:pt idx="14255" formatCode="0.0%">
                  <c:v>0.12817209722291104</c:v>
                </c:pt>
                <c:pt idx="14256" formatCode="0.0%">
                  <c:v>9.4140495295688451E-2</c:v>
                </c:pt>
                <c:pt idx="14257" formatCode="0.0%">
                  <c:v>0.10085613415648495</c:v>
                </c:pt>
                <c:pt idx="14258" formatCode="0.0%">
                  <c:v>0.1020551452233424</c:v>
                </c:pt>
                <c:pt idx="14259" formatCode="0.0%">
                  <c:v>0.10580436134244943</c:v>
                </c:pt>
                <c:pt idx="14260" formatCode="0.0%">
                  <c:v>0.10619384714544329</c:v>
                </c:pt>
                <c:pt idx="14261" formatCode="0.0%">
                  <c:v>0.11766665915384043</c:v>
                </c:pt>
                <c:pt idx="14262" formatCode="0.0%">
                  <c:v>0.11937989961927417</c:v>
                </c:pt>
                <c:pt idx="14263" formatCode="0.0%">
                  <c:v>0.11972961964953693</c:v>
                </c:pt>
                <c:pt idx="14264" formatCode="0.0%">
                  <c:v>0.11420546464709672</c:v>
                </c:pt>
                <c:pt idx="14265" formatCode="0.0%">
                  <c:v>0.11550685491100833</c:v>
                </c:pt>
                <c:pt idx="14266" formatCode="0.0%">
                  <c:v>0.11048513874009926</c:v>
                </c:pt>
                <c:pt idx="14267" formatCode="0.0%">
                  <c:v>0.11111958576623486</c:v>
                </c:pt>
                <c:pt idx="14268" formatCode="0.0%">
                  <c:v>0.10832968898029396</c:v>
                </c:pt>
                <c:pt idx="14269" formatCode="0.0%">
                  <c:v>0.10001611047226548</c:v>
                </c:pt>
                <c:pt idx="14270" formatCode="0.0%">
                  <c:v>0.10090986045683109</c:v>
                </c:pt>
                <c:pt idx="14271" formatCode="0.0%">
                  <c:v>0.10093422031289481</c:v>
                </c:pt>
                <c:pt idx="14272" formatCode="0.0%">
                  <c:v>0.10123865585449474</c:v>
                </c:pt>
                <c:pt idx="14273" formatCode="0.0%">
                  <c:v>0.10176680070879332</c:v>
                </c:pt>
                <c:pt idx="14274" formatCode="0.0%">
                  <c:v>9.8508148834824991E-2</c:v>
                </c:pt>
                <c:pt idx="14275" formatCode="0.0%">
                  <c:v>9.9424610164335334E-2</c:v>
                </c:pt>
                <c:pt idx="14276" formatCode="0.0%">
                  <c:v>0.10222705381898807</c:v>
                </c:pt>
                <c:pt idx="14277" formatCode="0.0%">
                  <c:v>9.7758535050545228E-2</c:v>
                </c:pt>
                <c:pt idx="14278" formatCode="0.0%">
                  <c:v>0.13499778827540693</c:v>
                </c:pt>
                <c:pt idx="14279" formatCode="0.0%">
                  <c:v>0.13588632646608265</c:v>
                </c:pt>
                <c:pt idx="14280" formatCode="0.0%">
                  <c:v>0.13721964313796944</c:v>
                </c:pt>
                <c:pt idx="14281" formatCode="0.0%">
                  <c:v>0.12824982512176103</c:v>
                </c:pt>
                <c:pt idx="14282" formatCode="0.0%">
                  <c:v>0.12771284978077418</c:v>
                </c:pt>
                <c:pt idx="14283" formatCode="0.0%">
                  <c:v>0.12696976664947787</c:v>
                </c:pt>
                <c:pt idx="14284" formatCode="0.0%">
                  <c:v>0.12481507306570074</c:v>
                </c:pt>
                <c:pt idx="14285" formatCode="0.0%">
                  <c:v>0.12238612766989797</c:v>
                </c:pt>
                <c:pt idx="14286" formatCode="0.0%">
                  <c:v>0.12325698456402405</c:v>
                </c:pt>
                <c:pt idx="14287" formatCode="0.0%">
                  <c:v>0.12940708696922332</c:v>
                </c:pt>
                <c:pt idx="14288" formatCode="0.0%">
                  <c:v>0.13048740217632432</c:v>
                </c:pt>
                <c:pt idx="14289" formatCode="0.0%">
                  <c:v>0.12872062657827946</c:v>
                </c:pt>
                <c:pt idx="14290" formatCode="0.0%">
                  <c:v>0.12850212737127933</c:v>
                </c:pt>
                <c:pt idx="14291" formatCode="0.0%">
                  <c:v>0.12805378003916201</c:v>
                </c:pt>
                <c:pt idx="14292" formatCode="0.0%">
                  <c:v>0.12987096890763936</c:v>
                </c:pt>
                <c:pt idx="14293" formatCode="0.0%">
                  <c:v>0.1448589846506767</c:v>
                </c:pt>
                <c:pt idx="14294" formatCode="0.0%">
                  <c:v>0.14473698857606795</c:v>
                </c:pt>
                <c:pt idx="14295" formatCode="0.0%">
                  <c:v>0.15033146290364516</c:v>
                </c:pt>
                <c:pt idx="14296" formatCode="0.0%">
                  <c:v>0.14998697635416813</c:v>
                </c:pt>
                <c:pt idx="14297" formatCode="0.0%">
                  <c:v>0.14950859929952981</c:v>
                </c:pt>
                <c:pt idx="14298" formatCode="0.0%">
                  <c:v>0.1178392682192526</c:v>
                </c:pt>
                <c:pt idx="14299" formatCode="0.0%">
                  <c:v>0.11565406087964038</c:v>
                </c:pt>
                <c:pt idx="14300" formatCode="0.0%">
                  <c:v>0.13586530288583099</c:v>
                </c:pt>
                <c:pt idx="14301" formatCode="0.0%">
                  <c:v>0.13279283405037129</c:v>
                </c:pt>
                <c:pt idx="14302" formatCode="0.0%">
                  <c:v>0.13443659004918912</c:v>
                </c:pt>
                <c:pt idx="14303" formatCode="0.0%">
                  <c:v>0.13530764892904729</c:v>
                </c:pt>
                <c:pt idx="14304" formatCode="0.0%">
                  <c:v>0.13251792368072243</c:v>
                </c:pt>
                <c:pt idx="14305" formatCode="0.0%">
                  <c:v>0.1329738653182925</c:v>
                </c:pt>
                <c:pt idx="14306" formatCode="0.0%">
                  <c:v>0.13483890663109857</c:v>
                </c:pt>
                <c:pt idx="14307" formatCode="0.0%">
                  <c:v>0.12363217226509049</c:v>
                </c:pt>
                <c:pt idx="14308" formatCode="0.0%">
                  <c:v>0.11959782094600112</c:v>
                </c:pt>
                <c:pt idx="14309" formatCode="0.0%">
                  <c:v>0.11977277156962329</c:v>
                </c:pt>
                <c:pt idx="14310" formatCode="0.0%">
                  <c:v>0.12111392277244748</c:v>
                </c:pt>
                <c:pt idx="14311" formatCode="0.0%">
                  <c:v>0.11954776928101553</c:v>
                </c:pt>
                <c:pt idx="14312" formatCode="0.0%">
                  <c:v>0.12091320304669513</c:v>
                </c:pt>
                <c:pt idx="14313" formatCode="0.0%">
                  <c:v>0.10929587095937866</c:v>
                </c:pt>
                <c:pt idx="14314" formatCode="0.0%">
                  <c:v>0.10705400701050218</c:v>
                </c:pt>
                <c:pt idx="14315" formatCode="0.0%">
                  <c:v>0.1083111499173789</c:v>
                </c:pt>
                <c:pt idx="14316" formatCode="0.0%">
                  <c:v>0.10863620868049909</c:v>
                </c:pt>
                <c:pt idx="14317" formatCode="0.0%">
                  <c:v>0.11736894771486323</c:v>
                </c:pt>
                <c:pt idx="14318" formatCode="0.0%">
                  <c:v>0.11936833788604671</c:v>
                </c:pt>
                <c:pt idx="14319" formatCode="0.0%">
                  <c:v>0.12249750438052946</c:v>
                </c:pt>
                <c:pt idx="14320" formatCode="0.0%">
                  <c:v>9.8774203158989743E-2</c:v>
                </c:pt>
                <c:pt idx="14321" formatCode="0.0%">
                  <c:v>9.9183496286096351E-2</c:v>
                </c:pt>
                <c:pt idx="14322" formatCode="0.0%">
                  <c:v>9.6580312594170228E-2</c:v>
                </c:pt>
                <c:pt idx="14323" formatCode="0.0%">
                  <c:v>9.7414292360676322E-2</c:v>
                </c:pt>
                <c:pt idx="14324" formatCode="0.0%">
                  <c:v>9.6934848486136219E-2</c:v>
                </c:pt>
                <c:pt idx="14325" formatCode="0.0%">
                  <c:v>0.10350391771244101</c:v>
                </c:pt>
                <c:pt idx="14326" formatCode="0.0%">
                  <c:v>9.8600545355407576E-2</c:v>
                </c:pt>
                <c:pt idx="14327" formatCode="0.0%">
                  <c:v>9.8873270995338186E-2</c:v>
                </c:pt>
                <c:pt idx="14328" formatCode="0.0%">
                  <c:v>0.10599738998614124</c:v>
                </c:pt>
                <c:pt idx="14329" formatCode="0.0%">
                  <c:v>0.10671260723902058</c:v>
                </c:pt>
                <c:pt idx="14330" formatCode="0.0%">
                  <c:v>0.10173377844909946</c:v>
                </c:pt>
                <c:pt idx="14331" formatCode="0.0%">
                  <c:v>0.10676748035930744</c:v>
                </c:pt>
                <c:pt idx="14332" formatCode="0.0%">
                  <c:v>0.10908868718478514</c:v>
                </c:pt>
                <c:pt idx="14333" formatCode="0.0%">
                  <c:v>0.10514382406591279</c:v>
                </c:pt>
                <c:pt idx="14334" formatCode="0.0%">
                  <c:v>0.10466871496210516</c:v>
                </c:pt>
                <c:pt idx="14335" formatCode="0.0%">
                  <c:v>0.10173684909985267</c:v>
                </c:pt>
                <c:pt idx="14336" formatCode="0.0%">
                  <c:v>0.1055633542693835</c:v>
                </c:pt>
                <c:pt idx="14337" formatCode="0.0%">
                  <c:v>8.7033101057743048E-2</c:v>
                </c:pt>
                <c:pt idx="14338" formatCode="0.0%">
                  <c:v>8.8627275189856816E-2</c:v>
                </c:pt>
                <c:pt idx="14339" formatCode="0.0%">
                  <c:v>8.886050974214231E-2</c:v>
                </c:pt>
                <c:pt idx="14340" formatCode="0.0%">
                  <c:v>0.10590803899652626</c:v>
                </c:pt>
                <c:pt idx="14341" formatCode="0.0%">
                  <c:v>0.10615954257051666</c:v>
                </c:pt>
                <c:pt idx="14342" formatCode="0.0%">
                  <c:v>0.10477324189828263</c:v>
                </c:pt>
                <c:pt idx="14343" formatCode="0.0%">
                  <c:v>0.10366666264168953</c:v>
                </c:pt>
                <c:pt idx="14344" formatCode="0.0%">
                  <c:v>0.10576138774023881</c:v>
                </c:pt>
                <c:pt idx="14345" formatCode="0.0%">
                  <c:v>9.8059049936352963E-2</c:v>
                </c:pt>
                <c:pt idx="14346" formatCode="0.0%">
                  <c:v>0.10082656332202114</c:v>
                </c:pt>
                <c:pt idx="14347" formatCode="0.0%">
                  <c:v>0.10024798833674349</c:v>
                </c:pt>
                <c:pt idx="14348" formatCode="0.0%">
                  <c:v>9.384099455244406E-2</c:v>
                </c:pt>
                <c:pt idx="14349" formatCode="0.0%">
                  <c:v>9.2370726088987304E-2</c:v>
                </c:pt>
                <c:pt idx="14350" formatCode="0.0%">
                  <c:v>9.3257824118291796E-2</c:v>
                </c:pt>
                <c:pt idx="14351" formatCode="0.0%">
                  <c:v>9.234709323298633E-2</c:v>
                </c:pt>
                <c:pt idx="14352" formatCode="0.0%">
                  <c:v>8.968252026084178E-2</c:v>
                </c:pt>
                <c:pt idx="14353" formatCode="0.0%">
                  <c:v>9.1491405383714364E-2</c:v>
                </c:pt>
                <c:pt idx="14354" formatCode="0.0%">
                  <c:v>9.1439749369650131E-2</c:v>
                </c:pt>
                <c:pt idx="14355" formatCode="0.0%">
                  <c:v>9.3068949444640128E-2</c:v>
                </c:pt>
                <c:pt idx="14356" formatCode="0.0%">
                  <c:v>8.9041475027651917E-2</c:v>
                </c:pt>
                <c:pt idx="14357" formatCode="0.0%">
                  <c:v>8.8651585534710434E-2</c:v>
                </c:pt>
                <c:pt idx="14358" formatCode="0.0%">
                  <c:v>8.3325610120098981E-2</c:v>
                </c:pt>
                <c:pt idx="14359" formatCode="0.0%">
                  <c:v>8.3287845630302768E-2</c:v>
                </c:pt>
                <c:pt idx="14360" formatCode="0.0%">
                  <c:v>6.608840304804911E-2</c:v>
                </c:pt>
                <c:pt idx="14361" formatCode="0.0%">
                  <c:v>6.7785726620076439E-2</c:v>
                </c:pt>
                <c:pt idx="14362" formatCode="0.0%">
                  <c:v>6.7782829375581721E-2</c:v>
                </c:pt>
                <c:pt idx="14363" formatCode="0.0%">
                  <c:v>6.804191063384947E-2</c:v>
                </c:pt>
                <c:pt idx="14364" formatCode="0.0%">
                  <c:v>6.6770772383347249E-2</c:v>
                </c:pt>
                <c:pt idx="14365" formatCode="0.0%">
                  <c:v>6.6646953589436786E-2</c:v>
                </c:pt>
                <c:pt idx="14366" formatCode="0.0%">
                  <c:v>6.6852048026460664E-2</c:v>
                </c:pt>
                <c:pt idx="14367" formatCode="0.0%">
                  <c:v>7.2475756609846939E-2</c:v>
                </c:pt>
                <c:pt idx="14368" formatCode="0.0%">
                  <c:v>7.6481415697486982E-2</c:v>
                </c:pt>
                <c:pt idx="14369" formatCode="0.0%">
                  <c:v>7.6927628648376351E-2</c:v>
                </c:pt>
                <c:pt idx="14370" formatCode="0.0%">
                  <c:v>8.0767617017602558E-2</c:v>
                </c:pt>
                <c:pt idx="14371" formatCode="0.0%">
                  <c:v>7.7216163890708067E-2</c:v>
                </c:pt>
                <c:pt idx="14372" formatCode="0.0%">
                  <c:v>8.0051679810824172E-2</c:v>
                </c:pt>
                <c:pt idx="14373" formatCode="0.0%">
                  <c:v>7.7062526850004948E-2</c:v>
                </c:pt>
                <c:pt idx="14374" formatCode="0.0%">
                  <c:v>7.8182031837740126E-2</c:v>
                </c:pt>
                <c:pt idx="14375" formatCode="0.0%">
                  <c:v>7.4949801340003563E-2</c:v>
                </c:pt>
                <c:pt idx="14376" formatCode="0.0%">
                  <c:v>7.7622912433180771E-2</c:v>
                </c:pt>
                <c:pt idx="14377" formatCode="0.0%">
                  <c:v>8.9222114138533329E-2</c:v>
                </c:pt>
                <c:pt idx="14378" formatCode="0.0%">
                  <c:v>8.9178841958155369E-2</c:v>
                </c:pt>
                <c:pt idx="14379" formatCode="0.0%">
                  <c:v>9.0904128752390526E-2</c:v>
                </c:pt>
                <c:pt idx="14380" formatCode="0.0%">
                  <c:v>9.124861368491842E-2</c:v>
                </c:pt>
                <c:pt idx="14381" formatCode="0.0%">
                  <c:v>9.0719323112470551E-2</c:v>
                </c:pt>
                <c:pt idx="14382" formatCode="0.0%">
                  <c:v>9.5195594892734367E-2</c:v>
                </c:pt>
                <c:pt idx="14383" formatCode="0.0%">
                  <c:v>0.10085411239759477</c:v>
                </c:pt>
                <c:pt idx="14384" formatCode="0.0%">
                  <c:v>0.10013947243776947</c:v>
                </c:pt>
                <c:pt idx="14385" formatCode="0.0%">
                  <c:v>0.10389695180631553</c:v>
                </c:pt>
                <c:pt idx="14386" formatCode="0.0%">
                  <c:v>0.10501313446789041</c:v>
                </c:pt>
                <c:pt idx="14387" formatCode="0.0%">
                  <c:v>0.10099412652354658</c:v>
                </c:pt>
                <c:pt idx="14388" formatCode="0.0%">
                  <c:v>9.4873837204643444E-2</c:v>
                </c:pt>
                <c:pt idx="14389" formatCode="0.0%">
                  <c:v>9.253500875710996E-2</c:v>
                </c:pt>
                <c:pt idx="14390" formatCode="0.0%">
                  <c:v>8.4568916905428226E-2</c:v>
                </c:pt>
                <c:pt idx="14391" formatCode="0.0%">
                  <c:v>8.8094105310922349E-2</c:v>
                </c:pt>
                <c:pt idx="14392" formatCode="0.0%">
                  <c:v>8.8426694826800809E-2</c:v>
                </c:pt>
                <c:pt idx="14393" formatCode="0.0%">
                  <c:v>8.7805129986995842E-2</c:v>
                </c:pt>
                <c:pt idx="14394" formatCode="0.0%">
                  <c:v>8.7901594481796477E-2</c:v>
                </c:pt>
                <c:pt idx="14395" formatCode="0.0%">
                  <c:v>8.7320163197211892E-2</c:v>
                </c:pt>
                <c:pt idx="14396" formatCode="0.0%">
                  <c:v>9.2609207958549808E-2</c:v>
                </c:pt>
                <c:pt idx="14397" formatCode="0.0%">
                  <c:v>8.3793788182600526E-2</c:v>
                </c:pt>
                <c:pt idx="14398" formatCode="0.0%">
                  <c:v>8.4895217077035276E-2</c:v>
                </c:pt>
                <c:pt idx="14399" formatCode="0.0%">
                  <c:v>8.8667754744586616E-2</c:v>
                </c:pt>
                <c:pt idx="14400" formatCode="0.0%">
                  <c:v>9.9630491645369634E-2</c:v>
                </c:pt>
                <c:pt idx="14401" formatCode="0.0%">
                  <c:v>0.10301199157686268</c:v>
                </c:pt>
                <c:pt idx="14402" formatCode="0.0%">
                  <c:v>9.7871435616793206E-2</c:v>
                </c:pt>
                <c:pt idx="14403" formatCode="0.0%">
                  <c:v>8.8113514707912996E-2</c:v>
                </c:pt>
                <c:pt idx="14404" formatCode="0.0%">
                  <c:v>8.8818857105904314E-2</c:v>
                </c:pt>
                <c:pt idx="14405" formatCode="0.0%">
                  <c:v>8.6986501650664586E-2</c:v>
                </c:pt>
                <c:pt idx="14406" formatCode="0.0%">
                  <c:v>0.10156726073997706</c:v>
                </c:pt>
                <c:pt idx="14407" formatCode="0.0%">
                  <c:v>0.10137525905373586</c:v>
                </c:pt>
                <c:pt idx="14408" formatCode="0.0%">
                  <c:v>0.10141139555534415</c:v>
                </c:pt>
                <c:pt idx="14409" formatCode="0.0%">
                  <c:v>0.1013419640813259</c:v>
                </c:pt>
                <c:pt idx="14410" formatCode="0.0%">
                  <c:v>0.1031964940873951</c:v>
                </c:pt>
                <c:pt idx="14411" formatCode="0.0%">
                  <c:v>9.8530209003306349E-2</c:v>
                </c:pt>
                <c:pt idx="14412" formatCode="0.0%">
                  <c:v>9.8640330739144674E-2</c:v>
                </c:pt>
                <c:pt idx="14413" formatCode="0.0%">
                  <c:v>9.8527461801176774E-2</c:v>
                </c:pt>
                <c:pt idx="14414" formatCode="0.0%">
                  <c:v>9.9276084233801867E-2</c:v>
                </c:pt>
                <c:pt idx="14415" formatCode="0.0%">
                  <c:v>9.9819410932125055E-2</c:v>
                </c:pt>
                <c:pt idx="14416" formatCode="0.0%">
                  <c:v>9.6633897420498979E-2</c:v>
                </c:pt>
                <c:pt idx="14417" formatCode="0.0%">
                  <c:v>9.8266631964449264E-2</c:v>
                </c:pt>
                <c:pt idx="14418" formatCode="0.0%">
                  <c:v>0.10022261222090338</c:v>
                </c:pt>
                <c:pt idx="14419" formatCode="0.0%">
                  <c:v>9.5277081419555931E-2</c:v>
                </c:pt>
                <c:pt idx="14420" formatCode="0.0%">
                  <c:v>8.0535592788858676E-2</c:v>
                </c:pt>
                <c:pt idx="14421" formatCode="0.0%">
                  <c:v>7.742936794699308E-2</c:v>
                </c:pt>
                <c:pt idx="14422" formatCode="0.0%">
                  <c:v>8.1497867732559348E-2</c:v>
                </c:pt>
                <c:pt idx="14423" formatCode="0.0%">
                  <c:v>8.1665559552042896E-2</c:v>
                </c:pt>
                <c:pt idx="14424" formatCode="0.0%">
                  <c:v>8.4805354446191555E-2</c:v>
                </c:pt>
                <c:pt idx="14425" formatCode="0.0%">
                  <c:v>8.4844806049566499E-2</c:v>
                </c:pt>
                <c:pt idx="14426" formatCode="0.0%">
                  <c:v>7.2000521391702502E-2</c:v>
                </c:pt>
                <c:pt idx="14427" formatCode="0.0%">
                  <c:v>8.0299178546155398E-2</c:v>
                </c:pt>
                <c:pt idx="14428" formatCode="0.0%">
                  <c:v>8.2500467005009556E-2</c:v>
                </c:pt>
                <c:pt idx="14429" formatCode="0.0%">
                  <c:v>8.2709203749387658E-2</c:v>
                </c:pt>
                <c:pt idx="14430" formatCode="0.0%">
                  <c:v>8.0192013382736627E-2</c:v>
                </c:pt>
                <c:pt idx="14431" formatCode="0.0%">
                  <c:v>9.5260746802058177E-2</c:v>
                </c:pt>
                <c:pt idx="14432" formatCode="0.0%">
                  <c:v>9.4724625985969313E-2</c:v>
                </c:pt>
                <c:pt idx="14433" formatCode="0.0%">
                  <c:v>9.6746209628296956E-2</c:v>
                </c:pt>
                <c:pt idx="14434" formatCode="0.0%">
                  <c:v>9.8855454797343395E-2</c:v>
                </c:pt>
                <c:pt idx="14435" formatCode="0.0%">
                  <c:v>9.742646905243954E-2</c:v>
                </c:pt>
                <c:pt idx="14436" formatCode="0.0%">
                  <c:v>9.810234957510057E-2</c:v>
                </c:pt>
                <c:pt idx="14437" formatCode="0.0%">
                  <c:v>0.1089693583519276</c:v>
                </c:pt>
                <c:pt idx="14438" formatCode="0.0%">
                  <c:v>0.10509433188448825</c:v>
                </c:pt>
                <c:pt idx="14439" formatCode="0.0%">
                  <c:v>0.10791835659365692</c:v>
                </c:pt>
                <c:pt idx="14440" formatCode="0.0%">
                  <c:v>0.10765846308079427</c:v>
                </c:pt>
                <c:pt idx="14441" formatCode="0.0%">
                  <c:v>0.10783434353028848</c:v>
                </c:pt>
                <c:pt idx="14442" formatCode="0.0%">
                  <c:v>9.8639542680400399E-2</c:v>
                </c:pt>
                <c:pt idx="14443" formatCode="0.0%">
                  <c:v>9.5949902785756047E-2</c:v>
                </c:pt>
                <c:pt idx="14444" formatCode="0.0%">
                  <c:v>9.4639923485752273E-2</c:v>
                </c:pt>
                <c:pt idx="14445" formatCode="0.0%">
                  <c:v>9.3310279583299668E-2</c:v>
                </c:pt>
                <c:pt idx="14446" formatCode="0.0%">
                  <c:v>9.4074834506757493E-2</c:v>
                </c:pt>
                <c:pt idx="14447" formatCode="0.0%">
                  <c:v>9.7939232296910803E-2</c:v>
                </c:pt>
                <c:pt idx="14448" formatCode="0.0%">
                  <c:v>9.9736311411858694E-2</c:v>
                </c:pt>
                <c:pt idx="14449" formatCode="0.0%">
                  <c:v>0.10381172175305868</c:v>
                </c:pt>
                <c:pt idx="14450" formatCode="0.0%">
                  <c:v>0.10321063850798684</c:v>
                </c:pt>
                <c:pt idx="14451" formatCode="0.0%">
                  <c:v>9.0637547251127396E-2</c:v>
                </c:pt>
                <c:pt idx="14452" formatCode="0.0%">
                  <c:v>9.1900772460659544E-2</c:v>
                </c:pt>
                <c:pt idx="14453" formatCode="0.0%">
                  <c:v>9.0928933539813656E-2</c:v>
                </c:pt>
                <c:pt idx="14454" formatCode="0.0%">
                  <c:v>8.7494553075223302E-2</c:v>
                </c:pt>
                <c:pt idx="14455" formatCode="0.0%">
                  <c:v>8.7070764384280477E-2</c:v>
                </c:pt>
                <c:pt idx="14456" formatCode="0.0%">
                  <c:v>8.6716246929946283E-2</c:v>
                </c:pt>
                <c:pt idx="14457" formatCode="0.0%">
                  <c:v>7.1278122212843187E-2</c:v>
                </c:pt>
                <c:pt idx="14458" formatCode="0.0%">
                  <c:v>7.1158853683010115E-2</c:v>
                </c:pt>
                <c:pt idx="14459" formatCode="0.0%">
                  <c:v>6.934063363937594E-2</c:v>
                </c:pt>
                <c:pt idx="14460" formatCode="0.0%">
                  <c:v>6.8333948611123102E-2</c:v>
                </c:pt>
                <c:pt idx="14461" formatCode="0.0%">
                  <c:v>7.1887775555764741E-2</c:v>
                </c:pt>
                <c:pt idx="14462" formatCode="0.0%">
                  <c:v>7.987096971291123E-2</c:v>
                </c:pt>
                <c:pt idx="14463" formatCode="0.0%">
                  <c:v>8.3111514078626436E-2</c:v>
                </c:pt>
                <c:pt idx="14464" formatCode="0.0%">
                  <c:v>8.3901185115648438E-2</c:v>
                </c:pt>
                <c:pt idx="14465" formatCode="0.0%">
                  <c:v>8.1804461550178773E-2</c:v>
                </c:pt>
                <c:pt idx="14466" formatCode="0.0%">
                  <c:v>8.5402215927684447E-2</c:v>
                </c:pt>
                <c:pt idx="14467" formatCode="0.0%">
                  <c:v>7.7178228921008757E-2</c:v>
                </c:pt>
                <c:pt idx="14468" formatCode="0.0%">
                  <c:v>8.2437033965599385E-2</c:v>
                </c:pt>
                <c:pt idx="14469" formatCode="0.0%">
                  <c:v>7.9905729175309151E-2</c:v>
                </c:pt>
                <c:pt idx="14470" formatCode="0.0%">
                  <c:v>9.3607085143712784E-2</c:v>
                </c:pt>
                <c:pt idx="14471" formatCode="0.0%">
                  <c:v>9.7974594778393986E-2</c:v>
                </c:pt>
                <c:pt idx="14472" formatCode="0.0%">
                  <c:v>0.10126583839510669</c:v>
                </c:pt>
                <c:pt idx="14473" formatCode="0.0%">
                  <c:v>0.10097232135303273</c:v>
                </c:pt>
                <c:pt idx="14474" formatCode="0.0%">
                  <c:v>0.10082633681454688</c:v>
                </c:pt>
                <c:pt idx="14475" formatCode="0.0%">
                  <c:v>0.10332261216148635</c:v>
                </c:pt>
                <c:pt idx="14476" formatCode="0.0%">
                  <c:v>0.12113944603191128</c:v>
                </c:pt>
                <c:pt idx="14477" formatCode="0.0%">
                  <c:v>0.12208700217467046</c:v>
                </c:pt>
                <c:pt idx="14478" formatCode="0.0%">
                  <c:v>0.12241181037432618</c:v>
                </c:pt>
                <c:pt idx="14479" formatCode="0.0%">
                  <c:v>0.12173358226868768</c:v>
                </c:pt>
                <c:pt idx="14480" formatCode="0.0%">
                  <c:v>0.12345282748638424</c:v>
                </c:pt>
                <c:pt idx="14481" formatCode="0.0%">
                  <c:v>0.12185382549753045</c:v>
                </c:pt>
                <c:pt idx="14482" formatCode="0.0%">
                  <c:v>0.11851536192103186</c:v>
                </c:pt>
                <c:pt idx="14483" formatCode="0.0%">
                  <c:v>0.11610094089571191</c:v>
                </c:pt>
                <c:pt idx="14484" formatCode="0.0%">
                  <c:v>0.11876305762208642</c:v>
                </c:pt>
                <c:pt idx="14485" formatCode="0.0%">
                  <c:v>0.12486440496594256</c:v>
                </c:pt>
                <c:pt idx="14486" formatCode="0.0%">
                  <c:v>0.12041015939939799</c:v>
                </c:pt>
                <c:pt idx="14487" formatCode="0.0%">
                  <c:v>0.12446965083133871</c:v>
                </c:pt>
                <c:pt idx="14488" formatCode="0.0%">
                  <c:v>0.12173622126457137</c:v>
                </c:pt>
                <c:pt idx="14489" formatCode="0.0%">
                  <c:v>0.11881936104604331</c:v>
                </c:pt>
                <c:pt idx="14490" formatCode="0.0%">
                  <c:v>0.11166023642388068</c:v>
                </c:pt>
                <c:pt idx="14491" formatCode="0.0%">
                  <c:v>0.1066055622418854</c:v>
                </c:pt>
                <c:pt idx="14492" formatCode="0.0%">
                  <c:v>9.7054577592754349E-2</c:v>
                </c:pt>
                <c:pt idx="14493" formatCode="0.0%">
                  <c:v>9.8787910646876462E-2</c:v>
                </c:pt>
                <c:pt idx="14494" formatCode="0.0%">
                  <c:v>0.10185012791715115</c:v>
                </c:pt>
                <c:pt idx="14495" formatCode="0.0%">
                  <c:v>0.1013879960482289</c:v>
                </c:pt>
                <c:pt idx="14496" formatCode="0.0%">
                  <c:v>8.868802734498997E-2</c:v>
                </c:pt>
                <c:pt idx="14497" formatCode="0.0%">
                  <c:v>8.5858227707526893E-2</c:v>
                </c:pt>
                <c:pt idx="14498" formatCode="0.0%">
                  <c:v>8.648222143768175E-2</c:v>
                </c:pt>
                <c:pt idx="14499" formatCode="0.0%">
                  <c:v>8.5415043205150781E-2</c:v>
                </c:pt>
                <c:pt idx="14500" formatCode="0.0%">
                  <c:v>7.8907290715312051E-2</c:v>
                </c:pt>
                <c:pt idx="14501" formatCode="0.0%">
                  <c:v>7.916120074481145E-2</c:v>
                </c:pt>
                <c:pt idx="14502" formatCode="0.0%">
                  <c:v>7.9153813597694092E-2</c:v>
                </c:pt>
                <c:pt idx="14503" formatCode="0.0%">
                  <c:v>7.9987789589400185E-2</c:v>
                </c:pt>
                <c:pt idx="14504" formatCode="0.0%">
                  <c:v>7.8169468304365761E-2</c:v>
                </c:pt>
                <c:pt idx="14505" formatCode="0.0%">
                  <c:v>9.1272125654407177E-2</c:v>
                </c:pt>
                <c:pt idx="14506" formatCode="0.0%">
                  <c:v>8.9844140505529663E-2</c:v>
                </c:pt>
                <c:pt idx="14507" formatCode="0.0%">
                  <c:v>9.0172059992321404E-2</c:v>
                </c:pt>
                <c:pt idx="14508" formatCode="0.0%">
                  <c:v>9.2591029619489534E-2</c:v>
                </c:pt>
                <c:pt idx="14509" formatCode="0.0%">
                  <c:v>9.4049305120590204E-2</c:v>
                </c:pt>
                <c:pt idx="14510" formatCode="0.0%">
                  <c:v>9.3236169805642158E-2</c:v>
                </c:pt>
                <c:pt idx="14511" formatCode="0.0%">
                  <c:v>9.3337205176201588E-2</c:v>
                </c:pt>
                <c:pt idx="14512" formatCode="0.0%">
                  <c:v>9.2807817551719601E-2</c:v>
                </c:pt>
                <c:pt idx="14513" formatCode="0.0%">
                  <c:v>9.611775966220687E-2</c:v>
                </c:pt>
                <c:pt idx="14514" formatCode="0.0%">
                  <c:v>9.1401726846986511E-2</c:v>
                </c:pt>
                <c:pt idx="14515" formatCode="0.0%">
                  <c:v>9.7092919329716018E-2</c:v>
                </c:pt>
                <c:pt idx="14516" formatCode="0.0%">
                  <c:v>9.5721354773471323E-2</c:v>
                </c:pt>
                <c:pt idx="14517" formatCode="0.0%">
                  <c:v>9.8237594600832159E-2</c:v>
                </c:pt>
                <c:pt idx="14518" formatCode="0.0%">
                  <c:v>9.8564673400994965E-2</c:v>
                </c:pt>
                <c:pt idx="14519" formatCode="0.0%">
                  <c:v>0.10422510138345435</c:v>
                </c:pt>
                <c:pt idx="14520" formatCode="0.0%">
                  <c:v>0.10329743012281958</c:v>
                </c:pt>
                <c:pt idx="14521" formatCode="0.0%">
                  <c:v>0.11450067172168972</c:v>
                </c:pt>
                <c:pt idx="14522" formatCode="0.0%">
                  <c:v>0.11568295731803828</c:v>
                </c:pt>
                <c:pt idx="14523" formatCode="0.0%">
                  <c:v>0.11786414496309773</c:v>
                </c:pt>
                <c:pt idx="14524" formatCode="0.0%">
                  <c:v>0.11804766581295865</c:v>
                </c:pt>
                <c:pt idx="14525" formatCode="0.0%">
                  <c:v>0.10280997754143402</c:v>
                </c:pt>
                <c:pt idx="14526" formatCode="0.0%">
                  <c:v>0.10604000600402234</c:v>
                </c:pt>
                <c:pt idx="14527" formatCode="0.0%">
                  <c:v>0.10277665664331326</c:v>
                </c:pt>
                <c:pt idx="14528" formatCode="0.0%">
                  <c:v>0.10974645492851003</c:v>
                </c:pt>
                <c:pt idx="14529" formatCode="0.0%">
                  <c:v>0.10887704967696707</c:v>
                </c:pt>
                <c:pt idx="14530" formatCode="0.0%">
                  <c:v>0.11439395692497217</c:v>
                </c:pt>
                <c:pt idx="14531" formatCode="0.0%">
                  <c:v>0.11653879526470232</c:v>
                </c:pt>
                <c:pt idx="14532" formatCode="0.0%">
                  <c:v>0.11663632502596434</c:v>
                </c:pt>
                <c:pt idx="14533" formatCode="0.0%">
                  <c:v>0.11149925598107698</c:v>
                </c:pt>
                <c:pt idx="14534" formatCode="0.0%">
                  <c:v>0.12146878349924248</c:v>
                </c:pt>
                <c:pt idx="14535" formatCode="0.0%">
                  <c:v>0.1223936961215057</c:v>
                </c:pt>
                <c:pt idx="14536" formatCode="0.0%">
                  <c:v>0.12252873957917669</c:v>
                </c:pt>
                <c:pt idx="14537" formatCode="0.0%">
                  <c:v>0.12493904022173874</c:v>
                </c:pt>
                <c:pt idx="14538" formatCode="0.0%">
                  <c:v>0.12475014445233215</c:v>
                </c:pt>
                <c:pt idx="14539" formatCode="0.0%">
                  <c:v>0.1183538167232694</c:v>
                </c:pt>
                <c:pt idx="14540" formatCode="0.0%">
                  <c:v>0.1242685120757674</c:v>
                </c:pt>
                <c:pt idx="14541" formatCode="0.0%">
                  <c:v>0.11309149093233448</c:v>
                </c:pt>
                <c:pt idx="14542" formatCode="0.0%">
                  <c:v>0.11287020925642496</c:v>
                </c:pt>
                <c:pt idx="14543" formatCode="0.0%">
                  <c:v>0.11970944416472078</c:v>
                </c:pt>
                <c:pt idx="14544" formatCode="0.0%">
                  <c:v>0.15977970374518974</c:v>
                </c:pt>
                <c:pt idx="14545" formatCode="0.0%">
                  <c:v>0.16359478098041919</c:v>
                </c:pt>
                <c:pt idx="14546" formatCode="0.0%">
                  <c:v>0.1601731967168826</c:v>
                </c:pt>
                <c:pt idx="14547" formatCode="0.0%">
                  <c:v>0.16056911124294879</c:v>
                </c:pt>
                <c:pt idx="14548" formatCode="0.0%">
                  <c:v>0.14989705908405274</c:v>
                </c:pt>
                <c:pt idx="14549" formatCode="0.0%">
                  <c:v>0.14813156915767831</c:v>
                </c:pt>
                <c:pt idx="14550" formatCode="0.0%">
                  <c:v>0.14770603279495623</c:v>
                </c:pt>
                <c:pt idx="14551" formatCode="0.0%">
                  <c:v>0.14756694473688836</c:v>
                </c:pt>
                <c:pt idx="14552" formatCode="0.0%">
                  <c:v>0.14814060660106074</c:v>
                </c:pt>
                <c:pt idx="14553" formatCode="0.0%">
                  <c:v>0.14940433145594553</c:v>
                </c:pt>
                <c:pt idx="14554" formatCode="0.0%">
                  <c:v>0.14935118529766397</c:v>
                </c:pt>
                <c:pt idx="14555" formatCode="0.0%">
                  <c:v>0.14877707468178727</c:v>
                </c:pt>
                <c:pt idx="14556" formatCode="0.0%">
                  <c:v>0.15411810414098634</c:v>
                </c:pt>
                <c:pt idx="14557" formatCode="0.0%">
                  <c:v>0.148735601493554</c:v>
                </c:pt>
                <c:pt idx="14558" formatCode="0.0%">
                  <c:v>0.15371185337531115</c:v>
                </c:pt>
                <c:pt idx="14559" formatCode="0.0%">
                  <c:v>0.15357751625683044</c:v>
                </c:pt>
                <c:pt idx="14560" formatCode="0.0%">
                  <c:v>0.15172968604183376</c:v>
                </c:pt>
                <c:pt idx="14561" formatCode="0.0%">
                  <c:v>0.15590806567542337</c:v>
                </c:pt>
                <c:pt idx="14562" formatCode="0.0%">
                  <c:v>0.15979171744327783</c:v>
                </c:pt>
                <c:pt idx="14563" formatCode="0.0%">
                  <c:v>0.15217238120997381</c:v>
                </c:pt>
                <c:pt idx="14564" formatCode="0.0%">
                  <c:v>0.11255683985817615</c:v>
                </c:pt>
                <c:pt idx="14565" formatCode="0.0%">
                  <c:v>0.10597597616718714</c:v>
                </c:pt>
                <c:pt idx="14566" formatCode="0.0%">
                  <c:v>0.1061817295078433</c:v>
                </c:pt>
                <c:pt idx="14567" formatCode="0.0%">
                  <c:v>0.10801334963036736</c:v>
                </c:pt>
                <c:pt idx="14568" formatCode="0.0%">
                  <c:v>0.10843667251736445</c:v>
                </c:pt>
                <c:pt idx="14569" formatCode="0.0%">
                  <c:v>0.10655434060059961</c:v>
                </c:pt>
                <c:pt idx="14570" formatCode="0.0%">
                  <c:v>0.10755486000267091</c:v>
                </c:pt>
                <c:pt idx="14571" formatCode="0.0%">
                  <c:v>0.10989629077656171</c:v>
                </c:pt>
                <c:pt idx="14572" formatCode="0.0%">
                  <c:v>0.11159605269403031</c:v>
                </c:pt>
                <c:pt idx="14573" formatCode="0.0%">
                  <c:v>0.11752587130797</c:v>
                </c:pt>
                <c:pt idx="14574" formatCode="0.0%">
                  <c:v>0.10723679377211776</c:v>
                </c:pt>
                <c:pt idx="14575" formatCode="0.0%">
                  <c:v>0.10951770095058506</c:v>
                </c:pt>
                <c:pt idx="14576" formatCode="0.0%">
                  <c:v>0.10918964082036227</c:v>
                </c:pt>
                <c:pt idx="14577" formatCode="0.0%">
                  <c:v>0.11165246134300794</c:v>
                </c:pt>
                <c:pt idx="14578" formatCode="0.0%">
                  <c:v>0.10808873310046185</c:v>
                </c:pt>
                <c:pt idx="14579" formatCode="0.0%">
                  <c:v>0.11242878067734455</c:v>
                </c:pt>
                <c:pt idx="14580" formatCode="0.0%">
                  <c:v>0.10874798575958297</c:v>
                </c:pt>
                <c:pt idx="14581" formatCode="0.0%">
                  <c:v>0.11111873694628209</c:v>
                </c:pt>
                <c:pt idx="14582" formatCode="0.0%">
                  <c:v>0.11101370757214403</c:v>
                </c:pt>
                <c:pt idx="14583" formatCode="0.0%">
                  <c:v>0.10757526804539258</c:v>
                </c:pt>
                <c:pt idx="14584" formatCode="0.0%">
                  <c:v>0.10738960201912999</c:v>
                </c:pt>
                <c:pt idx="14585" formatCode="0.0%">
                  <c:v>0.10742191421427245</c:v>
                </c:pt>
                <c:pt idx="14586" formatCode="0.0%">
                  <c:v>0.10726429300785012</c:v>
                </c:pt>
                <c:pt idx="14587" formatCode="0.0%">
                  <c:v>0.12691639330881002</c:v>
                </c:pt>
                <c:pt idx="14588" formatCode="0.0%">
                  <c:v>0.12557176158198877</c:v>
                </c:pt>
                <c:pt idx="14589" formatCode="0.0%">
                  <c:v>0.12495915731139894</c:v>
                </c:pt>
                <c:pt idx="14590" formatCode="0.0%">
                  <c:v>0.13010805644443318</c:v>
                </c:pt>
                <c:pt idx="14591" formatCode="0.0%">
                  <c:v>0.13451750123494252</c:v>
                </c:pt>
                <c:pt idx="14592" formatCode="0.0%">
                  <c:v>0.13053247626944856</c:v>
                </c:pt>
                <c:pt idx="14593" formatCode="0.0%">
                  <c:v>0.11881456558425549</c:v>
                </c:pt>
                <c:pt idx="14594" formatCode="0.0%">
                  <c:v>0.11536796558084074</c:v>
                </c:pt>
                <c:pt idx="14595" formatCode="0.0%">
                  <c:v>0.1259531738409661</c:v>
                </c:pt>
                <c:pt idx="14596" formatCode="0.0%">
                  <c:v>0.12745654441900747</c:v>
                </c:pt>
                <c:pt idx="14597" formatCode="0.0%">
                  <c:v>0.12752851768016552</c:v>
                </c:pt>
                <c:pt idx="14598" formatCode="0.0%">
                  <c:v>0.13094785123979258</c:v>
                </c:pt>
                <c:pt idx="14599" formatCode="0.0%">
                  <c:v>0.12737986334781246</c:v>
                </c:pt>
                <c:pt idx="14600" formatCode="0.0%">
                  <c:v>0.12761929229507502</c:v>
                </c:pt>
                <c:pt idx="14601" formatCode="0.0%">
                  <c:v>0.14005208951020384</c:v>
                </c:pt>
                <c:pt idx="14602" formatCode="0.0%">
                  <c:v>0.13777269132523448</c:v>
                </c:pt>
                <c:pt idx="14603" formatCode="0.0%">
                  <c:v>0.14930055288639776</c:v>
                </c:pt>
                <c:pt idx="14604" formatCode="0.0%">
                  <c:v>0.16238372356836925</c:v>
                </c:pt>
                <c:pt idx="14605" formatCode="0.0%">
                  <c:v>0.16236274298680456</c:v>
                </c:pt>
                <c:pt idx="14606" formatCode="0.0%">
                  <c:v>0.17763388551628187</c:v>
                </c:pt>
                <c:pt idx="14607" formatCode="0.0%">
                  <c:v>0.15975409125714982</c:v>
                </c:pt>
                <c:pt idx="14608" formatCode="0.0%">
                  <c:v>0.16416004199078851</c:v>
                </c:pt>
                <c:pt idx="14609" formatCode="0.0%">
                  <c:v>0.16428025753386089</c:v>
                </c:pt>
                <c:pt idx="14610" formatCode="0.0%">
                  <c:v>0.15737498138797779</c:v>
                </c:pt>
                <c:pt idx="14611" formatCode="0.0%">
                  <c:v>0.15448310045028812</c:v>
                </c:pt>
                <c:pt idx="14612" formatCode="0.0%">
                  <c:v>0.16686162252500153</c:v>
                </c:pt>
                <c:pt idx="14613" formatCode="0.0%">
                  <c:v>0.16680861824311261</c:v>
                </c:pt>
                <c:pt idx="14614" formatCode="0.0%">
                  <c:v>0.16719691128920192</c:v>
                </c:pt>
                <c:pt idx="14615" formatCode="0.0%">
                  <c:v>0.16007830666491668</c:v>
                </c:pt>
                <c:pt idx="14616" formatCode="0.0%">
                  <c:v>0.16369593584925701</c:v>
                </c:pt>
                <c:pt idx="14617" formatCode="0.0%">
                  <c:v>0.16375397079222748</c:v>
                </c:pt>
                <c:pt idx="14618" formatCode="0.0%">
                  <c:v>0.15989736546990715</c:v>
                </c:pt>
                <c:pt idx="14619" formatCode="0.0%">
                  <c:v>0.1583109866249322</c:v>
                </c:pt>
                <c:pt idx="14620" formatCode="0.0%">
                  <c:v>0.15851969973123672</c:v>
                </c:pt>
                <c:pt idx="14621" formatCode="0.0%">
                  <c:v>0.15215255770387875</c:v>
                </c:pt>
                <c:pt idx="14622" formatCode="0.0%">
                  <c:v>0.17099821454881789</c:v>
                </c:pt>
                <c:pt idx="14623" formatCode="0.0%">
                  <c:v>0.16322742590261408</c:v>
                </c:pt>
                <c:pt idx="14624" formatCode="0.0%">
                  <c:v>0.15079704364405461</c:v>
                </c:pt>
                <c:pt idx="14625" formatCode="0.0%">
                  <c:v>0.15569841859410413</c:v>
                </c:pt>
                <c:pt idx="14626" formatCode="0.0%">
                  <c:v>0.13857487813426822</c:v>
                </c:pt>
                <c:pt idx="14627" formatCode="0.0%">
                  <c:v>0.14003285393517392</c:v>
                </c:pt>
                <c:pt idx="14628" formatCode="0.0%">
                  <c:v>0.13488333823331594</c:v>
                </c:pt>
                <c:pt idx="14629" formatCode="0.0%">
                  <c:v>0.13500658365409676</c:v>
                </c:pt>
                <c:pt idx="14630" formatCode="0.0%">
                  <c:v>0.13370894130747607</c:v>
                </c:pt>
                <c:pt idx="14631" formatCode="0.0%">
                  <c:v>0.13466335677775781</c:v>
                </c:pt>
                <c:pt idx="14632" formatCode="0.0%">
                  <c:v>0.11644980510920469</c:v>
                </c:pt>
                <c:pt idx="14633" formatCode="0.0%">
                  <c:v>0.12291463259954916</c:v>
                </c:pt>
                <c:pt idx="14634" formatCode="0.0%">
                  <c:v>0.1243537791601988</c:v>
                </c:pt>
                <c:pt idx="14635" formatCode="0.0%">
                  <c:v>0.11750107662178742</c:v>
                </c:pt>
                <c:pt idx="14636" formatCode="0.0%">
                  <c:v>0.12541472812332591</c:v>
                </c:pt>
                <c:pt idx="14637" formatCode="0.0%">
                  <c:v>0.12541961975670651</c:v>
                </c:pt>
                <c:pt idx="14638" formatCode="0.0%">
                  <c:v>0.14577673985766537</c:v>
                </c:pt>
                <c:pt idx="14639" formatCode="0.0%">
                  <c:v>0.14700947619938459</c:v>
                </c:pt>
                <c:pt idx="14640" formatCode="0.0%">
                  <c:v>0.15506680606373258</c:v>
                </c:pt>
                <c:pt idx="14641" formatCode="0.0%">
                  <c:v>0.15144728634498836</c:v>
                </c:pt>
                <c:pt idx="14642" formatCode="0.0%">
                  <c:v>0.12711317112360157</c:v>
                </c:pt>
                <c:pt idx="14643" formatCode="0.0%">
                  <c:v>0.1275978002106849</c:v>
                </c:pt>
                <c:pt idx="14644" formatCode="0.0%">
                  <c:v>0.13378688603992892</c:v>
                </c:pt>
                <c:pt idx="14645" formatCode="0.0%">
                  <c:v>0.12812850020326252</c:v>
                </c:pt>
                <c:pt idx="14646" formatCode="0.0%">
                  <c:v>0.13068910204720946</c:v>
                </c:pt>
                <c:pt idx="14647" formatCode="0.0%">
                  <c:v>0.12990536014297882</c:v>
                </c:pt>
                <c:pt idx="14648" formatCode="0.0%">
                  <c:v>0.12973549629456529</c:v>
                </c:pt>
                <c:pt idx="14649" formatCode="0.0%">
                  <c:v>0.15755296075551747</c:v>
                </c:pt>
                <c:pt idx="14650" formatCode="0.0%">
                  <c:v>0.15762063688197683</c:v>
                </c:pt>
                <c:pt idx="14651" formatCode="0.0%">
                  <c:v>0.15767064606380057</c:v>
                </c:pt>
                <c:pt idx="14652" formatCode="0.0%">
                  <c:v>0.15705656205010426</c:v>
                </c:pt>
                <c:pt idx="14653" formatCode="0.0%">
                  <c:v>0.15840402893497377</c:v>
                </c:pt>
                <c:pt idx="14654" formatCode="0.0%">
                  <c:v>0.154434557660351</c:v>
                </c:pt>
                <c:pt idx="14655" formatCode="0.0%">
                  <c:v>0.1585040793609731</c:v>
                </c:pt>
                <c:pt idx="14656" formatCode="0.0%">
                  <c:v>0.15400383375843454</c:v>
                </c:pt>
                <c:pt idx="14657" formatCode="0.0%">
                  <c:v>0.15444612634602126</c:v>
                </c:pt>
                <c:pt idx="14658" formatCode="0.0%">
                  <c:v>0.1472814288007297</c:v>
                </c:pt>
                <c:pt idx="14659" formatCode="0.0%">
                  <c:v>0.15156088797944289</c:v>
                </c:pt>
                <c:pt idx="14660" formatCode="0.0%">
                  <c:v>0.14551716509157944</c:v>
                </c:pt>
                <c:pt idx="14661" formatCode="0.0%">
                  <c:v>0.14552371404305059</c:v>
                </c:pt>
                <c:pt idx="14662" formatCode="0.0%">
                  <c:v>0.14436268266744551</c:v>
                </c:pt>
                <c:pt idx="14663" formatCode="0.0%">
                  <c:v>0.14444581184198282</c:v>
                </c:pt>
                <c:pt idx="14664" formatCode="0.0%">
                  <c:v>0.14040690738910819</c:v>
                </c:pt>
                <c:pt idx="14665" formatCode="0.0%">
                  <c:v>0.14097325433411823</c:v>
                </c:pt>
                <c:pt idx="14666" formatCode="0.0%">
                  <c:v>0.13802103028524551</c:v>
                </c:pt>
                <c:pt idx="14667" formatCode="0.0%">
                  <c:v>0.1378277712123489</c:v>
                </c:pt>
                <c:pt idx="14668" formatCode="0.0%">
                  <c:v>0.17972450670558338</c:v>
                </c:pt>
                <c:pt idx="14669" formatCode="0.0%">
                  <c:v>0.1622519740161866</c:v>
                </c:pt>
                <c:pt idx="14670" formatCode="0.0%">
                  <c:v>0.16292688603187572</c:v>
                </c:pt>
                <c:pt idx="14671" formatCode="0.0%">
                  <c:v>0.16149727940041061</c:v>
                </c:pt>
                <c:pt idx="14672" formatCode="0.0%">
                  <c:v>0.16194578262330608</c:v>
                </c:pt>
                <c:pt idx="14673" formatCode="0.0%">
                  <c:v>0.15950205334728973</c:v>
                </c:pt>
                <c:pt idx="14674" formatCode="0.0%">
                  <c:v>0.17026956704746565</c:v>
                </c:pt>
                <c:pt idx="14675" formatCode="0.0%">
                  <c:v>0.17180970689244932</c:v>
                </c:pt>
                <c:pt idx="14676" formatCode="0.0%">
                  <c:v>0.17260214261716322</c:v>
                </c:pt>
                <c:pt idx="14677" formatCode="0.0%">
                  <c:v>0.17277249812336898</c:v>
                </c:pt>
                <c:pt idx="14678" formatCode="0.0%">
                  <c:v>0.16235103649301041</c:v>
                </c:pt>
                <c:pt idx="14679" formatCode="0.0%">
                  <c:v>0.16418928898674764</c:v>
                </c:pt>
                <c:pt idx="14680" formatCode="0.0%">
                  <c:v>0.16158989593518153</c:v>
                </c:pt>
                <c:pt idx="14681" formatCode="0.0%">
                  <c:v>0.15776639421768282</c:v>
                </c:pt>
                <c:pt idx="14682" formatCode="0.0%">
                  <c:v>0.1631628675525679</c:v>
                </c:pt>
                <c:pt idx="14683" formatCode="0.0%">
                  <c:v>0.17128162185159301</c:v>
                </c:pt>
                <c:pt idx="14684" formatCode="0.0%">
                  <c:v>0.16914795012653241</c:v>
                </c:pt>
                <c:pt idx="14685" formatCode="0.0%">
                  <c:v>0.17216204376365371</c:v>
                </c:pt>
                <c:pt idx="14686" formatCode="0.0%">
                  <c:v>0.17088355046076029</c:v>
                </c:pt>
                <c:pt idx="14687" formatCode="0.0%">
                  <c:v>0.17099529473929917</c:v>
                </c:pt>
                <c:pt idx="14688" formatCode="0.0%">
                  <c:v>0.13796564444863513</c:v>
                </c:pt>
                <c:pt idx="14689" formatCode="0.0%">
                  <c:v>0.13578227500658627</c:v>
                </c:pt>
                <c:pt idx="14690" formatCode="0.0%">
                  <c:v>0.13390951406502721</c:v>
                </c:pt>
                <c:pt idx="14691" formatCode="0.0%">
                  <c:v>0.13392213905331127</c:v>
                </c:pt>
                <c:pt idx="14692" formatCode="0.0%">
                  <c:v>0.13372093926204273</c:v>
                </c:pt>
                <c:pt idx="14693" formatCode="0.0%">
                  <c:v>0.13269949833369335</c:v>
                </c:pt>
                <c:pt idx="14694" formatCode="0.0%">
                  <c:v>0.11608036169027452</c:v>
                </c:pt>
                <c:pt idx="14695" formatCode="0.0%">
                  <c:v>0.1184339504476055</c:v>
                </c:pt>
                <c:pt idx="14696" formatCode="0.0%">
                  <c:v>0.11813015795875309</c:v>
                </c:pt>
                <c:pt idx="14697" formatCode="0.0%">
                  <c:v>0.118202551667848</c:v>
                </c:pt>
                <c:pt idx="14698" formatCode="0.0%">
                  <c:v>0.11787021979077832</c:v>
                </c:pt>
                <c:pt idx="14699" formatCode="0.0%">
                  <c:v>0.11745292199402839</c:v>
                </c:pt>
                <c:pt idx="14700" formatCode="0.0%">
                  <c:v>0.12426466444862599</c:v>
                </c:pt>
                <c:pt idx="14701" formatCode="0.0%">
                  <c:v>0.12312674212969708</c:v>
                </c:pt>
                <c:pt idx="14702" formatCode="0.0%">
                  <c:v>0.1202426607900085</c:v>
                </c:pt>
                <c:pt idx="14703" formatCode="0.0%">
                  <c:v>0.10508038417729222</c:v>
                </c:pt>
                <c:pt idx="14704" formatCode="0.0%">
                  <c:v>0.11715878845744511</c:v>
                </c:pt>
                <c:pt idx="14705" formatCode="0.0%">
                  <c:v>0.11586941356447938</c:v>
                </c:pt>
                <c:pt idx="14706" formatCode="0.0%">
                  <c:v>0.11576532885546142</c:v>
                </c:pt>
                <c:pt idx="14707" formatCode="0.0%">
                  <c:v>0.11195841085057455</c:v>
                </c:pt>
                <c:pt idx="14708" formatCode="0.0%">
                  <c:v>0.13493286045311237</c:v>
                </c:pt>
                <c:pt idx="14709" formatCode="0.0%">
                  <c:v>0.13542460924358904</c:v>
                </c:pt>
                <c:pt idx="14710" formatCode="0.0%">
                  <c:v>0.14139069258784559</c:v>
                </c:pt>
                <c:pt idx="14711" formatCode="0.0%">
                  <c:v>0.15331634223347973</c:v>
                </c:pt>
                <c:pt idx="14712" formatCode="0.0%">
                  <c:v>0.1588782442888953</c:v>
                </c:pt>
                <c:pt idx="14713" formatCode="0.0%">
                  <c:v>0.1510543196305742</c:v>
                </c:pt>
                <c:pt idx="14714" formatCode="0.0%">
                  <c:v>0.14726378808253873</c:v>
                </c:pt>
                <c:pt idx="14715" formatCode="0.0%">
                  <c:v>0.22711640037149144</c:v>
                </c:pt>
                <c:pt idx="14716" formatCode="0.0%">
                  <c:v>0.23433049629799849</c:v>
                </c:pt>
                <c:pt idx="14717" formatCode="0.0%">
                  <c:v>0.2351415865506121</c:v>
                </c:pt>
                <c:pt idx="14718" formatCode="0.0%">
                  <c:v>0.23480073885423006</c:v>
                </c:pt>
                <c:pt idx="14719" formatCode="0.0%">
                  <c:v>0.23505386047460447</c:v>
                </c:pt>
                <c:pt idx="14720" formatCode="0.0%">
                  <c:v>0.22831802875775484</c:v>
                </c:pt>
                <c:pt idx="14721" formatCode="0.0%">
                  <c:v>0.22831241763275367</c:v>
                </c:pt>
                <c:pt idx="14722" formatCode="0.0%">
                  <c:v>0.23393780178810614</c:v>
                </c:pt>
                <c:pt idx="14723" formatCode="0.0%">
                  <c:v>0.23366567683775499</c:v>
                </c:pt>
                <c:pt idx="14724" formatCode="0.0%">
                  <c:v>0.21900439158007168</c:v>
                </c:pt>
                <c:pt idx="14725" formatCode="0.0%">
                  <c:v>0.22484321533201437</c:v>
                </c:pt>
                <c:pt idx="14726" formatCode="0.0%">
                  <c:v>0.22573831684968967</c:v>
                </c:pt>
                <c:pt idx="14727" formatCode="0.0%">
                  <c:v>0.22594033826309262</c:v>
                </c:pt>
                <c:pt idx="14728" formatCode="0.0%">
                  <c:v>0.22376053460500372</c:v>
                </c:pt>
                <c:pt idx="14729" formatCode="0.0%">
                  <c:v>0.22617418563488606</c:v>
                </c:pt>
                <c:pt idx="14730" formatCode="0.0%">
                  <c:v>0.21656023449914805</c:v>
                </c:pt>
                <c:pt idx="14731" formatCode="0.0%">
                  <c:v>0.21400433650703882</c:v>
                </c:pt>
                <c:pt idx="14732" formatCode="0.0%">
                  <c:v>0.21462945043507914</c:v>
                </c:pt>
                <c:pt idx="14733" formatCode="0.0%">
                  <c:v>0.21464959100846834</c:v>
                </c:pt>
                <c:pt idx="14734" formatCode="0.0%">
                  <c:v>0.21911596971612185</c:v>
                </c:pt>
                <c:pt idx="14735" formatCode="0.0%">
                  <c:v>0.13108009325309519</c:v>
                </c:pt>
                <c:pt idx="14736" formatCode="0.0%">
                  <c:v>0.10938403531757229</c:v>
                </c:pt>
                <c:pt idx="14737" formatCode="0.0%">
                  <c:v>0.10816936344586042</c:v>
                </c:pt>
                <c:pt idx="14738" formatCode="0.0%">
                  <c:v>0.10856954967303861</c:v>
                </c:pt>
                <c:pt idx="14739" formatCode="0.0%">
                  <c:v>0.11881699904603951</c:v>
                </c:pt>
                <c:pt idx="14740" formatCode="0.0%">
                  <c:v>0.11886818204111106</c:v>
                </c:pt>
                <c:pt idx="14741" formatCode="0.0%">
                  <c:v>0.11972131868808647</c:v>
                </c:pt>
                <c:pt idx="14742" formatCode="0.0%">
                  <c:v>0.12241530324076398</c:v>
                </c:pt>
                <c:pt idx="14743" formatCode="0.0%">
                  <c:v>0.12193715276109424</c:v>
                </c:pt>
                <c:pt idx="14744" formatCode="0.0%">
                  <c:v>0.12171658888303341</c:v>
                </c:pt>
                <c:pt idx="14745" formatCode="0.0%">
                  <c:v>0.10722192845367125</c:v>
                </c:pt>
                <c:pt idx="14746" formatCode="0.0%">
                  <c:v>0.10921016102691714</c:v>
                </c:pt>
                <c:pt idx="14747" formatCode="0.0%">
                  <c:v>0.10068785773246858</c:v>
                </c:pt>
                <c:pt idx="14748" formatCode="0.0%">
                  <c:v>9.9452729276639854E-2</c:v>
                </c:pt>
                <c:pt idx="14749" formatCode="0.0%">
                  <c:v>9.6875498809246438E-2</c:v>
                </c:pt>
                <c:pt idx="14750" formatCode="0.0%">
                  <c:v>0.10301974595212045</c:v>
                </c:pt>
                <c:pt idx="14751" formatCode="0.0%">
                  <c:v>0.10250322763014204</c:v>
                </c:pt>
                <c:pt idx="14752" formatCode="0.0%">
                  <c:v>0.10389389657469886</c:v>
                </c:pt>
                <c:pt idx="14753" formatCode="0.0%">
                  <c:v>0.10292880127032873</c:v>
                </c:pt>
                <c:pt idx="14754" formatCode="0.0%">
                  <c:v>9.9385361559431035E-2</c:v>
                </c:pt>
                <c:pt idx="14755" formatCode="0.0%">
                  <c:v>9.8942274615058709E-2</c:v>
                </c:pt>
                <c:pt idx="14756" formatCode="0.0%">
                  <c:v>9.8458044857220206E-2</c:v>
                </c:pt>
                <c:pt idx="14757" formatCode="0.0%">
                  <c:v>9.8481627893895779E-2</c:v>
                </c:pt>
                <c:pt idx="14758" formatCode="0.0%">
                  <c:v>9.7237793289244673E-2</c:v>
                </c:pt>
                <c:pt idx="14759" formatCode="0.0%">
                  <c:v>8.7135062336832506E-2</c:v>
                </c:pt>
                <c:pt idx="14760" formatCode="0.0%">
                  <c:v>0.10450785042268827</c:v>
                </c:pt>
                <c:pt idx="14761" formatCode="0.0%">
                  <c:v>0.10523981834566719</c:v>
                </c:pt>
                <c:pt idx="14762" formatCode="0.0%">
                  <c:v>9.626174542673302E-2</c:v>
                </c:pt>
                <c:pt idx="14763" formatCode="0.0%">
                  <c:v>0.13921986407807041</c:v>
                </c:pt>
                <c:pt idx="14764" formatCode="0.0%">
                  <c:v>0.13970251708368986</c:v>
                </c:pt>
                <c:pt idx="14765" formatCode="0.0%">
                  <c:v>0.14749790100010679</c:v>
                </c:pt>
                <c:pt idx="14766" formatCode="0.0%">
                  <c:v>0.15550807562565219</c:v>
                </c:pt>
                <c:pt idx="14767" formatCode="0.0%">
                  <c:v>0.1564657940114976</c:v>
                </c:pt>
                <c:pt idx="14768" formatCode="0.0%">
                  <c:v>0.15651443849473776</c:v>
                </c:pt>
                <c:pt idx="14769" formatCode="0.0%">
                  <c:v>0.15534813327476094</c:v>
                </c:pt>
                <c:pt idx="14770" formatCode="0.0%">
                  <c:v>0.15096379882300542</c:v>
                </c:pt>
                <c:pt idx="14771" formatCode="0.0%">
                  <c:v>0.15109906008547544</c:v>
                </c:pt>
                <c:pt idx="14772" formatCode="0.0%">
                  <c:v>0.16371282378447791</c:v>
                </c:pt>
                <c:pt idx="14773" formatCode="0.0%">
                  <c:v>0.16390446574523915</c:v>
                </c:pt>
                <c:pt idx="14774" formatCode="0.0%">
                  <c:v>0.16476045682753146</c:v>
                </c:pt>
                <c:pt idx="14775" formatCode="0.0%">
                  <c:v>0.16705495179366139</c:v>
                </c:pt>
                <c:pt idx="14776" formatCode="0.0%">
                  <c:v>0.16701710387337954</c:v>
                </c:pt>
                <c:pt idx="14777" formatCode="0.0%">
                  <c:v>0.16976419002956927</c:v>
                </c:pt>
                <c:pt idx="14778" formatCode="0.0%">
                  <c:v>0.17078544283987229</c:v>
                </c:pt>
                <c:pt idx="14779" formatCode="0.0%">
                  <c:v>0.17583752998625221</c:v>
                </c:pt>
                <c:pt idx="14780" formatCode="0.0%">
                  <c:v>0.16728108394014279</c:v>
                </c:pt>
                <c:pt idx="14781" formatCode="0.0%">
                  <c:v>0.16646392591884426</c:v>
                </c:pt>
                <c:pt idx="14782" formatCode="0.0%">
                  <c:v>0.16642260671525885</c:v>
                </c:pt>
                <c:pt idx="14783" formatCode="0.0%">
                  <c:v>0.13669947763921891</c:v>
                </c:pt>
                <c:pt idx="14784" formatCode="0.0%">
                  <c:v>0.13787838873149805</c:v>
                </c:pt>
                <c:pt idx="14785" formatCode="0.0%">
                  <c:v>0.12935746389455829</c:v>
                </c:pt>
                <c:pt idx="14786" formatCode="0.0%">
                  <c:v>0.11941407899081828</c:v>
                </c:pt>
                <c:pt idx="14787" formatCode="0.0%">
                  <c:v>0.12264936796177088</c:v>
                </c:pt>
                <c:pt idx="14788" formatCode="0.0%">
                  <c:v>0.12230760934537052</c:v>
                </c:pt>
                <c:pt idx="14789" formatCode="0.0%">
                  <c:v>0.12195487032988195</c:v>
                </c:pt>
                <c:pt idx="14790" formatCode="0.0%">
                  <c:v>0.12551046756737116</c:v>
                </c:pt>
                <c:pt idx="14791" formatCode="0.0%">
                  <c:v>0.12647254977045908</c:v>
                </c:pt>
                <c:pt idx="14792" formatCode="0.0%">
                  <c:v>0.10013320648228838</c:v>
                </c:pt>
                <c:pt idx="14793" formatCode="0.0%">
                  <c:v>0.12255967787288613</c:v>
                </c:pt>
                <c:pt idx="14794" formatCode="0.0%">
                  <c:v>0.14996317741636739</c:v>
                </c:pt>
                <c:pt idx="14795" formatCode="0.0%">
                  <c:v>0.14768908897481095</c:v>
                </c:pt>
                <c:pt idx="14796" formatCode="0.0%">
                  <c:v>0.15164276545227431</c:v>
                </c:pt>
                <c:pt idx="14797" formatCode="0.0%">
                  <c:v>0.1501295084262782</c:v>
                </c:pt>
                <c:pt idx="14798" formatCode="0.0%">
                  <c:v>0.14966770110586491</c:v>
                </c:pt>
                <c:pt idx="14799" formatCode="0.0%">
                  <c:v>0.14259925006297872</c:v>
                </c:pt>
                <c:pt idx="14800" formatCode="0.0%">
                  <c:v>0.14172649744703802</c:v>
                </c:pt>
                <c:pt idx="14801" formatCode="0.0%">
                  <c:v>0.1444013785758419</c:v>
                </c:pt>
                <c:pt idx="14802" formatCode="0.0%">
                  <c:v>0.14633803250164587</c:v>
                </c:pt>
                <c:pt idx="14803" formatCode="0.0%">
                  <c:v>0.13810911199243103</c:v>
                </c:pt>
                <c:pt idx="14804" formatCode="0.0%">
                  <c:v>0.13828528718229025</c:v>
                </c:pt>
                <c:pt idx="14805" formatCode="0.0%">
                  <c:v>0.13661042980616714</c:v>
                </c:pt>
                <c:pt idx="14806" formatCode="0.0%">
                  <c:v>0.13702330264745755</c:v>
                </c:pt>
                <c:pt idx="14807" formatCode="0.0%">
                  <c:v>0.14262273374948342</c:v>
                </c:pt>
                <c:pt idx="14808" formatCode="0.0%">
                  <c:v>0.15795222877203177</c:v>
                </c:pt>
                <c:pt idx="14809" formatCode="0.0%">
                  <c:v>0.15900480731708044</c:v>
                </c:pt>
                <c:pt idx="14810" formatCode="0.0%">
                  <c:v>0.15495916128964676</c:v>
                </c:pt>
                <c:pt idx="14811" formatCode="0.0%">
                  <c:v>0.14946908541819984</c:v>
                </c:pt>
                <c:pt idx="14812" formatCode="0.0%">
                  <c:v>0.14877669933799445</c:v>
                </c:pt>
                <c:pt idx="14813" formatCode="0.0%">
                  <c:v>0.14435000287890201</c:v>
                </c:pt>
                <c:pt idx="14814" formatCode="0.0%">
                  <c:v>0.12916316448020826</c:v>
                </c:pt>
                <c:pt idx="14815" formatCode="0.0%">
                  <c:v>0.13086020080905164</c:v>
                </c:pt>
                <c:pt idx="14816" formatCode="0.0%">
                  <c:v>0.13307869512421369</c:v>
                </c:pt>
                <c:pt idx="14817" formatCode="0.0%">
                  <c:v>0.13262479966254029</c:v>
                </c:pt>
                <c:pt idx="14818" formatCode="0.0%">
                  <c:v>0.13584237338033017</c:v>
                </c:pt>
                <c:pt idx="14819" formatCode="0.0%">
                  <c:v>0.14072412814222846</c:v>
                </c:pt>
                <c:pt idx="14820" formatCode="0.0%">
                  <c:v>0.14911449764389398</c:v>
                </c:pt>
                <c:pt idx="14821" formatCode="0.0%">
                  <c:v>0.14828942764234321</c:v>
                </c:pt>
                <c:pt idx="14822" formatCode="0.0%">
                  <c:v>0.14890708262918628</c:v>
                </c:pt>
                <c:pt idx="14823" formatCode="0.0%">
                  <c:v>0.15571364929446235</c:v>
                </c:pt>
                <c:pt idx="14824" formatCode="0.0%">
                  <c:v>0.16564330371787478</c:v>
                </c:pt>
                <c:pt idx="14825" formatCode="0.0%">
                  <c:v>0.16539163453511244</c:v>
                </c:pt>
                <c:pt idx="14826" formatCode="0.0%">
                  <c:v>0.16335501634681185</c:v>
                </c:pt>
                <c:pt idx="14827" formatCode="0.0%">
                  <c:v>0.14702003876302366</c:v>
                </c:pt>
                <c:pt idx="14828" formatCode="0.0%">
                  <c:v>0.14289104031356031</c:v>
                </c:pt>
                <c:pt idx="14829" formatCode="0.0%">
                  <c:v>0.14211159818323796</c:v>
                </c:pt>
                <c:pt idx="14830" formatCode="0.0%">
                  <c:v>0.13400597641242315</c:v>
                </c:pt>
                <c:pt idx="14831" formatCode="0.0%">
                  <c:v>0.13441311709991691</c:v>
                </c:pt>
                <c:pt idx="14832" formatCode="0.0%">
                  <c:v>0.13314105137774684</c:v>
                </c:pt>
                <c:pt idx="14833" formatCode="0.0%">
                  <c:v>0.13462264731185064</c:v>
                </c:pt>
                <c:pt idx="14834" formatCode="0.0%">
                  <c:v>0.13240284159040322</c:v>
                </c:pt>
                <c:pt idx="14835" formatCode="0.0%">
                  <c:v>0.14120118071551913</c:v>
                </c:pt>
                <c:pt idx="14836" formatCode="0.0%">
                  <c:v>0.1363120299984254</c:v>
                </c:pt>
                <c:pt idx="14837" formatCode="0.0%">
                  <c:v>0.13575037459965592</c:v>
                </c:pt>
                <c:pt idx="14838" formatCode="0.0%">
                  <c:v>0.13881753409628764</c:v>
                </c:pt>
                <c:pt idx="14839" formatCode="0.0%">
                  <c:v>0.13763587220901177</c:v>
                </c:pt>
                <c:pt idx="14840" formatCode="0.0%">
                  <c:v>0.12934285476081769</c:v>
                </c:pt>
                <c:pt idx="14841" formatCode="0.0%">
                  <c:v>0.1272505616021716</c:v>
                </c:pt>
                <c:pt idx="14842" formatCode="0.0%">
                  <c:v>0.12520722858156444</c:v>
                </c:pt>
                <c:pt idx="14843" formatCode="0.0%">
                  <c:v>0.11975668786061258</c:v>
                </c:pt>
                <c:pt idx="14844" formatCode="0.0%">
                  <c:v>0.10869036720392609</c:v>
                </c:pt>
                <c:pt idx="14845" formatCode="0.0%">
                  <c:v>0.10855762903906402</c:v>
                </c:pt>
                <c:pt idx="14846" formatCode="0.0%">
                  <c:v>0.10908462377457576</c:v>
                </c:pt>
                <c:pt idx="14847" formatCode="0.0%">
                  <c:v>0.11724245111212483</c:v>
                </c:pt>
                <c:pt idx="14848" formatCode="0.0%">
                  <c:v>0.10949986026155326</c:v>
                </c:pt>
                <c:pt idx="14849" formatCode="0.0%">
                  <c:v>0.10953265880615479</c:v>
                </c:pt>
                <c:pt idx="14850" formatCode="0.0%">
                  <c:v>0.11256914320126585</c:v>
                </c:pt>
                <c:pt idx="14851" formatCode="0.0%">
                  <c:v>0.11003971228942754</c:v>
                </c:pt>
                <c:pt idx="14852" formatCode="0.0%">
                  <c:v>0.12913936324113029</c:v>
                </c:pt>
                <c:pt idx="14853" formatCode="0.0%">
                  <c:v>0.15711978138108612</c:v>
                </c:pt>
                <c:pt idx="14854" formatCode="0.0%">
                  <c:v>0.15910398303313478</c:v>
                </c:pt>
                <c:pt idx="14855" formatCode="0.0%">
                  <c:v>0.14986983611047455</c:v>
                </c:pt>
                <c:pt idx="14856" formatCode="0.0%">
                  <c:v>0.14887572628487553</c:v>
                </c:pt>
                <c:pt idx="14857" formatCode="0.0%">
                  <c:v>0.16859917434909238</c:v>
                </c:pt>
                <c:pt idx="14858" formatCode="0.0%">
                  <c:v>0.16490510248984316</c:v>
                </c:pt>
                <c:pt idx="14859" formatCode="0.0%">
                  <c:v>0.17723196847301764</c:v>
                </c:pt>
                <c:pt idx="14860" formatCode="0.0%">
                  <c:v>0.17692523468253196</c:v>
                </c:pt>
                <c:pt idx="14861" formatCode="0.0%">
                  <c:v>0.18566737821364943</c:v>
                </c:pt>
                <c:pt idx="14862" formatCode="0.0%">
                  <c:v>0.18488837396981123</c:v>
                </c:pt>
                <c:pt idx="14863" formatCode="0.0%">
                  <c:v>0.20306903041154775</c:v>
                </c:pt>
                <c:pt idx="14864" formatCode="0.0%">
                  <c:v>0.20968128904244637</c:v>
                </c:pt>
                <c:pt idx="14865" formatCode="0.0%">
                  <c:v>0.22246947251438789</c:v>
                </c:pt>
                <c:pt idx="14866" formatCode="0.0%">
                  <c:v>0.22444077408583379</c:v>
                </c:pt>
                <c:pt idx="14867" formatCode="0.0%">
                  <c:v>0.21730588792512198</c:v>
                </c:pt>
                <c:pt idx="14868" formatCode="0.0%">
                  <c:v>0.23291748318360472</c:v>
                </c:pt>
                <c:pt idx="14869" formatCode="0.0%">
                  <c:v>0.24198891723455895</c:v>
                </c:pt>
                <c:pt idx="14870" formatCode="0.0%">
                  <c:v>0.24193247662812434</c:v>
                </c:pt>
                <c:pt idx="14871" formatCode="0.0%">
                  <c:v>0.24812873490494566</c:v>
                </c:pt>
                <c:pt idx="14872" formatCode="0.0%">
                  <c:v>0.24388191614689989</c:v>
                </c:pt>
                <c:pt idx="14873" formatCode="0.0%">
                  <c:v>0.23103992500070764</c:v>
                </c:pt>
                <c:pt idx="14874" formatCode="0.0%">
                  <c:v>0.23033466450756721</c:v>
                </c:pt>
                <c:pt idx="14875" formatCode="0.0%">
                  <c:v>0.23575418733750791</c:v>
                </c:pt>
                <c:pt idx="14876" formatCode="0.0%">
                  <c:v>0.23503561607771298</c:v>
                </c:pt>
                <c:pt idx="14877" formatCode="0.0%">
                  <c:v>0.2189205768342791</c:v>
                </c:pt>
                <c:pt idx="14878" formatCode="0.0%">
                  <c:v>0.23180963842712043</c:v>
                </c:pt>
                <c:pt idx="14879" formatCode="0.0%">
                  <c:v>0.22350799901323617</c:v>
                </c:pt>
                <c:pt idx="14880" formatCode="0.0%">
                  <c:v>0.2235105781718596</c:v>
                </c:pt>
                <c:pt idx="14881" formatCode="0.0%">
                  <c:v>0.21755493468025433</c:v>
                </c:pt>
                <c:pt idx="14882" formatCode="0.0%">
                  <c:v>0.21864756558209608</c:v>
                </c:pt>
                <c:pt idx="14883" formatCode="0.0%">
                  <c:v>0.20079316004939912</c:v>
                </c:pt>
                <c:pt idx="14884" formatCode="0.0%">
                  <c:v>0.17927650904959708</c:v>
                </c:pt>
                <c:pt idx="14885" formatCode="0.0%">
                  <c:v>0.16884137205978811</c:v>
                </c:pt>
                <c:pt idx="14886" formatCode="0.0%">
                  <c:v>0.18853962567184107</c:v>
                </c:pt>
                <c:pt idx="14887" formatCode="0.0%">
                  <c:v>0.18851025971557081</c:v>
                </c:pt>
                <c:pt idx="14888" formatCode="0.0%">
                  <c:v>0.18586496957965271</c:v>
                </c:pt>
                <c:pt idx="14889" formatCode="0.0%">
                  <c:v>0.17387076435540405</c:v>
                </c:pt>
                <c:pt idx="14890" formatCode="0.0%">
                  <c:v>0.17654178148299088</c:v>
                </c:pt>
                <c:pt idx="14891" formatCode="0.0%">
                  <c:v>0.1660693409400498</c:v>
                </c:pt>
                <c:pt idx="14892" formatCode="0.0%">
                  <c:v>0.18705098783169402</c:v>
                </c:pt>
                <c:pt idx="14893" formatCode="0.0%">
                  <c:v>0.18721856177279786</c:v>
                </c:pt>
                <c:pt idx="14894" formatCode="0.0%">
                  <c:v>0.1871074035212581</c:v>
                </c:pt>
                <c:pt idx="14895" formatCode="0.0%">
                  <c:v>0.18176665693623359</c:v>
                </c:pt>
                <c:pt idx="14896" formatCode="0.0%">
                  <c:v>0.18174567375240519</c:v>
                </c:pt>
                <c:pt idx="14897" formatCode="0.0%">
                  <c:v>0.18184347835241182</c:v>
                </c:pt>
                <c:pt idx="14898" formatCode="0.0%">
                  <c:v>0.17728345401636422</c:v>
                </c:pt>
                <c:pt idx="14899" formatCode="0.0%">
                  <c:v>0.17847814531208159</c:v>
                </c:pt>
                <c:pt idx="14900" formatCode="0.0%">
                  <c:v>0.17935257698847459</c:v>
                </c:pt>
                <c:pt idx="14901" formatCode="0.0%">
                  <c:v>0.18288612398992041</c:v>
                </c:pt>
                <c:pt idx="14902" formatCode="0.0%">
                  <c:v>0.18118543543195048</c:v>
                </c:pt>
                <c:pt idx="14903" formatCode="0.0%">
                  <c:v>0.1802405960724397</c:v>
                </c:pt>
                <c:pt idx="14904" formatCode="0.0%">
                  <c:v>0.18059428628319452</c:v>
                </c:pt>
                <c:pt idx="14905" formatCode="0.0%">
                  <c:v>0.18329421410041477</c:v>
                </c:pt>
                <c:pt idx="14906" formatCode="0.0%">
                  <c:v>0.15870828691096395</c:v>
                </c:pt>
                <c:pt idx="14907" formatCode="0.0%">
                  <c:v>0.15765858460380672</c:v>
                </c:pt>
                <c:pt idx="14908" formatCode="0.0%">
                  <c:v>0.11930636298990036</c:v>
                </c:pt>
                <c:pt idx="14909" formatCode="0.0%">
                  <c:v>0.1142599270936846</c:v>
                </c:pt>
                <c:pt idx="14910" formatCode="0.0%">
                  <c:v>0.11394257305569225</c:v>
                </c:pt>
                <c:pt idx="14911" formatCode="0.0%">
                  <c:v>0.11455693491412527</c:v>
                </c:pt>
                <c:pt idx="14912" formatCode="0.0%">
                  <c:v>9.1835397008948161E-2</c:v>
                </c:pt>
                <c:pt idx="14913" formatCode="0.0%">
                  <c:v>9.5245484764768684E-2</c:v>
                </c:pt>
                <c:pt idx="14914" formatCode="0.0%">
                  <c:v>9.5145127514615235E-2</c:v>
                </c:pt>
                <c:pt idx="14915" formatCode="0.0%">
                  <c:v>9.8569693216384022E-2</c:v>
                </c:pt>
                <c:pt idx="14916" formatCode="0.0%">
                  <c:v>9.7575364058468367E-2</c:v>
                </c:pt>
                <c:pt idx="14917" formatCode="0.0%">
                  <c:v>0.10944553521932618</c:v>
                </c:pt>
                <c:pt idx="14918" formatCode="0.0%">
                  <c:v>9.6771030557404172E-2</c:v>
                </c:pt>
                <c:pt idx="14919" formatCode="0.0%">
                  <c:v>9.9254125861823722E-2</c:v>
                </c:pt>
                <c:pt idx="14920" formatCode="0.0%">
                  <c:v>9.6711050103619078E-2</c:v>
                </c:pt>
                <c:pt idx="14921" formatCode="0.0%">
                  <c:v>9.3489363474483778E-2</c:v>
                </c:pt>
                <c:pt idx="14922" formatCode="0.0%">
                  <c:v>9.3574220418548945E-2</c:v>
                </c:pt>
                <c:pt idx="14923" formatCode="0.0%">
                  <c:v>9.4755302579164702E-2</c:v>
                </c:pt>
                <c:pt idx="14924" formatCode="0.0%">
                  <c:v>9.4370897080820873E-2</c:v>
                </c:pt>
                <c:pt idx="14925" formatCode="0.0%">
                  <c:v>9.0353734443642988E-2</c:v>
                </c:pt>
                <c:pt idx="14926" formatCode="0.0%">
                  <c:v>9.4749292630589788E-2</c:v>
                </c:pt>
                <c:pt idx="14927" formatCode="0.0%">
                  <c:v>9.3732032208860575E-2</c:v>
                </c:pt>
                <c:pt idx="14928" formatCode="0.0%">
                  <c:v>9.6369527912645525E-2</c:v>
                </c:pt>
                <c:pt idx="14929" formatCode="0.0%">
                  <c:v>9.7700470803720324E-2</c:v>
                </c:pt>
                <c:pt idx="14930" formatCode="0.0%">
                  <c:v>0.10540813641981064</c:v>
                </c:pt>
                <c:pt idx="14931" formatCode="0.0%">
                  <c:v>0.10653275416398063</c:v>
                </c:pt>
                <c:pt idx="14932" formatCode="0.0%">
                  <c:v>0.1056021211217885</c:v>
                </c:pt>
                <c:pt idx="14933" formatCode="0.0%">
                  <c:v>0.10421568500065223</c:v>
                </c:pt>
                <c:pt idx="14934" formatCode="0.0%">
                  <c:v>0.10269675521612005</c:v>
                </c:pt>
                <c:pt idx="14935" formatCode="0.0%">
                  <c:v>0.10135445303973308</c:v>
                </c:pt>
                <c:pt idx="14936" formatCode="0.0%">
                  <c:v>0.1026209777576228</c:v>
                </c:pt>
                <c:pt idx="14937" formatCode="0.0%">
                  <c:v>9.5164044293410299E-2</c:v>
                </c:pt>
                <c:pt idx="14938" formatCode="0.0%">
                  <c:v>9.4984680050529111E-2</c:v>
                </c:pt>
                <c:pt idx="14939" formatCode="0.0%">
                  <c:v>9.1920829539922769E-2</c:v>
                </c:pt>
                <c:pt idx="14940" formatCode="0.0%">
                  <c:v>9.2701429301411675E-2</c:v>
                </c:pt>
                <c:pt idx="14941" formatCode="0.0%">
                  <c:v>9.2327181970153535E-2</c:v>
                </c:pt>
                <c:pt idx="14942" formatCode="0.0%">
                  <c:v>9.4324955614084674E-2</c:v>
                </c:pt>
                <c:pt idx="14943" formatCode="0.0%">
                  <c:v>9.9013595912336355E-2</c:v>
                </c:pt>
                <c:pt idx="14944" formatCode="0.0%">
                  <c:v>9.901747970073746E-2</c:v>
                </c:pt>
                <c:pt idx="14945" formatCode="0.0%">
                  <c:v>0.10750002644630087</c:v>
                </c:pt>
                <c:pt idx="14946" formatCode="0.0%">
                  <c:v>0.11469010167935016</c:v>
                </c:pt>
                <c:pt idx="14947" formatCode="0.0%">
                  <c:v>0.11590129675873295</c:v>
                </c:pt>
                <c:pt idx="14948" formatCode="0.0%">
                  <c:v>0.11567529165123124</c:v>
                </c:pt>
                <c:pt idx="14949" formatCode="0.0%">
                  <c:v>0.11674007961559846</c:v>
                </c:pt>
                <c:pt idx="14950" formatCode="0.0%">
                  <c:v>0.10643914426004496</c:v>
                </c:pt>
                <c:pt idx="14951" formatCode="0.0%">
                  <c:v>0.11643226401946784</c:v>
                </c:pt>
                <c:pt idx="14952" formatCode="0.0%">
                  <c:v>0.11584494503887079</c:v>
                </c:pt>
                <c:pt idx="14953" formatCode="0.0%">
                  <c:v>0.12102898311282656</c:v>
                </c:pt>
                <c:pt idx="14954" formatCode="0.0%">
                  <c:v>0.12106735698933854</c:v>
                </c:pt>
                <c:pt idx="14955" formatCode="0.0%">
                  <c:v>0.12809505348530978</c:v>
                </c:pt>
                <c:pt idx="14956" formatCode="0.0%">
                  <c:v>0.13018992268755925</c:v>
                </c:pt>
                <c:pt idx="14957" formatCode="0.0%">
                  <c:v>0.132488596587365</c:v>
                </c:pt>
                <c:pt idx="14958" formatCode="0.0%">
                  <c:v>0.13834353034067137</c:v>
                </c:pt>
                <c:pt idx="14959" formatCode="0.0%">
                  <c:v>0.14854761029395511</c:v>
                </c:pt>
                <c:pt idx="14960" formatCode="0.0%">
                  <c:v>0.14949009121064846</c:v>
                </c:pt>
                <c:pt idx="14961" formatCode="0.0%">
                  <c:v>0.16678454915938848</c:v>
                </c:pt>
                <c:pt idx="14962" formatCode="0.0%">
                  <c:v>0.16676621567615219</c:v>
                </c:pt>
                <c:pt idx="14963" formatCode="0.0%">
                  <c:v>0.1625446162095586</c:v>
                </c:pt>
                <c:pt idx="14964" formatCode="0.0%">
                  <c:v>0.16640883396707606</c:v>
                </c:pt>
                <c:pt idx="14965" formatCode="0.0%">
                  <c:v>0.15745501968712541</c:v>
                </c:pt>
                <c:pt idx="14966" formatCode="0.0%">
                  <c:v>0.14255043036560136</c:v>
                </c:pt>
                <c:pt idx="14967" formatCode="0.0%">
                  <c:v>0.15003277363185105</c:v>
                </c:pt>
                <c:pt idx="14968" formatCode="0.0%">
                  <c:v>0.15947732427213282</c:v>
                </c:pt>
                <c:pt idx="14969" formatCode="0.0%">
                  <c:v>0.16059892881328222</c:v>
                </c:pt>
                <c:pt idx="14970" formatCode="0.0%">
                  <c:v>0.16891496215634288</c:v>
                </c:pt>
                <c:pt idx="14971" formatCode="0.0%">
                  <c:v>0.16472215621854927</c:v>
                </c:pt>
                <c:pt idx="14972" formatCode="0.0%">
                  <c:v>0.16431751609013345</c:v>
                </c:pt>
                <c:pt idx="14973" formatCode="0.0%">
                  <c:v>0.15130591360274423</c:v>
                </c:pt>
                <c:pt idx="14974" formatCode="0.0%">
                  <c:v>0.1540002218182982</c:v>
                </c:pt>
                <c:pt idx="14975" formatCode="0.0%">
                  <c:v>0.19120823703786835</c:v>
                </c:pt>
                <c:pt idx="14976" formatCode="0.0%">
                  <c:v>0.18770857565587362</c:v>
                </c:pt>
                <c:pt idx="14977" formatCode="0.0%">
                  <c:v>0.18725616280018223</c:v>
                </c:pt>
                <c:pt idx="14978" formatCode="0.0%">
                  <c:v>0.18561443341090395</c:v>
                </c:pt>
                <c:pt idx="14979" formatCode="0.0%">
                  <c:v>0.18446256869687366</c:v>
                </c:pt>
                <c:pt idx="14980" formatCode="0.0%">
                  <c:v>0.18182957332164223</c:v>
                </c:pt>
                <c:pt idx="14981" formatCode="0.0%">
                  <c:v>0.16842376270427067</c:v>
                </c:pt>
                <c:pt idx="14982" formatCode="0.0%">
                  <c:v>0.17779908513789608</c:v>
                </c:pt>
                <c:pt idx="14983" formatCode="0.0%">
                  <c:v>0.17667193782167748</c:v>
                </c:pt>
                <c:pt idx="14984" formatCode="0.0%">
                  <c:v>0.17077821898514589</c:v>
                </c:pt>
                <c:pt idx="14985" formatCode="0.0%">
                  <c:v>0.19596759952281453</c:v>
                </c:pt>
                <c:pt idx="14986" formatCode="0.0%">
                  <c:v>0.19625707701805106</c:v>
                </c:pt>
                <c:pt idx="14987" formatCode="0.0%">
                  <c:v>0.19942287241831777</c:v>
                </c:pt>
                <c:pt idx="14988" formatCode="0.0%">
                  <c:v>0.19308211452241056</c:v>
                </c:pt>
                <c:pt idx="14989" formatCode="0.0%">
                  <c:v>0.1925102773134173</c:v>
                </c:pt>
                <c:pt idx="14990" formatCode="0.0%">
                  <c:v>0.19528782191727928</c:v>
                </c:pt>
                <c:pt idx="14991" formatCode="0.0%">
                  <c:v>0.2199755428862665</c:v>
                </c:pt>
                <c:pt idx="14992" formatCode="0.0%">
                  <c:v>0.2333995242347523</c:v>
                </c:pt>
                <c:pt idx="14993" formatCode="0.0%">
                  <c:v>0.29326392868921269</c:v>
                </c:pt>
                <c:pt idx="14994" formatCode="0.0%">
                  <c:v>0.84707314244058207</c:v>
                </c:pt>
                <c:pt idx="14995" formatCode="0.0%">
                  <c:v>0.8673544120494312</c:v>
                </c:pt>
                <c:pt idx="14996" formatCode="0.0%">
                  <c:v>0.93839178197217721</c:v>
                </c:pt>
                <c:pt idx="14997" formatCode="0.0%">
                  <c:v>0.94364477320968454</c:v>
                </c:pt>
                <c:pt idx="14998" formatCode="0.0%">
                  <c:v>0.94336473955629052</c:v>
                </c:pt>
                <c:pt idx="14999" formatCode="0.0%">
                  <c:v>0.97434457970616339</c:v>
                </c:pt>
                <c:pt idx="15000" formatCode="0.0%">
                  <c:v>0.98459802941320318</c:v>
                </c:pt>
                <c:pt idx="15001" formatCode="0.0%">
                  <c:v>0.98458708824355634</c:v>
                </c:pt>
                <c:pt idx="15002" formatCode="0.0%">
                  <c:v>1.0044440227200393</c:v>
                </c:pt>
                <c:pt idx="15003" formatCode="0.0%">
                  <c:v>1.0144090564350745</c:v>
                </c:pt>
                <c:pt idx="15004" formatCode="0.0%">
                  <c:v>1.0186074198334356</c:v>
                </c:pt>
                <c:pt idx="15005" formatCode="0.0%">
                  <c:v>1.0174564347341128</c:v>
                </c:pt>
                <c:pt idx="15006" formatCode="0.0%">
                  <c:v>1.0169438554888368</c:v>
                </c:pt>
                <c:pt idx="15007" formatCode="0.0%">
                  <c:v>1.0241368694680459</c:v>
                </c:pt>
                <c:pt idx="15008" formatCode="0.0%">
                  <c:v>1.0243237645409939</c:v>
                </c:pt>
                <c:pt idx="15009" formatCode="0.0%">
                  <c:v>1.0261599779540853</c:v>
                </c:pt>
                <c:pt idx="15010" formatCode="0.0%">
                  <c:v>1.0207116481075835</c:v>
                </c:pt>
                <c:pt idx="15011" formatCode="0.0%">
                  <c:v>1.0227405435671499</c:v>
                </c:pt>
                <c:pt idx="15012" formatCode="0.0%">
                  <c:v>1.0306052647489152</c:v>
                </c:pt>
                <c:pt idx="15013" formatCode="0.0%">
                  <c:v>1.0176248315959453</c:v>
                </c:pt>
                <c:pt idx="15014" formatCode="0.0%">
                  <c:v>0.58963873688826896</c:v>
                </c:pt>
                <c:pt idx="15015" formatCode="0.0%">
                  <c:v>0.56588813809363603</c:v>
                </c:pt>
                <c:pt idx="15016" formatCode="0.0%">
                  <c:v>0.46878542542129736</c:v>
                </c:pt>
                <c:pt idx="15017" formatCode="0.0%">
                  <c:v>0.4542271187334172</c:v>
                </c:pt>
                <c:pt idx="15018" formatCode="0.0%">
                  <c:v>0.45553411989809278</c:v>
                </c:pt>
                <c:pt idx="15019" formatCode="0.0%">
                  <c:v>0.32603110275454317</c:v>
                </c:pt>
                <c:pt idx="15020" formatCode="0.0%">
                  <c:v>0.31944827542161514</c:v>
                </c:pt>
                <c:pt idx="15021" formatCode="0.0%">
                  <c:v>0.32225622675167875</c:v>
                </c:pt>
                <c:pt idx="15022" formatCode="0.0%">
                  <c:v>0.27843750724169125</c:v>
                </c:pt>
                <c:pt idx="15023" formatCode="0.0%">
                  <c:v>0.29328598214025764</c:v>
                </c:pt>
                <c:pt idx="15024" formatCode="0.0%">
                  <c:v>0.28719838092801264</c:v>
                </c:pt>
                <c:pt idx="15025" formatCode="0.0%">
                  <c:v>0.2843524906519837</c:v>
                </c:pt>
                <c:pt idx="15026" formatCode="0.0%">
                  <c:v>0.30659074855138757</c:v>
                </c:pt>
                <c:pt idx="15027" formatCode="0.0%">
                  <c:v>0.28960155337089227</c:v>
                </c:pt>
                <c:pt idx="15028" formatCode="0.0%">
                  <c:v>0.30317977442410921</c:v>
                </c:pt>
                <c:pt idx="15029" formatCode="0.0%">
                  <c:v>0.30735415171457237</c:v>
                </c:pt>
                <c:pt idx="15030" formatCode="0.0%">
                  <c:v>0.30827566756615371</c:v>
                </c:pt>
                <c:pt idx="15031" formatCode="0.0%">
                  <c:v>0.31467062240675037</c:v>
                </c:pt>
                <c:pt idx="15032" formatCode="0.0%">
                  <c:v>0.29820726364125105</c:v>
                </c:pt>
                <c:pt idx="15033" formatCode="0.0%">
                  <c:v>0.31615031709935287</c:v>
                </c:pt>
                <c:pt idx="15034" formatCode="0.0%">
                  <c:v>0.31578406800000097</c:v>
                </c:pt>
                <c:pt idx="15035" formatCode="0.0%">
                  <c:v>0.32045568637508581</c:v>
                </c:pt>
                <c:pt idx="15036" formatCode="0.0%">
                  <c:v>0.32744538429546671</c:v>
                </c:pt>
                <c:pt idx="15037" formatCode="0.0%">
                  <c:v>0.32853335050339788</c:v>
                </c:pt>
                <c:pt idx="15038" formatCode="0.0%">
                  <c:v>0.3277081333326225</c:v>
                </c:pt>
                <c:pt idx="15039" formatCode="0.0%">
                  <c:v>0.32757088031773379</c:v>
                </c:pt>
                <c:pt idx="15040" formatCode="0.0%">
                  <c:v>0.32702172415270947</c:v>
                </c:pt>
                <c:pt idx="15041" formatCode="0.0%">
                  <c:v>0.32537370876218441</c:v>
                </c:pt>
                <c:pt idx="15042" formatCode="0.0%">
                  <c:v>0.33459821193116956</c:v>
                </c:pt>
                <c:pt idx="15043" formatCode="0.0%">
                  <c:v>0.29312348996721077</c:v>
                </c:pt>
                <c:pt idx="15044" formatCode="0.0%">
                  <c:v>0.29503702151555938</c:v>
                </c:pt>
                <c:pt idx="15045" formatCode="0.0%">
                  <c:v>0.29568267229543227</c:v>
                </c:pt>
                <c:pt idx="15046" formatCode="0.0%">
                  <c:v>0.2793732897644251</c:v>
                </c:pt>
                <c:pt idx="15047" formatCode="0.0%">
                  <c:v>0.27593353592415898</c:v>
                </c:pt>
                <c:pt idx="15048" formatCode="0.0%">
                  <c:v>0.2714909181452862</c:v>
                </c:pt>
                <c:pt idx="15049" formatCode="0.0%">
                  <c:v>0.26089189959046361</c:v>
                </c:pt>
                <c:pt idx="15050" formatCode="0.0%">
                  <c:v>0.3696276574958085</c:v>
                </c:pt>
                <c:pt idx="15051" formatCode="0.0%">
                  <c:v>0.36275348023544174</c:v>
                </c:pt>
                <c:pt idx="15052" formatCode="0.0%">
                  <c:v>0.36446925698196381</c:v>
                </c:pt>
                <c:pt idx="15053" formatCode="0.0%">
                  <c:v>0.35059041242469791</c:v>
                </c:pt>
                <c:pt idx="15054" formatCode="0.0%">
                  <c:v>0.35053014436340463</c:v>
                </c:pt>
                <c:pt idx="15055" formatCode="0.0%">
                  <c:v>0.35329581958587675</c:v>
                </c:pt>
                <c:pt idx="15056" formatCode="0.0%">
                  <c:v>0.34410771499518411</c:v>
                </c:pt>
                <c:pt idx="15057" formatCode="0.0%">
                  <c:v>0.33509027849225897</c:v>
                </c:pt>
                <c:pt idx="15058" formatCode="0.0%">
                  <c:v>0.34863206177258926</c:v>
                </c:pt>
                <c:pt idx="15059" formatCode="0.0%">
                  <c:v>0.34868892783507277</c:v>
                </c:pt>
                <c:pt idx="15060" formatCode="0.0%">
                  <c:v>0.3492237395475008</c:v>
                </c:pt>
                <c:pt idx="15061" formatCode="0.0%">
                  <c:v>0.35919009127456369</c:v>
                </c:pt>
                <c:pt idx="15062" formatCode="0.0%">
                  <c:v>0.34835908851345526</c:v>
                </c:pt>
                <c:pt idx="15063" formatCode="0.0%">
                  <c:v>0.34795596775201837</c:v>
                </c:pt>
                <c:pt idx="15064" formatCode="0.0%">
                  <c:v>0.34911614734556379</c:v>
                </c:pt>
                <c:pt idx="15065" formatCode="0.0%">
                  <c:v>0.35203738871577323</c:v>
                </c:pt>
                <c:pt idx="15066" formatCode="0.0%">
                  <c:v>0.33065866463354882</c:v>
                </c:pt>
                <c:pt idx="15067" formatCode="0.0%">
                  <c:v>0.3284154716908555</c:v>
                </c:pt>
                <c:pt idx="15068" formatCode="0.0%">
                  <c:v>0.3313715228769068</c:v>
                </c:pt>
                <c:pt idx="15069" formatCode="0.0%">
                  <c:v>0.32944976602617654</c:v>
                </c:pt>
                <c:pt idx="15070" formatCode="0.0%">
                  <c:v>0.20950443633432292</c:v>
                </c:pt>
                <c:pt idx="15071" formatCode="0.0%">
                  <c:v>0.20380292596581515</c:v>
                </c:pt>
                <c:pt idx="15072" formatCode="0.0%">
                  <c:v>0.20409257227028776</c:v>
                </c:pt>
                <c:pt idx="15073" formatCode="0.0%">
                  <c:v>0.21405335180707788</c:v>
                </c:pt>
                <c:pt idx="15074" formatCode="0.0%">
                  <c:v>0.21468199296499421</c:v>
                </c:pt>
                <c:pt idx="15075" formatCode="0.0%">
                  <c:v>0.19814068185289532</c:v>
                </c:pt>
                <c:pt idx="15076" formatCode="0.0%">
                  <c:v>0.19972545036042139</c:v>
                </c:pt>
                <c:pt idx="15077" formatCode="0.0%">
                  <c:v>0.19549589885887356</c:v>
                </c:pt>
                <c:pt idx="15078" formatCode="0.0%">
                  <c:v>0.16514137547375496</c:v>
                </c:pt>
                <c:pt idx="15079" formatCode="0.0%">
                  <c:v>0.16977252446769475</c:v>
                </c:pt>
                <c:pt idx="15080" formatCode="0.0%">
                  <c:v>0.17108655831311637</c:v>
                </c:pt>
                <c:pt idx="15081" formatCode="0.0%">
                  <c:v>0.15669682871735641</c:v>
                </c:pt>
                <c:pt idx="15082" formatCode="0.0%">
                  <c:v>0.1503827447972679</c:v>
                </c:pt>
                <c:pt idx="15083" formatCode="0.0%">
                  <c:v>0.15770309833805168</c:v>
                </c:pt>
                <c:pt idx="15084" formatCode="0.0%">
                  <c:v>0.1499463220748033</c:v>
                </c:pt>
                <c:pt idx="15085" formatCode="0.0%">
                  <c:v>0.15722590050715055</c:v>
                </c:pt>
                <c:pt idx="15086" formatCode="0.0%">
                  <c:v>0.15369686199290883</c:v>
                </c:pt>
                <c:pt idx="15087" formatCode="0.0%">
                  <c:v>0.15370387162134164</c:v>
                </c:pt>
                <c:pt idx="15088" formatCode="0.0%">
                  <c:v>0.14277687640201278</c:v>
                </c:pt>
                <c:pt idx="15089" formatCode="0.0%">
                  <c:v>0.14358870152924511</c:v>
                </c:pt>
                <c:pt idx="15090" formatCode="0.0%">
                  <c:v>0.1409506683765189</c:v>
                </c:pt>
                <c:pt idx="15091" formatCode="0.0%">
                  <c:v>0.13597324595322363</c:v>
                </c:pt>
                <c:pt idx="15092" formatCode="0.0%">
                  <c:v>0.13490962533573919</c:v>
                </c:pt>
                <c:pt idx="15093" formatCode="0.0%">
                  <c:v>0.14394391547187166</c:v>
                </c:pt>
                <c:pt idx="15094" formatCode="0.0%">
                  <c:v>0.1433952046704188</c:v>
                </c:pt>
                <c:pt idx="15095" formatCode="0.0%">
                  <c:v>0.14293704645959368</c:v>
                </c:pt>
                <c:pt idx="15096" formatCode="0.0%">
                  <c:v>0.14085556633200491</c:v>
                </c:pt>
                <c:pt idx="15097" formatCode="0.0%">
                  <c:v>0.14308989423221774</c:v>
                </c:pt>
                <c:pt idx="15098" formatCode="0.0%">
                  <c:v>0.14321693830038934</c:v>
                </c:pt>
                <c:pt idx="15099" formatCode="0.0%">
                  <c:v>0.13658516079298125</c:v>
                </c:pt>
                <c:pt idx="15100" formatCode="0.0%">
                  <c:v>0.1316938979870258</c:v>
                </c:pt>
                <c:pt idx="15101" formatCode="0.0%">
                  <c:v>0.13124842660722841</c:v>
                </c:pt>
                <c:pt idx="15102" formatCode="0.0%">
                  <c:v>0.13080448560196176</c:v>
                </c:pt>
                <c:pt idx="15103" formatCode="0.0%">
                  <c:v>0.14662489138807094</c:v>
                </c:pt>
                <c:pt idx="15104" formatCode="0.0%">
                  <c:v>0.16059448861964917</c:v>
                </c:pt>
                <c:pt idx="15105" formatCode="0.0%">
                  <c:v>0.14017394632496891</c:v>
                </c:pt>
                <c:pt idx="15106" formatCode="0.0%">
                  <c:v>0.14424470726331157</c:v>
                </c:pt>
                <c:pt idx="15107" formatCode="0.0%">
                  <c:v>0.14503860783146158</c:v>
                </c:pt>
                <c:pt idx="15108" formatCode="0.0%">
                  <c:v>0.14607086182182741</c:v>
                </c:pt>
                <c:pt idx="15109" formatCode="0.0%">
                  <c:v>0.1496605838789675</c:v>
                </c:pt>
                <c:pt idx="15110" formatCode="0.0%">
                  <c:v>0.15502528741568905</c:v>
                </c:pt>
                <c:pt idx="15111" formatCode="0.0%">
                  <c:v>0.18244092447460897</c:v>
                </c:pt>
                <c:pt idx="15112" formatCode="0.0%">
                  <c:v>0.18278385575016881</c:v>
                </c:pt>
                <c:pt idx="15113" formatCode="0.0%">
                  <c:v>0.17344504053915247</c:v>
                </c:pt>
                <c:pt idx="15114" formatCode="0.0%">
                  <c:v>0.17317548326509291</c:v>
                </c:pt>
                <c:pt idx="15115" formatCode="0.0%">
                  <c:v>0.17289709844691739</c:v>
                </c:pt>
                <c:pt idx="15116" formatCode="0.0%">
                  <c:v>0.17276470668228808</c:v>
                </c:pt>
                <c:pt idx="15117" formatCode="0.0%">
                  <c:v>0.23335202506118091</c:v>
                </c:pt>
                <c:pt idx="15118" formatCode="0.0%">
                  <c:v>0.22971688860404021</c:v>
                </c:pt>
                <c:pt idx="15119" formatCode="0.0%">
                  <c:v>0.22961996512272295</c:v>
                </c:pt>
                <c:pt idx="15120" formatCode="0.0%">
                  <c:v>0.22856666344573559</c:v>
                </c:pt>
                <c:pt idx="15121" formatCode="0.0%">
                  <c:v>0.22901661976365428</c:v>
                </c:pt>
                <c:pt idx="15122" formatCode="0.0%">
                  <c:v>0.22917276995615204</c:v>
                </c:pt>
                <c:pt idx="15123" formatCode="0.0%">
                  <c:v>0.22557135771398265</c:v>
                </c:pt>
                <c:pt idx="15124" formatCode="0.0%">
                  <c:v>0.21751223308115852</c:v>
                </c:pt>
                <c:pt idx="15125" formatCode="0.0%">
                  <c:v>0.21794969809724815</c:v>
                </c:pt>
                <c:pt idx="15126" formatCode="0.0%">
                  <c:v>0.21658226607942949</c:v>
                </c:pt>
                <c:pt idx="15127" formatCode="0.0%">
                  <c:v>0.21522392337265248</c:v>
                </c:pt>
                <c:pt idx="15128" formatCode="0.0%">
                  <c:v>0.21598106793315411</c:v>
                </c:pt>
                <c:pt idx="15129" formatCode="0.0%">
                  <c:v>0.21178254512824796</c:v>
                </c:pt>
                <c:pt idx="15130" formatCode="0.0%">
                  <c:v>0.21018549051737626</c:v>
                </c:pt>
                <c:pt idx="15131" formatCode="0.0%">
                  <c:v>0.18998632140664806</c:v>
                </c:pt>
                <c:pt idx="15132" formatCode="0.0%">
                  <c:v>0.19027600464168051</c:v>
                </c:pt>
                <c:pt idx="15133" formatCode="0.0%">
                  <c:v>0.18364899211161539</c:v>
                </c:pt>
                <c:pt idx="15134" formatCode="0.0%">
                  <c:v>0.18274994656727936</c:v>
                </c:pt>
                <c:pt idx="15135" formatCode="0.0%">
                  <c:v>0.18261524709423577</c:v>
                </c:pt>
                <c:pt idx="15136" formatCode="0.0%">
                  <c:v>0.18893523102921544</c:v>
                </c:pt>
                <c:pt idx="15137" formatCode="0.0%">
                  <c:v>0.11115235957387992</c:v>
                </c:pt>
                <c:pt idx="15138" formatCode="0.0%">
                  <c:v>0.11984470463772635</c:v>
                </c:pt>
                <c:pt idx="15139" formatCode="0.0%">
                  <c:v>0.12300840909948522</c:v>
                </c:pt>
                <c:pt idx="15140" formatCode="0.0%">
                  <c:v>0.1301981246728004</c:v>
                </c:pt>
                <c:pt idx="15141" formatCode="0.0%">
                  <c:v>0.13967671651258215</c:v>
                </c:pt>
                <c:pt idx="15142" formatCode="0.0%">
                  <c:v>0.14102177731573021</c:v>
                </c:pt>
                <c:pt idx="15143" formatCode="0.0%">
                  <c:v>0.12968707946940647</c:v>
                </c:pt>
                <c:pt idx="15144" formatCode="0.0%">
                  <c:v>0.12619011129113633</c:v>
                </c:pt>
                <c:pt idx="15145" formatCode="0.0%">
                  <c:v>0.13150877275958858</c:v>
                </c:pt>
                <c:pt idx="15146" formatCode="0.0%">
                  <c:v>0.13183988276146358</c:v>
                </c:pt>
                <c:pt idx="15147" formatCode="0.0%">
                  <c:v>0.13278921463564353</c:v>
                </c:pt>
                <c:pt idx="15148" formatCode="0.0%">
                  <c:v>0.13274893646775718</c:v>
                </c:pt>
                <c:pt idx="15149" formatCode="0.0%">
                  <c:v>0.18298440478887454</c:v>
                </c:pt>
                <c:pt idx="15150" formatCode="0.0%">
                  <c:v>0.19196618036868179</c:v>
                </c:pt>
                <c:pt idx="15151" formatCode="0.0%">
                  <c:v>0.18892871078242243</c:v>
                </c:pt>
                <c:pt idx="15152" formatCode="0.0%">
                  <c:v>0.18747065218468117</c:v>
                </c:pt>
                <c:pt idx="15153" formatCode="0.0%">
                  <c:v>0.18588122796700118</c:v>
                </c:pt>
                <c:pt idx="15154" formatCode="0.0%">
                  <c:v>0.18759960704016898</c:v>
                </c:pt>
                <c:pt idx="15155" formatCode="0.0%">
                  <c:v>0.20317916310206793</c:v>
                </c:pt>
                <c:pt idx="15156" formatCode="0.0%">
                  <c:v>0.1920668685310308</c:v>
                </c:pt>
                <c:pt idx="15157" formatCode="0.0%">
                  <c:v>0.19203608025098817</c:v>
                </c:pt>
                <c:pt idx="15158" formatCode="0.0%">
                  <c:v>0.18977030288098304</c:v>
                </c:pt>
                <c:pt idx="15159" formatCode="0.0%">
                  <c:v>0.19106892046554078</c:v>
                </c:pt>
                <c:pt idx="15160" formatCode="0.0%">
                  <c:v>0.18202663806583841</c:v>
                </c:pt>
                <c:pt idx="15161" formatCode="0.0%">
                  <c:v>0.18385756689723387</c:v>
                </c:pt>
                <c:pt idx="15162" formatCode="0.0%">
                  <c:v>0.18379315055122064</c:v>
                </c:pt>
                <c:pt idx="15163" formatCode="0.0%">
                  <c:v>0.18708395505547912</c:v>
                </c:pt>
                <c:pt idx="15164" formatCode="0.0%">
                  <c:v>0.1832917779574168</c:v>
                </c:pt>
                <c:pt idx="15165" formatCode="0.0%">
                  <c:v>0.18571089234580851</c:v>
                </c:pt>
                <c:pt idx="15166" formatCode="0.0%">
                  <c:v>0.18718156785338183</c:v>
                </c:pt>
                <c:pt idx="15167" formatCode="0.0%">
                  <c:v>0.18921036924665624</c:v>
                </c:pt>
                <c:pt idx="15168" formatCode="0.0%">
                  <c:v>0.20154272819960845</c:v>
                </c:pt>
                <c:pt idx="15169" formatCode="0.0%">
                  <c:v>0.16942445584570517</c:v>
                </c:pt>
                <c:pt idx="15170" formatCode="0.0%">
                  <c:v>0.16099016068924293</c:v>
                </c:pt>
                <c:pt idx="15171" formatCode="0.0%">
                  <c:v>0.16206956731163594</c:v>
                </c:pt>
                <c:pt idx="15172" formatCode="0.0%">
                  <c:v>0.16403923136601473</c:v>
                </c:pt>
                <c:pt idx="15173" formatCode="0.0%">
                  <c:v>0.17112753806397074</c:v>
                </c:pt>
                <c:pt idx="15174" formatCode="0.0%">
                  <c:v>0.17726082649967753</c:v>
                </c:pt>
                <c:pt idx="15175" formatCode="0.0%">
                  <c:v>0.1563166859923602</c:v>
                </c:pt>
                <c:pt idx="15176" formatCode="0.0%">
                  <c:v>0.15709886552266233</c:v>
                </c:pt>
                <c:pt idx="15177" formatCode="0.0%">
                  <c:v>0.15659970597758111</c:v>
                </c:pt>
                <c:pt idx="15178" formatCode="0.0%">
                  <c:v>0.16043736022379529</c:v>
                </c:pt>
                <c:pt idx="15179" formatCode="0.0%">
                  <c:v>0.15673038938070835</c:v>
                </c:pt>
                <c:pt idx="15180" formatCode="0.0%">
                  <c:v>0.1574392649381221</c:v>
                </c:pt>
                <c:pt idx="15181" formatCode="0.0%">
                  <c:v>0.14680471741599366</c:v>
                </c:pt>
                <c:pt idx="15182" formatCode="0.0%">
                  <c:v>0.14790316071568407</c:v>
                </c:pt>
                <c:pt idx="15183" formatCode="0.0%">
                  <c:v>0.14860009894606474</c:v>
                </c:pt>
                <c:pt idx="15184" formatCode="0.0%">
                  <c:v>0.14537608821725576</c:v>
                </c:pt>
                <c:pt idx="15185" formatCode="0.0%">
                  <c:v>0.1402292966627609</c:v>
                </c:pt>
                <c:pt idx="15186" formatCode="0.0%">
                  <c:v>0.14485489317742423</c:v>
                </c:pt>
                <c:pt idx="15187" formatCode="0.0%">
                  <c:v>0.14653541196717054</c:v>
                </c:pt>
                <c:pt idx="15188" formatCode="0.0%">
                  <c:v>0.1346446970745428</c:v>
                </c:pt>
                <c:pt idx="15189" formatCode="0.0%">
                  <c:v>0.12977793504358137</c:v>
                </c:pt>
                <c:pt idx="15190" formatCode="0.0%">
                  <c:v>0.13980020119452269</c:v>
                </c:pt>
                <c:pt idx="15191" formatCode="0.0%">
                  <c:v>0.15878444201058814</c:v>
                </c:pt>
                <c:pt idx="15192" formatCode="0.0%">
                  <c:v>0.15719084467014752</c:v>
                </c:pt>
                <c:pt idx="15193" formatCode="0.0%">
                  <c:v>0.14736621117888715</c:v>
                </c:pt>
                <c:pt idx="15194" formatCode="0.0%">
                  <c:v>0.13944440742658468</c:v>
                </c:pt>
                <c:pt idx="15195" formatCode="0.0%">
                  <c:v>0.14014073129267596</c:v>
                </c:pt>
                <c:pt idx="15196" formatCode="0.0%">
                  <c:v>0.13848345617068245</c:v>
                </c:pt>
                <c:pt idx="15197" formatCode="0.0%">
                  <c:v>0.13922391879502916</c:v>
                </c:pt>
                <c:pt idx="15198" formatCode="0.0%">
                  <c:v>0.1424084171891532</c:v>
                </c:pt>
                <c:pt idx="15199" formatCode="0.0%">
                  <c:v>0.15292478281282962</c:v>
                </c:pt>
                <c:pt idx="15200" formatCode="0.0%">
                  <c:v>0.15282393404252889</c:v>
                </c:pt>
                <c:pt idx="15201" formatCode="0.0%">
                  <c:v>0.14991229809998111</c:v>
                </c:pt>
                <c:pt idx="15202" formatCode="0.0%">
                  <c:v>0.15642842317688826</c:v>
                </c:pt>
                <c:pt idx="15203" formatCode="0.0%">
                  <c:v>0.15851998952705537</c:v>
                </c:pt>
                <c:pt idx="15204" formatCode="0.0%">
                  <c:v>0.15652363747513401</c:v>
                </c:pt>
                <c:pt idx="15205" formatCode="0.0%">
                  <c:v>0.15151956136220573</c:v>
                </c:pt>
                <c:pt idx="15206" formatCode="0.0%">
                  <c:v>0.14626816169731169</c:v>
                </c:pt>
                <c:pt idx="15207" formatCode="0.0%">
                  <c:v>0.15087081954237772</c:v>
                </c:pt>
                <c:pt idx="15208" formatCode="0.0%">
                  <c:v>0.15051637346628266</c:v>
                </c:pt>
                <c:pt idx="15209" formatCode="0.0%">
                  <c:v>0.15849590775022393</c:v>
                </c:pt>
                <c:pt idx="15210" formatCode="0.0%">
                  <c:v>0.15192425576798882</c:v>
                </c:pt>
                <c:pt idx="15211" formatCode="0.0%">
                  <c:v>0.12471102047261161</c:v>
                </c:pt>
                <c:pt idx="15212" formatCode="0.0%">
                  <c:v>0.13204743841961053</c:v>
                </c:pt>
                <c:pt idx="15213" formatCode="0.0%">
                  <c:v>0.13228145535494931</c:v>
                </c:pt>
                <c:pt idx="15214" formatCode="0.0%">
                  <c:v>0.13100978409042288</c:v>
                </c:pt>
                <c:pt idx="15215" formatCode="0.0%">
                  <c:v>0.13571503555353814</c:v>
                </c:pt>
                <c:pt idx="15216" formatCode="0.0%">
                  <c:v>0.16410929036139477</c:v>
                </c:pt>
                <c:pt idx="15217" formatCode="0.0%">
                  <c:v>0.16477145431453588</c:v>
                </c:pt>
                <c:pt idx="15218" formatCode="0.0%">
                  <c:v>0.15840981793305617</c:v>
                </c:pt>
                <c:pt idx="15219" formatCode="0.0%">
                  <c:v>0.14471657407092581</c:v>
                </c:pt>
                <c:pt idx="15220" formatCode="0.0%">
                  <c:v>0.14480522493393705</c:v>
                </c:pt>
                <c:pt idx="15221" formatCode="0.0%">
                  <c:v>0.14491019671239883</c:v>
                </c:pt>
                <c:pt idx="15222" formatCode="0.0%">
                  <c:v>0.13294530402966287</c:v>
                </c:pt>
                <c:pt idx="15223" formatCode="0.0%">
                  <c:v>0.13283795509512616</c:v>
                </c:pt>
                <c:pt idx="15224" formatCode="0.0%">
                  <c:v>0.13454670416922102</c:v>
                </c:pt>
                <c:pt idx="15225" formatCode="0.0%">
                  <c:v>0.13746054852628886</c:v>
                </c:pt>
                <c:pt idx="15226" formatCode="0.0%">
                  <c:v>0.13983870109129809</c:v>
                </c:pt>
                <c:pt idx="15227" formatCode="0.0%">
                  <c:v>0.12938881991117024</c:v>
                </c:pt>
                <c:pt idx="15228" formatCode="0.0%">
                  <c:v>0.12921676530529269</c:v>
                </c:pt>
                <c:pt idx="15229" formatCode="0.0%">
                  <c:v>0.12110748763180701</c:v>
                </c:pt>
                <c:pt idx="15230" formatCode="0.0%">
                  <c:v>0.11633164090651817</c:v>
                </c:pt>
                <c:pt idx="15231" formatCode="0.0%">
                  <c:v>0.11782681554931178</c:v>
                </c:pt>
                <c:pt idx="15232" formatCode="0.0%">
                  <c:v>0.11427612803854907</c:v>
                </c:pt>
                <c:pt idx="15233" formatCode="0.0%">
                  <c:v>0.11446605585174714</c:v>
                </c:pt>
                <c:pt idx="15234" formatCode="0.0%">
                  <c:v>0.12002613734428909</c:v>
                </c:pt>
                <c:pt idx="15235" formatCode="0.0%">
                  <c:v>0.10918225593426972</c:v>
                </c:pt>
                <c:pt idx="15236" formatCode="0.0%">
                  <c:v>7.7286102470910778E-2</c:v>
                </c:pt>
                <c:pt idx="15237" formatCode="0.0%">
                  <c:v>7.7789729130790006E-2</c:v>
                </c:pt>
                <c:pt idx="15238" formatCode="0.0%">
                  <c:v>7.8854063614648126E-2</c:v>
                </c:pt>
                <c:pt idx="15239" formatCode="0.0%">
                  <c:v>7.8799714298445914E-2</c:v>
                </c:pt>
                <c:pt idx="15240" formatCode="0.0%">
                  <c:v>0.10462951644249167</c:v>
                </c:pt>
                <c:pt idx="15241" formatCode="0.0%">
                  <c:v>0.10399434092337718</c:v>
                </c:pt>
                <c:pt idx="15242" formatCode="0.0%">
                  <c:v>0.10447547015631189</c:v>
                </c:pt>
                <c:pt idx="15243" formatCode="0.0%">
                  <c:v>0.11734288932908726</c:v>
                </c:pt>
                <c:pt idx="15244" formatCode="0.0%">
                  <c:v>0.11631145244046916</c:v>
                </c:pt>
                <c:pt idx="15245" formatCode="0.0%">
                  <c:v>0.11235637495343316</c:v>
                </c:pt>
                <c:pt idx="15246" formatCode="0.0%">
                  <c:v>0.10887048765345081</c:v>
                </c:pt>
                <c:pt idx="15247" formatCode="0.0%">
                  <c:v>0.11362652577234693</c:v>
                </c:pt>
                <c:pt idx="15248" formatCode="0.0%">
                  <c:v>0.11950427888820522</c:v>
                </c:pt>
                <c:pt idx="15249" formatCode="0.0%">
                  <c:v>0.13709606541405184</c:v>
                </c:pt>
                <c:pt idx="15250" formatCode="0.0%">
                  <c:v>0.13709349542373003</c:v>
                </c:pt>
                <c:pt idx="15251" formatCode="0.0%">
                  <c:v>0.13810864426840352</c:v>
                </c:pt>
                <c:pt idx="15252" formatCode="0.0%">
                  <c:v>0.13721705197410083</c:v>
                </c:pt>
                <c:pt idx="15253" formatCode="0.0%">
                  <c:v>0.13889574285805001</c:v>
                </c:pt>
                <c:pt idx="15254" formatCode="0.0%">
                  <c:v>0.14509912336161043</c:v>
                </c:pt>
                <c:pt idx="15255" formatCode="0.0%">
                  <c:v>0.14508139661300726</c:v>
                </c:pt>
                <c:pt idx="15256" formatCode="0.0%">
                  <c:v>0.14460394395554541</c:v>
                </c:pt>
                <c:pt idx="15257" formatCode="0.0%">
                  <c:v>0.14382795829271042</c:v>
                </c:pt>
                <c:pt idx="15258" formatCode="0.0%">
                  <c:v>0.14346303187699461</c:v>
                </c:pt>
                <c:pt idx="15259" formatCode="0.0%">
                  <c:v>0.14346921230470308</c:v>
                </c:pt>
                <c:pt idx="15260" formatCode="0.0%">
                  <c:v>0.12941334381569841</c:v>
                </c:pt>
                <c:pt idx="15261" formatCode="0.0%">
                  <c:v>0.13266704073839122</c:v>
                </c:pt>
                <c:pt idx="15262" formatCode="0.0%">
                  <c:v>0.13394244454456095</c:v>
                </c:pt>
                <c:pt idx="15263" formatCode="0.0%">
                  <c:v>0.12597798834262827</c:v>
                </c:pt>
                <c:pt idx="15264" formatCode="0.0%">
                  <c:v>0.12492442181373058</c:v>
                </c:pt>
                <c:pt idx="15265" formatCode="0.0%">
                  <c:v>0.14532210006401866</c:v>
                </c:pt>
                <c:pt idx="15266" formatCode="0.0%">
                  <c:v>0.14429544784268242</c:v>
                </c:pt>
                <c:pt idx="15267" formatCode="0.0%">
                  <c:v>0.13775288014189641</c:v>
                </c:pt>
                <c:pt idx="15268" formatCode="0.0%">
                  <c:v>0.14600274488929518</c:v>
                </c:pt>
                <c:pt idx="15269" formatCode="0.0%">
                  <c:v>0.11886752778522226</c:v>
                </c:pt>
                <c:pt idx="15270" formatCode="0.0%">
                  <c:v>0.12269688933849444</c:v>
                </c:pt>
                <c:pt idx="15271" formatCode="0.0%">
                  <c:v>0.12274776641633019</c:v>
                </c:pt>
                <c:pt idx="15272" formatCode="0.0%">
                  <c:v>0.12450488895712174</c:v>
                </c:pt>
                <c:pt idx="15273" formatCode="0.0%">
                  <c:v>0.12886127452432733</c:v>
                </c:pt>
                <c:pt idx="15274" formatCode="0.0%">
                  <c:v>0.12150898651353546</c:v>
                </c:pt>
                <c:pt idx="15275" formatCode="0.0%">
                  <c:v>0.12206741540420762</c:v>
                </c:pt>
                <c:pt idx="15276" formatCode="0.0%">
                  <c:v>0.12689872371297137</c:v>
                </c:pt>
                <c:pt idx="15277" formatCode="0.0%">
                  <c:v>0.13347219903794827</c:v>
                </c:pt>
                <c:pt idx="15278" formatCode="0.0%">
                  <c:v>0.13397092840462055</c:v>
                </c:pt>
                <c:pt idx="15279" formatCode="0.0%">
                  <c:v>0.13389138784479052</c:v>
                </c:pt>
                <c:pt idx="15280" formatCode="0.0%">
                  <c:v>0.13667205729774576</c:v>
                </c:pt>
                <c:pt idx="15281" formatCode="0.0%">
                  <c:v>0.13717189655710771</c:v>
                </c:pt>
                <c:pt idx="15282" formatCode="0.0%">
                  <c:v>0.13654369215445941</c:v>
                </c:pt>
                <c:pt idx="15283" formatCode="0.0%">
                  <c:v>0.13588410861567651</c:v>
                </c:pt>
                <c:pt idx="15284" formatCode="0.0%">
                  <c:v>0.13591417001417805</c:v>
                </c:pt>
                <c:pt idx="15285" formatCode="0.0%">
                  <c:v>0.10923185516377944</c:v>
                </c:pt>
                <c:pt idx="15286" formatCode="0.0%">
                  <c:v>0.10923552499908898</c:v>
                </c:pt>
                <c:pt idx="15287" formatCode="0.0%">
                  <c:v>0.1107301130981074</c:v>
                </c:pt>
                <c:pt idx="15288" formatCode="0.0%">
                  <c:v>8.9740889303038945E-2</c:v>
                </c:pt>
                <c:pt idx="15289" formatCode="0.0%">
                  <c:v>9.1695608443287946E-2</c:v>
                </c:pt>
                <c:pt idx="15290" formatCode="0.0%">
                  <c:v>9.3758049930399739E-2</c:v>
                </c:pt>
                <c:pt idx="15291" formatCode="0.0%">
                  <c:v>9.6844237275602735E-2</c:v>
                </c:pt>
                <c:pt idx="15292" formatCode="0.0%">
                  <c:v>9.6996062151982712E-2</c:v>
                </c:pt>
                <c:pt idx="15293" formatCode="0.0%">
                  <c:v>9.6102978503851494E-2</c:v>
                </c:pt>
                <c:pt idx="15294" formatCode="0.0%">
                  <c:v>9.149138291304873E-2</c:v>
                </c:pt>
                <c:pt idx="15295" formatCode="0.0%">
                  <c:v>9.2750681471267776E-2</c:v>
                </c:pt>
                <c:pt idx="15296" formatCode="0.0%">
                  <c:v>8.9085374847013662E-2</c:v>
                </c:pt>
                <c:pt idx="15297" formatCode="0.0%">
                  <c:v>8.6721015378149441E-2</c:v>
                </c:pt>
                <c:pt idx="15298" formatCode="0.0%">
                  <c:v>8.8230614107520935E-2</c:v>
                </c:pt>
                <c:pt idx="15299" formatCode="0.0%">
                  <c:v>9.4023824482739923E-2</c:v>
                </c:pt>
                <c:pt idx="15300" formatCode="0.0%">
                  <c:v>9.9864849091001531E-2</c:v>
                </c:pt>
                <c:pt idx="15301" formatCode="0.0%">
                  <c:v>9.4473259361170306E-2</c:v>
                </c:pt>
                <c:pt idx="15302" formatCode="0.0%">
                  <c:v>9.4571529781192376E-2</c:v>
                </c:pt>
                <c:pt idx="15303" formatCode="0.0%">
                  <c:v>9.1810548147643042E-2</c:v>
                </c:pt>
                <c:pt idx="15304" formatCode="0.0%">
                  <c:v>9.2321728839648481E-2</c:v>
                </c:pt>
                <c:pt idx="15305" formatCode="0.0%">
                  <c:v>9.3613263811753819E-2</c:v>
                </c:pt>
                <c:pt idx="15306" formatCode="0.0%">
                  <c:v>9.400392493758572E-2</c:v>
                </c:pt>
                <c:pt idx="15307" formatCode="0.0%">
                  <c:v>9.2305816975787741E-2</c:v>
                </c:pt>
                <c:pt idx="15308" formatCode="0.0%">
                  <c:v>9.0224970025694559E-2</c:v>
                </c:pt>
                <c:pt idx="15309" formatCode="0.0%">
                  <c:v>8.8723125801718761E-2</c:v>
                </c:pt>
                <c:pt idx="15310" formatCode="0.0%">
                  <c:v>9.0024278796537155E-2</c:v>
                </c:pt>
                <c:pt idx="15311" formatCode="0.0%">
                  <c:v>8.6672723703247329E-2</c:v>
                </c:pt>
                <c:pt idx="15312" formatCode="0.0%">
                  <c:v>8.688858058960669E-2</c:v>
                </c:pt>
                <c:pt idx="15313" formatCode="0.0%">
                  <c:v>9.2011578828714011E-2</c:v>
                </c:pt>
                <c:pt idx="15314" formatCode="0.0%">
                  <c:v>0.10209562242129396</c:v>
                </c:pt>
                <c:pt idx="15315" formatCode="0.0%">
                  <c:v>9.9909122564395297E-2</c:v>
                </c:pt>
                <c:pt idx="15316" formatCode="0.0%">
                  <c:v>0.10245902224024676</c:v>
                </c:pt>
                <c:pt idx="15317" formatCode="0.0%">
                  <c:v>0.10173245196381846</c:v>
                </c:pt>
                <c:pt idx="15318" formatCode="0.0%">
                  <c:v>9.6655939743382865E-2</c:v>
                </c:pt>
                <c:pt idx="15319" formatCode="0.0%">
                  <c:v>8.7770058356496441E-2</c:v>
                </c:pt>
                <c:pt idx="15320" formatCode="0.0%">
                  <c:v>7.9263256040717614E-2</c:v>
                </c:pt>
                <c:pt idx="15321" formatCode="0.0%">
                  <c:v>8.0413718979994109E-2</c:v>
                </c:pt>
                <c:pt idx="15322" formatCode="0.0%">
                  <c:v>8.0878425420247105E-2</c:v>
                </c:pt>
                <c:pt idx="15323" formatCode="0.0%">
                  <c:v>8.343384722336554E-2</c:v>
                </c:pt>
                <c:pt idx="15324" formatCode="0.0%">
                  <c:v>8.7814367113327324E-2</c:v>
                </c:pt>
                <c:pt idx="15325" formatCode="0.0%">
                  <c:v>9.0291209519321097E-2</c:v>
                </c:pt>
                <c:pt idx="15326" formatCode="0.0%">
                  <c:v>9.899885514478482E-2</c:v>
                </c:pt>
                <c:pt idx="15327" formatCode="0.0%">
                  <c:v>0.11404619856715885</c:v>
                </c:pt>
                <c:pt idx="15328" formatCode="0.0%">
                  <c:v>0.11403934796484576</c:v>
                </c:pt>
                <c:pt idx="15329" formatCode="0.0%">
                  <c:v>0.11422159448881232</c:v>
                </c:pt>
                <c:pt idx="15330" formatCode="0.0%">
                  <c:v>0.11219733876899793</c:v>
                </c:pt>
                <c:pt idx="15331" formatCode="0.0%">
                  <c:v>0.11221785399663931</c:v>
                </c:pt>
                <c:pt idx="15332" formatCode="0.0%">
                  <c:v>0.11334958019617163</c:v>
                </c:pt>
                <c:pt idx="15333" formatCode="0.0%">
                  <c:v>0.10938135041571714</c:v>
                </c:pt>
                <c:pt idx="15334" formatCode="0.0%">
                  <c:v>0.11976052164900973</c:v>
                </c:pt>
                <c:pt idx="15335" formatCode="0.0%">
                  <c:v>0.12024166486575016</c:v>
                </c:pt>
                <c:pt idx="15336" formatCode="0.0%">
                  <c:v>0.13101856694079192</c:v>
                </c:pt>
                <c:pt idx="15337" formatCode="0.0%">
                  <c:v>0.12815036868583687</c:v>
                </c:pt>
                <c:pt idx="15338" formatCode="0.0%">
                  <c:v>0.12796659620303757</c:v>
                </c:pt>
                <c:pt idx="15339" formatCode="0.0%">
                  <c:v>0.1240755714337369</c:v>
                </c:pt>
                <c:pt idx="15340" formatCode="0.0%">
                  <c:v>0.13076292370728371</c:v>
                </c:pt>
                <c:pt idx="15341" formatCode="0.0%">
                  <c:v>0.13218878382286481</c:v>
                </c:pt>
                <c:pt idx="15342" formatCode="0.0%">
                  <c:v>0.14041954642820473</c:v>
                </c:pt>
                <c:pt idx="15343" formatCode="0.0%">
                  <c:v>0.14043462502776066</c:v>
                </c:pt>
                <c:pt idx="15344" formatCode="0.0%">
                  <c:v>0.1326863753101426</c:v>
                </c:pt>
                <c:pt idx="15345" formatCode="0.0%">
                  <c:v>0.13240200970984453</c:v>
                </c:pt>
                <c:pt idx="15346" formatCode="0.0%">
                  <c:v>0.12955645181693531</c:v>
                </c:pt>
                <c:pt idx="15347" formatCode="0.0%">
                  <c:v>0.12323777220769201</c:v>
                </c:pt>
                <c:pt idx="15348" formatCode="0.0%">
                  <c:v>0.1232165423932637</c:v>
                </c:pt>
                <c:pt idx="15349" formatCode="0.0%">
                  <c:v>0.1237946073696793</c:v>
                </c:pt>
                <c:pt idx="15350" formatCode="0.0%">
                  <c:v>0.1246433092471177</c:v>
                </c:pt>
                <c:pt idx="15351" formatCode="0.0%">
                  <c:v>0.15016655793160297</c:v>
                </c:pt>
                <c:pt idx="15352" formatCode="0.0%">
                  <c:v>0.15115141230538789</c:v>
                </c:pt>
                <c:pt idx="15353" formatCode="0.0%">
                  <c:v>0.15251682581839249</c:v>
                </c:pt>
                <c:pt idx="15354" formatCode="0.0%">
                  <c:v>0.13991946212750217</c:v>
                </c:pt>
                <c:pt idx="15355" formatCode="0.0%">
                  <c:v>0.14022178993263665</c:v>
                </c:pt>
                <c:pt idx="15356" formatCode="0.0%">
                  <c:v>0.12733007817079336</c:v>
                </c:pt>
                <c:pt idx="15357" formatCode="0.0%">
                  <c:v>0.12759763556830306</c:v>
                </c:pt>
                <c:pt idx="15358" formatCode="0.0%">
                  <c:v>0.1273386637093443</c:v>
                </c:pt>
                <c:pt idx="15359" formatCode="0.0%">
                  <c:v>0.12487755691707582</c:v>
                </c:pt>
                <c:pt idx="15360" formatCode="0.0%">
                  <c:v>0.1232959969316744</c:v>
                </c:pt>
                <c:pt idx="15361" formatCode="0.0%">
                  <c:v>0.12366905662424615</c:v>
                </c:pt>
                <c:pt idx="15362" formatCode="0.0%">
                  <c:v>0.11679715909978568</c:v>
                </c:pt>
                <c:pt idx="15363" formatCode="0.0%">
                  <c:v>0.11660424151943927</c:v>
                </c:pt>
                <c:pt idx="15364" formatCode="0.0%">
                  <c:v>0.11729545442051197</c:v>
                </c:pt>
                <c:pt idx="15365" formatCode="0.0%">
                  <c:v>0.11922791506371076</c:v>
                </c:pt>
                <c:pt idx="15366" formatCode="0.0%">
                  <c:v>0.11827367820473657</c:v>
                </c:pt>
                <c:pt idx="15367" formatCode="0.0%">
                  <c:v>0.11585032108923622</c:v>
                </c:pt>
                <c:pt idx="15368" formatCode="0.0%">
                  <c:v>0.11583491505138639</c:v>
                </c:pt>
                <c:pt idx="15369" formatCode="0.0%">
                  <c:v>0.11907107183998067</c:v>
                </c:pt>
                <c:pt idx="15370" formatCode="0.0%">
                  <c:v>0.12906859806428347</c:v>
                </c:pt>
                <c:pt idx="15371" formatCode="0.0%">
                  <c:v>9.5904542237489065E-2</c:v>
                </c:pt>
                <c:pt idx="15372" formatCode="0.0%">
                  <c:v>9.6590007727496541E-2</c:v>
                </c:pt>
                <c:pt idx="15373" formatCode="0.0%">
                  <c:v>9.6334237396197855E-2</c:v>
                </c:pt>
                <c:pt idx="15374" formatCode="0.0%">
                  <c:v>9.6522903462147577E-2</c:v>
                </c:pt>
                <c:pt idx="15375" formatCode="0.0%">
                  <c:v>9.6316732702608529E-2</c:v>
                </c:pt>
                <c:pt idx="15376" formatCode="0.0%">
                  <c:v>9.8597934273781163E-2</c:v>
                </c:pt>
                <c:pt idx="15377" formatCode="0.0%">
                  <c:v>0.10396644763296993</c:v>
                </c:pt>
                <c:pt idx="15378" formatCode="0.0%">
                  <c:v>0.10419487501298631</c:v>
                </c:pt>
                <c:pt idx="15379" formatCode="0.0%">
                  <c:v>0.10617113363967931</c:v>
                </c:pt>
                <c:pt idx="15380" formatCode="0.0%">
                  <c:v>0.10473872321485245</c:v>
                </c:pt>
                <c:pt idx="15381" formatCode="0.0%">
                  <c:v>0.10520664244027064</c:v>
                </c:pt>
                <c:pt idx="15382" formatCode="0.0%">
                  <c:v>0.10491876428097281</c:v>
                </c:pt>
                <c:pt idx="15383" formatCode="0.0%">
                  <c:v>0.1050751813485175</c:v>
                </c:pt>
                <c:pt idx="15384" formatCode="0.0%">
                  <c:v>0.10402364007065636</c:v>
                </c:pt>
                <c:pt idx="15385" formatCode="0.0%">
                  <c:v>0.10315099186555507</c:v>
                </c:pt>
                <c:pt idx="15386" formatCode="0.0%">
                  <c:v>0.10592789625008019</c:v>
                </c:pt>
                <c:pt idx="15387" formatCode="0.0%">
                  <c:v>0.1062014522409858</c:v>
                </c:pt>
                <c:pt idx="15388" formatCode="0.0%">
                  <c:v>0.10623038658537166</c:v>
                </c:pt>
                <c:pt idx="15389" formatCode="0.0%">
                  <c:v>9.9964843003488513E-2</c:v>
                </c:pt>
                <c:pt idx="15390" formatCode="0.0%">
                  <c:v>0.1122276956044754</c:v>
                </c:pt>
                <c:pt idx="15391" formatCode="0.0%">
                  <c:v>0.11374631657585101</c:v>
                </c:pt>
                <c:pt idx="15392" formatCode="0.0%">
                  <c:v>0.10604374173632188</c:v>
                </c:pt>
                <c:pt idx="15393" formatCode="0.0%">
                  <c:v>0.10756454165664983</c:v>
                </c:pt>
                <c:pt idx="15394" formatCode="0.0%">
                  <c:v>0.10607650812927656</c:v>
                </c:pt>
                <c:pt idx="15395" formatCode="0.0%">
                  <c:v>0.10510763366490512</c:v>
                </c:pt>
                <c:pt idx="15396" formatCode="0.0%">
                  <c:v>0.1035559268761201</c:v>
                </c:pt>
                <c:pt idx="15397" formatCode="0.0%">
                  <c:v>0.11045072883705426</c:v>
                </c:pt>
                <c:pt idx="15398" formatCode="0.0%">
                  <c:v>0.1103741010242159</c:v>
                </c:pt>
                <c:pt idx="15399" formatCode="0.0%">
                  <c:v>0.10767696455865008</c:v>
                </c:pt>
                <c:pt idx="15400" formatCode="0.0%">
                  <c:v>0.10962145543649189</c:v>
                </c:pt>
                <c:pt idx="15401" formatCode="0.0%">
                  <c:v>0.1144609550767957</c:v>
                </c:pt>
                <c:pt idx="15402" formatCode="0.0%">
                  <c:v>0.11345896686446891</c:v>
                </c:pt>
                <c:pt idx="15403" formatCode="0.0%">
                  <c:v>0.11358157984489732</c:v>
                </c:pt>
                <c:pt idx="15404" formatCode="0.0%">
                  <c:v>0.11689252802055633</c:v>
                </c:pt>
                <c:pt idx="15405" formatCode="0.0%">
                  <c:v>0.12607337091618526</c:v>
                </c:pt>
                <c:pt idx="15406" formatCode="0.0%">
                  <c:v>0.12376733020283902</c:v>
                </c:pt>
                <c:pt idx="15407" formatCode="0.0%">
                  <c:v>0.123375180379535</c:v>
                </c:pt>
                <c:pt idx="15408" formatCode="0.0%">
                  <c:v>0.12412614860449984</c:v>
                </c:pt>
                <c:pt idx="15409" formatCode="0.0%">
                  <c:v>0.12472621878064655</c:v>
                </c:pt>
                <c:pt idx="15410" formatCode="0.0%">
                  <c:v>0.10308486859514564</c:v>
                </c:pt>
                <c:pt idx="15411" formatCode="0.0%">
                  <c:v>0.10580769132710173</c:v>
                </c:pt>
                <c:pt idx="15412" formatCode="0.0%">
                  <c:v>0.10491503204323588</c:v>
                </c:pt>
                <c:pt idx="15413" formatCode="0.0%">
                  <c:v>0.11223158474441475</c:v>
                </c:pt>
                <c:pt idx="15414" formatCode="0.0%">
                  <c:v>0.11288193382856425</c:v>
                </c:pt>
                <c:pt idx="15415" formatCode="0.0%">
                  <c:v>0.10706413631656288</c:v>
                </c:pt>
                <c:pt idx="15416" formatCode="0.0%">
                  <c:v>0.10697822065713752</c:v>
                </c:pt>
                <c:pt idx="15417" formatCode="0.0%">
                  <c:v>9.8794519620228949E-2</c:v>
                </c:pt>
                <c:pt idx="15418" formatCode="0.0%">
                  <c:v>0.1003613976784407</c:v>
                </c:pt>
                <c:pt idx="15419" formatCode="0.0%">
                  <c:v>0.11700841436380563</c:v>
                </c:pt>
                <c:pt idx="15420" formatCode="0.0%">
                  <c:v>0.11624235924827216</c:v>
                </c:pt>
                <c:pt idx="15421" formatCode="0.0%">
                  <c:v>0.11268292580726433</c:v>
                </c:pt>
                <c:pt idx="15422" formatCode="0.0%">
                  <c:v>0.11685349194870337</c:v>
                </c:pt>
                <c:pt idx="15423" formatCode="0.0%">
                  <c:v>0.13532687298940299</c:v>
                </c:pt>
                <c:pt idx="15424" formatCode="0.0%">
                  <c:v>0.12948052734700199</c:v>
                </c:pt>
                <c:pt idx="15425" formatCode="0.0%">
                  <c:v>0.12546691833924331</c:v>
                </c:pt>
                <c:pt idx="15426" formatCode="0.0%">
                  <c:v>0.12388329985650644</c:v>
                </c:pt>
                <c:pt idx="15427" formatCode="0.0%">
                  <c:v>0.12013951110534052</c:v>
                </c:pt>
                <c:pt idx="15428" formatCode="0.0%">
                  <c:v>0.12658804658966177</c:v>
                </c:pt>
                <c:pt idx="15429" formatCode="0.0%">
                  <c:v>0.12894433392896698</c:v>
                </c:pt>
                <c:pt idx="15430" formatCode="0.0%">
                  <c:v>0.13008883463743315</c:v>
                </c:pt>
                <c:pt idx="15431" formatCode="0.0%">
                  <c:v>0.12726069055858696</c:v>
                </c:pt>
                <c:pt idx="15432" formatCode="0.0%">
                  <c:v>0.12720255328408103</c:v>
                </c:pt>
                <c:pt idx="15433" formatCode="0.0%">
                  <c:v>0.11909188119575108</c:v>
                </c:pt>
                <c:pt idx="15434" formatCode="0.0%">
                  <c:v>0.11881986480524136</c:v>
                </c:pt>
                <c:pt idx="15435" formatCode="0.0%">
                  <c:v>0.12012839598057269</c:v>
                </c:pt>
                <c:pt idx="15436" formatCode="0.0%">
                  <c:v>0.12622569858202901</c:v>
                </c:pt>
                <c:pt idx="15437" formatCode="0.0%">
                  <c:v>0.12913580411367218</c:v>
                </c:pt>
                <c:pt idx="15438" formatCode="0.0%">
                  <c:v>0.12977467727765651</c:v>
                </c:pt>
                <c:pt idx="15439" formatCode="0.0%">
                  <c:v>0.11965456107131942</c:v>
                </c:pt>
                <c:pt idx="15440" formatCode="0.0%">
                  <c:v>0.11811983950025724</c:v>
                </c:pt>
                <c:pt idx="15441" formatCode="0.0%">
                  <c:v>0.12388609852404067</c:v>
                </c:pt>
                <c:pt idx="15442" formatCode="0.0%">
                  <c:v>0.12355213219742647</c:v>
                </c:pt>
                <c:pt idx="15443" formatCode="0.0%">
                  <c:v>9.4767543754723516E-2</c:v>
                </c:pt>
                <c:pt idx="15444" formatCode="0.0%">
                  <c:v>9.2942508125751014E-2</c:v>
                </c:pt>
                <c:pt idx="15445" formatCode="0.0%">
                  <c:v>0.10081246745758049</c:v>
                </c:pt>
                <c:pt idx="15446" formatCode="0.0%">
                  <c:v>0.10101480050166262</c:v>
                </c:pt>
                <c:pt idx="15447" formatCode="0.0%">
                  <c:v>0.10134951109581361</c:v>
                </c:pt>
                <c:pt idx="15448" formatCode="0.0%">
                  <c:v>9.992767328345574E-2</c:v>
                </c:pt>
                <c:pt idx="15449" formatCode="0.0%">
                  <c:v>0.10944789986661438</c:v>
                </c:pt>
                <c:pt idx="15450" formatCode="0.0%">
                  <c:v>0.10986972266069404</c:v>
                </c:pt>
                <c:pt idx="15451" formatCode="0.0%">
                  <c:v>0.11540845001905202</c:v>
                </c:pt>
                <c:pt idx="15452" formatCode="0.0%">
                  <c:v>0.11520888342224465</c:v>
                </c:pt>
                <c:pt idx="15453" formatCode="0.0%">
                  <c:v>0.12316324777623748</c:v>
                </c:pt>
                <c:pt idx="15454" formatCode="0.0%">
                  <c:v>0.12550381983767395</c:v>
                </c:pt>
                <c:pt idx="15455" formatCode="0.0%">
                  <c:v>0.12463181344733128</c:v>
                </c:pt>
                <c:pt idx="15456" formatCode="0.0%">
                  <c:v>0.1175544319078379</c:v>
                </c:pt>
                <c:pt idx="15457" formatCode="0.0%">
                  <c:v>0.11519961246677972</c:v>
                </c:pt>
                <c:pt idx="15458" formatCode="0.0%">
                  <c:v>0.11392047835854328</c:v>
                </c:pt>
                <c:pt idx="15459" formatCode="0.0%">
                  <c:v>0.12617981056655528</c:v>
                </c:pt>
                <c:pt idx="15460" formatCode="0.0%">
                  <c:v>0.12618138465276335</c:v>
                </c:pt>
                <c:pt idx="15461" formatCode="0.0%">
                  <c:v>0.12380293925128844</c:v>
                </c:pt>
                <c:pt idx="15462" formatCode="0.0%">
                  <c:v>0.13560253382014803</c:v>
                </c:pt>
                <c:pt idx="15463" formatCode="0.0%">
                  <c:v>0.13640526350578275</c:v>
                </c:pt>
                <c:pt idx="15464" formatCode="0.0%">
                  <c:v>0.13165154791237688</c:v>
                </c:pt>
                <c:pt idx="15465" formatCode="0.0%">
                  <c:v>0.13139271967618246</c:v>
                </c:pt>
                <c:pt idx="15466" formatCode="0.0%">
                  <c:v>0.13146033102912952</c:v>
                </c:pt>
                <c:pt idx="15467" formatCode="0.0%">
                  <c:v>0.13154872905469264</c:v>
                </c:pt>
                <c:pt idx="15468" formatCode="0.0%">
                  <c:v>0.1323114390219905</c:v>
                </c:pt>
                <c:pt idx="15469" formatCode="0.0%">
                  <c:v>0.12164098918317913</c:v>
                </c:pt>
                <c:pt idx="15470" formatCode="0.0%">
                  <c:v>0.12663646895967451</c:v>
                </c:pt>
                <c:pt idx="15471" formatCode="0.0%">
                  <c:v>0.12440552961978163</c:v>
                </c:pt>
                <c:pt idx="15472" formatCode="0.0%">
                  <c:v>0.1237586051858105</c:v>
                </c:pt>
                <c:pt idx="15473" formatCode="0.0%">
                  <c:v>0.11849785425453051</c:v>
                </c:pt>
                <c:pt idx="15474" formatCode="0.0%">
                  <c:v>0.11710847003944026</c:v>
                </c:pt>
                <c:pt idx="15475" formatCode="0.0%">
                  <c:v>0.12140040188306241</c:v>
                </c:pt>
                <c:pt idx="15476" formatCode="0.0%">
                  <c:v>0.12327867430166715</c:v>
                </c:pt>
                <c:pt idx="15477" formatCode="0.0%">
                  <c:v>0.12438551387391807</c:v>
                </c:pt>
                <c:pt idx="15478" formatCode="0.0%">
                  <c:v>0.12450902899499512</c:v>
                </c:pt>
                <c:pt idx="15479" formatCode="0.0%">
                  <c:v>0.10991913003422436</c:v>
                </c:pt>
                <c:pt idx="15480" formatCode="0.0%">
                  <c:v>0.10995399354203615</c:v>
                </c:pt>
                <c:pt idx="15481" formatCode="0.0%">
                  <c:v>0.10448438040060737</c:v>
                </c:pt>
                <c:pt idx="15482" formatCode="0.0%">
                  <c:v>7.6969646518392679E-2</c:v>
                </c:pt>
                <c:pt idx="15483" formatCode="0.0%">
                  <c:v>8.1183344519884224E-2</c:v>
                </c:pt>
                <c:pt idx="15484" formatCode="0.0%">
                  <c:v>7.8835407394471133E-2</c:v>
                </c:pt>
                <c:pt idx="15485" formatCode="0.0%">
                  <c:v>7.708470345541156E-2</c:v>
                </c:pt>
                <c:pt idx="15486" formatCode="0.0%">
                  <c:v>8.5570230013111759E-2</c:v>
                </c:pt>
                <c:pt idx="15487" formatCode="0.0%">
                  <c:v>8.53261911420896E-2</c:v>
                </c:pt>
                <c:pt idx="15488" formatCode="0.0%">
                  <c:v>8.3851858199959925E-2</c:v>
                </c:pt>
                <c:pt idx="15489" formatCode="0.0%">
                  <c:v>9.2065942590877234E-2</c:v>
                </c:pt>
                <c:pt idx="15490" formatCode="0.0%">
                  <c:v>8.6711487909872181E-2</c:v>
                </c:pt>
                <c:pt idx="15491" formatCode="0.0%">
                  <c:v>8.5742506922559525E-2</c:v>
                </c:pt>
                <c:pt idx="15492" formatCode="0.0%">
                  <c:v>8.681513842695783E-2</c:v>
                </c:pt>
                <c:pt idx="15493" formatCode="0.0%">
                  <c:v>8.5218627322655421E-2</c:v>
                </c:pt>
                <c:pt idx="15494" formatCode="0.0%">
                  <c:v>8.5995240555455432E-2</c:v>
                </c:pt>
                <c:pt idx="15495" formatCode="0.0%">
                  <c:v>8.1082584533558377E-2</c:v>
                </c:pt>
                <c:pt idx="15496" formatCode="0.0%">
                  <c:v>7.8432864476660424E-2</c:v>
                </c:pt>
                <c:pt idx="15497" formatCode="0.0%">
                  <c:v>0.24249754991712591</c:v>
                </c:pt>
                <c:pt idx="15498" formatCode="0.0%">
                  <c:v>0.26276170757256384</c:v>
                </c:pt>
                <c:pt idx="15499" formatCode="0.0%">
                  <c:v>0.26322049069616699</c:v>
                </c:pt>
                <c:pt idx="15500" formatCode="0.0%">
                  <c:v>0.26337042911705899</c:v>
                </c:pt>
                <c:pt idx="15501" formatCode="0.0%">
                  <c:v>0.26950901307288266</c:v>
                </c:pt>
                <c:pt idx="15502" formatCode="0.0%">
                  <c:v>0.26915602434294628</c:v>
                </c:pt>
                <c:pt idx="15503" formatCode="0.0%">
                  <c:v>0.2686291530674802</c:v>
                </c:pt>
                <c:pt idx="15504" formatCode="0.0%">
                  <c:v>0.26889251700287997</c:v>
                </c:pt>
                <c:pt idx="15505" formatCode="0.0%">
                  <c:v>0.26900473782898265</c:v>
                </c:pt>
                <c:pt idx="15506" formatCode="0.0%">
                  <c:v>0.26982090982074136</c:v>
                </c:pt>
                <c:pt idx="15507" formatCode="0.0%">
                  <c:v>0.27064889419570354</c:v>
                </c:pt>
                <c:pt idx="15508" formatCode="0.0%">
                  <c:v>0.26953270053670197</c:v>
                </c:pt>
                <c:pt idx="15509" formatCode="0.0%">
                  <c:v>0.27314438885554865</c:v>
                </c:pt>
                <c:pt idx="15510" formatCode="0.0%">
                  <c:v>0.27193686885019186</c:v>
                </c:pt>
                <c:pt idx="15511" formatCode="0.0%">
                  <c:v>0.27252900822745157</c:v>
                </c:pt>
                <c:pt idx="15512" formatCode="0.0%">
                  <c:v>0.27100566706014689</c:v>
                </c:pt>
                <c:pt idx="15513" formatCode="0.0%">
                  <c:v>0.27323534602712696</c:v>
                </c:pt>
                <c:pt idx="15514" formatCode="0.0%">
                  <c:v>0.27572054629776999</c:v>
                </c:pt>
                <c:pt idx="15515" formatCode="0.0%">
                  <c:v>0.27958222848667041</c:v>
                </c:pt>
                <c:pt idx="15516" formatCode="0.0%">
                  <c:v>0.2795992292377385</c:v>
                </c:pt>
                <c:pt idx="15517" formatCode="0.0%">
                  <c:v>0.16645860012885966</c:v>
                </c:pt>
                <c:pt idx="15518" formatCode="0.0%">
                  <c:v>0.13404413537035795</c:v>
                </c:pt>
                <c:pt idx="15519" formatCode="0.0%">
                  <c:v>0.13390093135782982</c:v>
                </c:pt>
                <c:pt idx="15520" formatCode="0.0%">
                  <c:v>0.13670082302065284</c:v>
                </c:pt>
                <c:pt idx="15521" formatCode="0.0%">
                  <c:v>0.12341513685499463</c:v>
                </c:pt>
                <c:pt idx="15522" formatCode="0.0%">
                  <c:v>0.12417947368324972</c:v>
                </c:pt>
                <c:pt idx="15523" formatCode="0.0%">
                  <c:v>0.12411881911283812</c:v>
                </c:pt>
                <c:pt idx="15524" formatCode="0.0%">
                  <c:v>0.12386856826582313</c:v>
                </c:pt>
                <c:pt idx="15525" formatCode="0.0%">
                  <c:v>0.12605558982757006</c:v>
                </c:pt>
                <c:pt idx="15526" formatCode="0.0%">
                  <c:v>0.11734219579854392</c:v>
                </c:pt>
                <c:pt idx="15527" formatCode="0.0%">
                  <c:v>0.11258416723794094</c:v>
                </c:pt>
                <c:pt idx="15528" formatCode="0.0%">
                  <c:v>0.11251709217325827</c:v>
                </c:pt>
                <c:pt idx="15529" formatCode="0.0%">
                  <c:v>0.10260164902118812</c:v>
                </c:pt>
                <c:pt idx="15530" formatCode="0.0%">
                  <c:v>0.1049496254959411</c:v>
                </c:pt>
                <c:pt idx="15531" formatCode="0.0%">
                  <c:v>0.10873196861231334</c:v>
                </c:pt>
                <c:pt idx="15532" formatCode="0.0%">
                  <c:v>0.10753741571350589</c:v>
                </c:pt>
                <c:pt idx="15533" formatCode="0.0%">
                  <c:v>9.1553341339171493E-2</c:v>
                </c:pt>
                <c:pt idx="15534" formatCode="0.0%">
                  <c:v>9.2143972694281456E-2</c:v>
                </c:pt>
                <c:pt idx="15535" formatCode="0.0%">
                  <c:v>8.8625422041602495E-2</c:v>
                </c:pt>
                <c:pt idx="15536" formatCode="0.0%">
                  <c:v>8.5841375419968446E-2</c:v>
                </c:pt>
                <c:pt idx="15537" formatCode="0.0%">
                  <c:v>8.3394466950949209E-2</c:v>
                </c:pt>
                <c:pt idx="15538" formatCode="0.0%">
                  <c:v>8.7731570486864294E-2</c:v>
                </c:pt>
                <c:pt idx="15539" formatCode="0.0%">
                  <c:v>8.449193520834497E-2</c:v>
                </c:pt>
                <c:pt idx="15540" formatCode="0.0%">
                  <c:v>8.5773359436590133E-2</c:v>
                </c:pt>
                <c:pt idx="15541" formatCode="0.0%">
                  <c:v>8.6820211689053059E-2</c:v>
                </c:pt>
                <c:pt idx="15542" formatCode="0.0%">
                  <c:v>0.11119929168831737</c:v>
                </c:pt>
                <c:pt idx="15543" formatCode="0.0%">
                  <c:v>0.10918170764718112</c:v>
                </c:pt>
                <c:pt idx="15544" formatCode="0.0%">
                  <c:v>0.10920328151204964</c:v>
                </c:pt>
                <c:pt idx="15545" formatCode="0.0%">
                  <c:v>0.10838195971345292</c:v>
                </c:pt>
                <c:pt idx="15546" formatCode="0.0%">
                  <c:v>0.10963610639107389</c:v>
                </c:pt>
                <c:pt idx="15547" formatCode="0.0%">
                  <c:v>0.10871543683282132</c:v>
                </c:pt>
                <c:pt idx="15548" formatCode="0.0%">
                  <c:v>0.11050752908621324</c:v>
                </c:pt>
                <c:pt idx="15549" formatCode="0.0%">
                  <c:v>0.10879833470236118</c:v>
                </c:pt>
                <c:pt idx="15550" formatCode="0.0%">
                  <c:v>0.10942921825130848</c:v>
                </c:pt>
                <c:pt idx="15551" formatCode="0.0%">
                  <c:v>0.11668420680904094</c:v>
                </c:pt>
                <c:pt idx="15552" formatCode="0.0%">
                  <c:v>0.11741398663886739</c:v>
                </c:pt>
                <c:pt idx="15553" formatCode="0.0%">
                  <c:v>0.12042955914847978</c:v>
                </c:pt>
                <c:pt idx="15554" formatCode="0.0%">
                  <c:v>0.12565233137375861</c:v>
                </c:pt>
                <c:pt idx="15555" formatCode="0.0%">
                  <c:v>0.12578311160036584</c:v>
                </c:pt>
                <c:pt idx="15556" formatCode="0.0%">
                  <c:v>0.13325203862301943</c:v>
                </c:pt>
                <c:pt idx="15557" formatCode="0.0%">
                  <c:v>0.13540035320494906</c:v>
                </c:pt>
                <c:pt idx="15558" formatCode="0.0%">
                  <c:v>0.13176641716168039</c:v>
                </c:pt>
                <c:pt idx="15559" formatCode="0.0%">
                  <c:v>0.15708911014670113</c:v>
                </c:pt>
                <c:pt idx="15560" formatCode="0.0%">
                  <c:v>0.15854627044046496</c:v>
                </c:pt>
                <c:pt idx="15561" formatCode="0.0%">
                  <c:v>0.16518323636411356</c:v>
                </c:pt>
                <c:pt idx="15562" formatCode="0.0%">
                  <c:v>0.15608553082243917</c:v>
                </c:pt>
                <c:pt idx="15563" formatCode="0.0%">
                  <c:v>0.15616211790340354</c:v>
                </c:pt>
                <c:pt idx="15564" formatCode="0.0%">
                  <c:v>0.1565362800852941</c:v>
                </c:pt>
                <c:pt idx="15565" formatCode="0.0%">
                  <c:v>0.1790407407624566</c:v>
                </c:pt>
                <c:pt idx="15566" formatCode="0.0%">
                  <c:v>0.17673576529655582</c:v>
                </c:pt>
                <c:pt idx="15567" formatCode="0.0%">
                  <c:v>0.17682836798740362</c:v>
                </c:pt>
                <c:pt idx="15568" formatCode="0.0%">
                  <c:v>0.17763988083963814</c:v>
                </c:pt>
                <c:pt idx="15569" formatCode="0.0%">
                  <c:v>0.17496625883004271</c:v>
                </c:pt>
                <c:pt idx="15570" formatCode="0.0%">
                  <c:v>0.16989131513155742</c:v>
                </c:pt>
                <c:pt idx="15571" formatCode="0.0%">
                  <c:v>0.14919179285156775</c:v>
                </c:pt>
                <c:pt idx="15572" formatCode="0.0%">
                  <c:v>0.17190922335830472</c:v>
                </c:pt>
                <c:pt idx="15573" formatCode="0.0%">
                  <c:v>0.17152366686634835</c:v>
                </c:pt>
                <c:pt idx="15574" formatCode="0.0%">
                  <c:v>0.17383348290249301</c:v>
                </c:pt>
                <c:pt idx="15575" formatCode="0.0%">
                  <c:v>0.17294850048665975</c:v>
                </c:pt>
                <c:pt idx="15576" formatCode="0.0%">
                  <c:v>0.17045374657795589</c:v>
                </c:pt>
                <c:pt idx="15577" formatCode="0.0%">
                  <c:v>0.17812351247193303</c:v>
                </c:pt>
                <c:pt idx="15578" formatCode="0.0%">
                  <c:v>0.17693527539588227</c:v>
                </c:pt>
                <c:pt idx="15579" formatCode="0.0%">
                  <c:v>0.15566353736950048</c:v>
                </c:pt>
                <c:pt idx="15580" formatCode="0.0%">
                  <c:v>0.15714278125851833</c:v>
                </c:pt>
                <c:pt idx="15581" formatCode="0.0%">
                  <c:v>0.15134666149870887</c:v>
                </c:pt>
                <c:pt idx="15582" formatCode="0.0%">
                  <c:v>0.14870787342114236</c:v>
                </c:pt>
                <c:pt idx="15583" formatCode="0.0%">
                  <c:v>0.15211547462767461</c:v>
                </c:pt>
                <c:pt idx="15584" formatCode="0.0%">
                  <c:v>0.15301585194890013</c:v>
                </c:pt>
                <c:pt idx="15585" formatCode="0.0%">
                  <c:v>0.13129087371140097</c:v>
                </c:pt>
                <c:pt idx="15586" formatCode="0.0%">
                  <c:v>0.13041086194561116</c:v>
                </c:pt>
                <c:pt idx="15587" formatCode="0.0%">
                  <c:v>0.13128264831238465</c:v>
                </c:pt>
                <c:pt idx="15588" formatCode="0.0%">
                  <c:v>0.1244584996261162</c:v>
                </c:pt>
                <c:pt idx="15589" formatCode="0.0%">
                  <c:v>0.13414867208972894</c:v>
                </c:pt>
                <c:pt idx="15590" formatCode="0.0%">
                  <c:v>0.13473168456840184</c:v>
                </c:pt>
                <c:pt idx="15591" formatCode="0.0%">
                  <c:v>0.13235847628195974</c:v>
                </c:pt>
                <c:pt idx="15592" formatCode="0.0%">
                  <c:v>0.11563876749962337</c:v>
                </c:pt>
                <c:pt idx="15593" formatCode="0.0%">
                  <c:v>0.11874602201910565</c:v>
                </c:pt>
                <c:pt idx="15594" formatCode="0.0%">
                  <c:v>0.11898500378263652</c:v>
                </c:pt>
                <c:pt idx="15595" formatCode="0.0%">
                  <c:v>0.1262803164913249</c:v>
                </c:pt>
                <c:pt idx="15596" formatCode="0.0%">
                  <c:v>0.12400987881535068</c:v>
                </c:pt>
                <c:pt idx="15597" formatCode="0.0%">
                  <c:v>0.12126844178703604</c:v>
                </c:pt>
                <c:pt idx="15598" formatCode="0.0%">
                  <c:v>0.12395875644626683</c:v>
                </c:pt>
                <c:pt idx="15599" formatCode="0.0%">
                  <c:v>0.12398840515843086</c:v>
                </c:pt>
                <c:pt idx="15600" formatCode="0.0%">
                  <c:v>0.12097457969649236</c:v>
                </c:pt>
                <c:pt idx="15601" formatCode="0.0%">
                  <c:v>0.12092277346850637</c:v>
                </c:pt>
                <c:pt idx="15602" formatCode="0.0%">
                  <c:v>0.12107142707031575</c:v>
                </c:pt>
                <c:pt idx="15603" formatCode="0.0%">
                  <c:v>0.12366239605428339</c:v>
                </c:pt>
                <c:pt idx="15604" formatCode="0.0%">
                  <c:v>0.12097807469440489</c:v>
                </c:pt>
                <c:pt idx="15605" formatCode="0.0%">
                  <c:v>0.10925790047190893</c:v>
                </c:pt>
                <c:pt idx="15606" formatCode="0.0%">
                  <c:v>0.11194251708312664</c:v>
                </c:pt>
                <c:pt idx="15607" formatCode="0.0%">
                  <c:v>0.1192426451027134</c:v>
                </c:pt>
                <c:pt idx="15608" formatCode="0.0%">
                  <c:v>0.11730439946249061</c:v>
                </c:pt>
                <c:pt idx="15609" formatCode="0.0%">
                  <c:v>0.10859561644343294</c:v>
                </c:pt>
                <c:pt idx="15610" formatCode="0.0%">
                  <c:v>0.11377104105776169</c:v>
                </c:pt>
                <c:pt idx="15611" formatCode="0.0%">
                  <c:v>0.11312119376516877</c:v>
                </c:pt>
                <c:pt idx="15612" formatCode="0.0%">
                  <c:v>0.11443079431081393</c:v>
                </c:pt>
                <c:pt idx="15613" formatCode="0.0%">
                  <c:v>0.11185787326195805</c:v>
                </c:pt>
                <c:pt idx="15614" formatCode="0.0%">
                  <c:v>0.11078715364383337</c:v>
                </c:pt>
                <c:pt idx="15615" formatCode="0.0%">
                  <c:v>0.11379003080452757</c:v>
                </c:pt>
                <c:pt idx="15616" formatCode="0.0%">
                  <c:v>0.11687335717698612</c:v>
                </c:pt>
                <c:pt idx="15617" formatCode="0.0%">
                  <c:v>0.11178907627858495</c:v>
                </c:pt>
                <c:pt idx="15618" formatCode="0.0%">
                  <c:v>0.10903263880453398</c:v>
                </c:pt>
                <c:pt idx="15619" formatCode="0.0%">
                  <c:v>0.10954282121363774</c:v>
                </c:pt>
                <c:pt idx="15620" formatCode="0.0%">
                  <c:v>0.10513616229363906</c:v>
                </c:pt>
                <c:pt idx="15621" formatCode="0.0%">
                  <c:v>0.10503917647254507</c:v>
                </c:pt>
                <c:pt idx="15622" formatCode="0.0%">
                  <c:v>0.10699594273344475</c:v>
                </c:pt>
                <c:pt idx="15623" formatCode="0.0%">
                  <c:v>9.9764478146916441E-2</c:v>
                </c:pt>
                <c:pt idx="15624" formatCode="0.0%">
                  <c:v>9.8461459131667581E-2</c:v>
                </c:pt>
                <c:pt idx="15625" formatCode="0.0%">
                  <c:v>0.10504630379502684</c:v>
                </c:pt>
                <c:pt idx="15626" formatCode="0.0%">
                  <c:v>0.10694278780849045</c:v>
                </c:pt>
                <c:pt idx="15627" formatCode="0.0%">
                  <c:v>0.10283790627380116</c:v>
                </c:pt>
                <c:pt idx="15628" formatCode="0.0%">
                  <c:v>0.10980651381451331</c:v>
                </c:pt>
                <c:pt idx="15629" formatCode="0.0%">
                  <c:v>0.10957890845224233</c:v>
                </c:pt>
                <c:pt idx="15630" formatCode="0.0%">
                  <c:v>0.10203784855149749</c:v>
                </c:pt>
                <c:pt idx="15631" formatCode="0.0%">
                  <c:v>0.10258007038347347</c:v>
                </c:pt>
                <c:pt idx="15632" formatCode="0.0%">
                  <c:v>0.10856722150375381</c:v>
                </c:pt>
                <c:pt idx="15633" formatCode="0.0%">
                  <c:v>0.11120250500576601</c:v>
                </c:pt>
                <c:pt idx="15634" formatCode="0.0%">
                  <c:v>0.11265016776594194</c:v>
                </c:pt>
                <c:pt idx="15635" formatCode="0.0%">
                  <c:v>0.10131049590952805</c:v>
                </c:pt>
                <c:pt idx="15636" formatCode="0.0%">
                  <c:v>9.9879704505632008E-2</c:v>
                </c:pt>
                <c:pt idx="15637" formatCode="0.0%">
                  <c:v>0.10504784701692957</c:v>
                </c:pt>
                <c:pt idx="15638" formatCode="0.0%">
                  <c:v>0.10744362737320051</c:v>
                </c:pt>
                <c:pt idx="15639" formatCode="0.0%">
                  <c:v>0.10771395076580162</c:v>
                </c:pt>
                <c:pt idx="15640" formatCode="0.0%">
                  <c:v>0.10782930105142761</c:v>
                </c:pt>
                <c:pt idx="15641" formatCode="0.0%">
                  <c:v>0.1082195103443422</c:v>
                </c:pt>
                <c:pt idx="15642" formatCode="0.0%">
                  <c:v>0.13447569865253867</c:v>
                </c:pt>
                <c:pt idx="15643" formatCode="0.0%">
                  <c:v>0.1365532510108744</c:v>
                </c:pt>
                <c:pt idx="15644" formatCode="0.0%">
                  <c:v>0.13679379475597644</c:v>
                </c:pt>
                <c:pt idx="15645" formatCode="0.0%">
                  <c:v>0.12837743935485466</c:v>
                </c:pt>
                <c:pt idx="15646" formatCode="0.0%">
                  <c:v>0.12325926675745262</c:v>
                </c:pt>
                <c:pt idx="15647" formatCode="0.0%">
                  <c:v>0.11628483136399781</c:v>
                </c:pt>
                <c:pt idx="15648" formatCode="0.0%">
                  <c:v>0.10384990034589379</c:v>
                </c:pt>
                <c:pt idx="15649" formatCode="0.0%">
                  <c:v>0.10196974344536058</c:v>
                </c:pt>
                <c:pt idx="15650" formatCode="0.0%">
                  <c:v>0.10207016999656909</c:v>
                </c:pt>
                <c:pt idx="15651" formatCode="0.0%">
                  <c:v>0.1045101555472879</c:v>
                </c:pt>
                <c:pt idx="15652" formatCode="0.0%">
                  <c:v>0.10305683101308068</c:v>
                </c:pt>
                <c:pt idx="15653" formatCode="0.0%">
                  <c:v>0.11326590642331254</c:v>
                </c:pt>
                <c:pt idx="15654" formatCode="0.0%">
                  <c:v>0.11403891209707849</c:v>
                </c:pt>
                <c:pt idx="15655" formatCode="0.0%">
                  <c:v>0.11412545238590602</c:v>
                </c:pt>
                <c:pt idx="15656" formatCode="0.0%">
                  <c:v>0.11422002054538222</c:v>
                </c:pt>
                <c:pt idx="15657" formatCode="0.0%">
                  <c:v>0.11643887021140158</c:v>
                </c:pt>
                <c:pt idx="15658" formatCode="0.0%">
                  <c:v>0.11813083968425764</c:v>
                </c:pt>
                <c:pt idx="15659" formatCode="0.0%">
                  <c:v>0.1216851479132529</c:v>
                </c:pt>
                <c:pt idx="15660" formatCode="0.0%">
                  <c:v>0.12513454355252471</c:v>
                </c:pt>
                <c:pt idx="15661" formatCode="0.0%">
                  <c:v>0.13624324213868991</c:v>
                </c:pt>
                <c:pt idx="15662" formatCode="0.0%">
                  <c:v>0.11318231837410046</c:v>
                </c:pt>
                <c:pt idx="15663" formatCode="0.0%">
                  <c:v>0.11812081178631506</c:v>
                </c:pt>
                <c:pt idx="15664" formatCode="0.0%">
                  <c:v>0.11919112893713044</c:v>
                </c:pt>
                <c:pt idx="15665" formatCode="0.0%">
                  <c:v>0.12152576001758292</c:v>
                </c:pt>
                <c:pt idx="15666" formatCode="0.0%">
                  <c:v>0.12160115333617573</c:v>
                </c:pt>
                <c:pt idx="15667" formatCode="0.0%">
                  <c:v>0.13728871712109098</c:v>
                </c:pt>
                <c:pt idx="15668" formatCode="0.0%">
                  <c:v>0.13400024668926339</c:v>
                </c:pt>
                <c:pt idx="15669" formatCode="0.0%">
                  <c:v>0.13407713156071702</c:v>
                </c:pt>
                <c:pt idx="15670" formatCode="0.0%">
                  <c:v>0.13449163228680872</c:v>
                </c:pt>
                <c:pt idx="15671" formatCode="0.0%">
                  <c:v>0.1435223558275994</c:v>
                </c:pt>
                <c:pt idx="15672" formatCode="0.0%">
                  <c:v>0.1418368114100895</c:v>
                </c:pt>
                <c:pt idx="15673" formatCode="0.0%">
                  <c:v>0.12627360941742041</c:v>
                </c:pt>
                <c:pt idx="15674" formatCode="0.0%">
                  <c:v>0.13100726805526328</c:v>
                </c:pt>
                <c:pt idx="15675" formatCode="0.0%">
                  <c:v>0.13378791231964474</c:v>
                </c:pt>
                <c:pt idx="15676" formatCode="0.0%">
                  <c:v>0.13217465463256581</c:v>
                </c:pt>
                <c:pt idx="15677" formatCode="0.0%">
                  <c:v>0.12548209214786304</c:v>
                </c:pt>
                <c:pt idx="15678" formatCode="0.0%">
                  <c:v>0.12580748791650567</c:v>
                </c:pt>
                <c:pt idx="15679" formatCode="0.0%">
                  <c:v>0.13189653027152551</c:v>
                </c:pt>
                <c:pt idx="15680" formatCode="0.0%">
                  <c:v>0.13481790935943114</c:v>
                </c:pt>
                <c:pt idx="15681" formatCode="0.0%">
                  <c:v>0.12807764447652106</c:v>
                </c:pt>
                <c:pt idx="15682" formatCode="0.0%">
                  <c:v>0.12786579859596778</c:v>
                </c:pt>
                <c:pt idx="15683" formatCode="0.0%">
                  <c:v>0.12859190232226511</c:v>
                </c:pt>
                <c:pt idx="15684" formatCode="0.0%">
                  <c:v>0.13513192904352975</c:v>
                </c:pt>
                <c:pt idx="15685" formatCode="0.0%">
                  <c:v>0.13457424959825023</c:v>
                </c:pt>
                <c:pt idx="15686" formatCode="0.0%">
                  <c:v>0.13523875086096473</c:v>
                </c:pt>
                <c:pt idx="15687" formatCode="0.0%">
                  <c:v>0.11989317758311489</c:v>
                </c:pt>
                <c:pt idx="15688" formatCode="0.0%">
                  <c:v>0.12488280502144072</c:v>
                </c:pt>
                <c:pt idx="15689" formatCode="0.0%">
                  <c:v>0.12509114846625496</c:v>
                </c:pt>
                <c:pt idx="15690" formatCode="0.0%">
                  <c:v>0.13048502940192833</c:v>
                </c:pt>
                <c:pt idx="15691" formatCode="0.0%">
                  <c:v>0.1360161044709548</c:v>
                </c:pt>
                <c:pt idx="15692" formatCode="0.0%">
                  <c:v>0.13202091634665378</c:v>
                </c:pt>
                <c:pt idx="15693" formatCode="0.0%">
                  <c:v>0.13240043252139413</c:v>
                </c:pt>
                <c:pt idx="15694" formatCode="0.0%">
                  <c:v>0.12961183808838461</c:v>
                </c:pt>
                <c:pt idx="15695" formatCode="0.0%">
                  <c:v>0.12925181507975256</c:v>
                </c:pt>
                <c:pt idx="15696" formatCode="0.0%">
                  <c:v>0.13122685309727031</c:v>
                </c:pt>
                <c:pt idx="15697" formatCode="0.0%">
                  <c:v>0.13035491969792448</c:v>
                </c:pt>
                <c:pt idx="15698" formatCode="0.0%">
                  <c:v>0.13016382237643762</c:v>
                </c:pt>
                <c:pt idx="15699" formatCode="0.0%">
                  <c:v>0.12889893169163957</c:v>
                </c:pt>
                <c:pt idx="15700" formatCode="0.0%">
                  <c:v>0.14048572501152462</c:v>
                </c:pt>
                <c:pt idx="15701" formatCode="0.0%">
                  <c:v>0.17215349572861433</c:v>
                </c:pt>
                <c:pt idx="15702" formatCode="0.0%">
                  <c:v>0.1719610262668797</c:v>
                </c:pt>
                <c:pt idx="15703" formatCode="0.0%">
                  <c:v>0.1687407369738364</c:v>
                </c:pt>
                <c:pt idx="15704" formatCode="0.0%">
                  <c:v>0.16233883276182579</c:v>
                </c:pt>
                <c:pt idx="15705" formatCode="0.0%">
                  <c:v>0.16222034447979392</c:v>
                </c:pt>
                <c:pt idx="15706" formatCode="0.0%">
                  <c:v>0.16723085316096176</c:v>
                </c:pt>
                <c:pt idx="15707" formatCode="0.0%">
                  <c:v>0.16853055237853048</c:v>
                </c:pt>
                <c:pt idx="15708" formatCode="0.0%">
                  <c:v>0.16868865979745273</c:v>
                </c:pt>
                <c:pt idx="15709" formatCode="0.0%">
                  <c:v>0.18012279539137727</c:v>
                </c:pt>
                <c:pt idx="15710" formatCode="0.0%">
                  <c:v>0.18202400364727017</c:v>
                </c:pt>
                <c:pt idx="15711" formatCode="0.0%">
                  <c:v>0.17717872104508126</c:v>
                </c:pt>
                <c:pt idx="15712" formatCode="0.0%">
                  <c:v>0.18529002027034075</c:v>
                </c:pt>
                <c:pt idx="15713" formatCode="0.0%">
                  <c:v>0.18670145930207638</c:v>
                </c:pt>
                <c:pt idx="15714" formatCode="0.0%">
                  <c:v>0.20536840793749286</c:v>
                </c:pt>
                <c:pt idx="15715" formatCode="0.0%">
                  <c:v>0.2194478775495706</c:v>
                </c:pt>
                <c:pt idx="15716" formatCode="0.0%">
                  <c:v>0.2541208110200554</c:v>
                </c:pt>
                <c:pt idx="15717" formatCode="0.0%">
                  <c:v>0.25351756396045005</c:v>
                </c:pt>
                <c:pt idx="15718" formatCode="0.0%">
                  <c:v>0.25813802340873826</c:v>
                </c:pt>
                <c:pt idx="15719" formatCode="0.0%">
                  <c:v>0.26086234423205706</c:v>
                </c:pt>
                <c:pt idx="15720" formatCode="0.0%">
                  <c:v>0.26183003012401412</c:v>
                </c:pt>
                <c:pt idx="15721" formatCode="0.0%">
                  <c:v>0.24136233683761216</c:v>
                </c:pt>
                <c:pt idx="15722" formatCode="0.0%">
                  <c:v>0.24202159628453965</c:v>
                </c:pt>
                <c:pt idx="15723" formatCode="0.0%">
                  <c:v>0.24042220674608974</c:v>
                </c:pt>
                <c:pt idx="15724" formatCode="0.0%">
                  <c:v>0.24274389778875813</c:v>
                </c:pt>
                <c:pt idx="15725" formatCode="0.0%">
                  <c:v>0.23982651190460741</c:v>
                </c:pt>
                <c:pt idx="15726" formatCode="0.0%">
                  <c:v>0.23564793270920373</c:v>
                </c:pt>
                <c:pt idx="15727" formatCode="0.0%">
                  <c:v>0.23663193483020703</c:v>
                </c:pt>
                <c:pt idx="15728" formatCode="0.0%">
                  <c:v>0.23835089676417168</c:v>
                </c:pt>
                <c:pt idx="15729" formatCode="0.0%">
                  <c:v>0.22720840639739195</c:v>
                </c:pt>
                <c:pt idx="15730" formatCode="0.0%">
                  <c:v>0.22380641075180691</c:v>
                </c:pt>
                <c:pt idx="15731" formatCode="0.0%">
                  <c:v>0.22392989323375362</c:v>
                </c:pt>
                <c:pt idx="15732" formatCode="0.0%">
                  <c:v>0.21346121604878632</c:v>
                </c:pt>
                <c:pt idx="15733" formatCode="0.0%">
                  <c:v>0.21313859197110491</c:v>
                </c:pt>
                <c:pt idx="15734" formatCode="0.0%">
                  <c:v>0.18218281317577678</c:v>
                </c:pt>
                <c:pt idx="15735" formatCode="0.0%">
                  <c:v>0.19123515799889063</c:v>
                </c:pt>
                <c:pt idx="15736" formatCode="0.0%">
                  <c:v>0.15679878938417022</c:v>
                </c:pt>
                <c:pt idx="15737" formatCode="0.0%">
                  <c:v>0.1593696146257351</c:v>
                </c:pt>
                <c:pt idx="15738" formatCode="0.0%">
                  <c:v>0.15783137373291403</c:v>
                </c:pt>
                <c:pt idx="15739" formatCode="0.0%">
                  <c:v>0.16536332571984116</c:v>
                </c:pt>
                <c:pt idx="15740" formatCode="0.0%">
                  <c:v>0.19239934019283833</c:v>
                </c:pt>
                <c:pt idx="15741" formatCode="0.0%">
                  <c:v>0.19226596969555337</c:v>
                </c:pt>
                <c:pt idx="15742" formatCode="0.0%">
                  <c:v>0.19496274374438782</c:v>
                </c:pt>
                <c:pt idx="15743" formatCode="0.0%">
                  <c:v>0.19228802670870876</c:v>
                </c:pt>
                <c:pt idx="15744" formatCode="0.0%">
                  <c:v>0.18849075925321704</c:v>
                </c:pt>
                <c:pt idx="15745" formatCode="0.0%">
                  <c:v>0.19014996834983658</c:v>
                </c:pt>
                <c:pt idx="15746" formatCode="0.0%">
                  <c:v>0.21110891839540996</c:v>
                </c:pt>
                <c:pt idx="15747" formatCode="0.0%">
                  <c:v>0.21413153406775978</c:v>
                </c:pt>
                <c:pt idx="15748" formatCode="0.0%">
                  <c:v>0.21703023109238528</c:v>
                </c:pt>
                <c:pt idx="15749" formatCode="0.0%">
                  <c:v>0.22717682537756037</c:v>
                </c:pt>
                <c:pt idx="15750" formatCode="0.0%">
                  <c:v>0.23129959679932227</c:v>
                </c:pt>
                <c:pt idx="15751" formatCode="0.0%">
                  <c:v>0.23427781307683807</c:v>
                </c:pt>
                <c:pt idx="15752" formatCode="0.0%">
                  <c:v>0.23415632215678039</c:v>
                </c:pt>
                <c:pt idx="15753" formatCode="0.0%">
                  <c:v>0.24572110720889964</c:v>
                </c:pt>
                <c:pt idx="15754" formatCode="0.0%">
                  <c:v>0.25865405828142179</c:v>
                </c:pt>
                <c:pt idx="15755" formatCode="0.0%">
                  <c:v>0.24609320414112701</c:v>
                </c:pt>
                <c:pt idx="15756" formatCode="0.0%">
                  <c:v>0.24502224582650084</c:v>
                </c:pt>
                <c:pt idx="15757" formatCode="0.0%">
                  <c:v>0.24149517587996555</c:v>
                </c:pt>
                <c:pt idx="15758" formatCode="0.0%">
                  <c:v>0.23770845489572781</c:v>
                </c:pt>
                <c:pt idx="15759" formatCode="0.0%">
                  <c:v>0.23991966264763132</c:v>
                </c:pt>
                <c:pt idx="15760" formatCode="0.0%">
                  <c:v>0.21602122471502047</c:v>
                </c:pt>
                <c:pt idx="15761" formatCode="0.0%">
                  <c:v>0.21833812101428765</c:v>
                </c:pt>
                <c:pt idx="15762" formatCode="0.0%">
                  <c:v>0.21491196772900503</c:v>
                </c:pt>
                <c:pt idx="15763" formatCode="0.0%">
                  <c:v>0.2177568369725959</c:v>
                </c:pt>
                <c:pt idx="15764" formatCode="0.0%">
                  <c:v>0.2251178899915782</c:v>
                </c:pt>
                <c:pt idx="15765" formatCode="0.0%">
                  <c:v>0.22617051749112815</c:v>
                </c:pt>
                <c:pt idx="15766" formatCode="0.0%">
                  <c:v>0.20571968128209042</c:v>
                </c:pt>
                <c:pt idx="15767" formatCode="0.0%">
                  <c:v>0.20870103197829251</c:v>
                </c:pt>
                <c:pt idx="15768" formatCode="0.0%">
                  <c:v>0.19858418998204472</c:v>
                </c:pt>
                <c:pt idx="15769" formatCode="0.0%">
                  <c:v>0.20304667612629124</c:v>
                </c:pt>
                <c:pt idx="15770" formatCode="0.0%">
                  <c:v>0.20883367157774066</c:v>
                </c:pt>
                <c:pt idx="15771" formatCode="0.0%">
                  <c:v>0.2016786844463056</c:v>
                </c:pt>
                <c:pt idx="15772" formatCode="0.0%">
                  <c:v>0.20212169297473917</c:v>
                </c:pt>
                <c:pt idx="15773" formatCode="0.0%">
                  <c:v>0.19401916941142039</c:v>
                </c:pt>
                <c:pt idx="15774" formatCode="0.0%">
                  <c:v>0.17906655942935229</c:v>
                </c:pt>
                <c:pt idx="15775" formatCode="0.0%">
                  <c:v>0.17892734749478034</c:v>
                </c:pt>
                <c:pt idx="15776" formatCode="0.0%">
                  <c:v>0.18291258510695818</c:v>
                </c:pt>
                <c:pt idx="15777" formatCode="0.0%">
                  <c:v>0.18302407209477023</c:v>
                </c:pt>
                <c:pt idx="15778" formatCode="0.0%">
                  <c:v>0.18088486296792425</c:v>
                </c:pt>
                <c:pt idx="15779" formatCode="0.0%">
                  <c:v>0.16735553943850071</c:v>
                </c:pt>
                <c:pt idx="15780" formatCode="0.0%">
                  <c:v>0.16225601131502965</c:v>
                </c:pt>
                <c:pt idx="15781" formatCode="0.0%">
                  <c:v>0.16166784688838656</c:v>
                </c:pt>
                <c:pt idx="15782" formatCode="0.0%">
                  <c:v>0.16341505150857788</c:v>
                </c:pt>
                <c:pt idx="15783" formatCode="0.0%">
                  <c:v>0.17117031084401141</c:v>
                </c:pt>
                <c:pt idx="15784" formatCode="0.0%">
                  <c:v>0.16456157067377725</c:v>
                </c:pt>
                <c:pt idx="15785" formatCode="0.0%">
                  <c:v>0.16368148865278909</c:v>
                </c:pt>
                <c:pt idx="15786" formatCode="0.0%">
                  <c:v>0.16094043597495911</c:v>
                </c:pt>
                <c:pt idx="15787" formatCode="0.0%">
                  <c:v>0.14237977738561411</c:v>
                </c:pt>
                <c:pt idx="15788" formatCode="0.0%">
                  <c:v>0.14477169676708976</c:v>
                </c:pt>
                <c:pt idx="15789" formatCode="0.0%">
                  <c:v>0.13094694949732671</c:v>
                </c:pt>
                <c:pt idx="15790" formatCode="0.0%">
                  <c:v>0.12122644210723675</c:v>
                </c:pt>
                <c:pt idx="15791" formatCode="0.0%">
                  <c:v>0.12375454806815119</c:v>
                </c:pt>
                <c:pt idx="15792" formatCode="0.0%">
                  <c:v>0.12215060669032873</c:v>
                </c:pt>
                <c:pt idx="15793" formatCode="0.0%">
                  <c:v>0.11873973051523477</c:v>
                </c:pt>
                <c:pt idx="15794" formatCode="0.0%">
                  <c:v>0.11951608242288504</c:v>
                </c:pt>
                <c:pt idx="15795" formatCode="0.0%">
                  <c:v>0.12420490285408815</c:v>
                </c:pt>
                <c:pt idx="15796" formatCode="0.0%">
                  <c:v>0.11225000479086106</c:v>
                </c:pt>
                <c:pt idx="15797" formatCode="0.0%">
                  <c:v>0.11261455021637652</c:v>
                </c:pt>
                <c:pt idx="15798" formatCode="0.0%">
                  <c:v>0.11131962001206586</c:v>
                </c:pt>
                <c:pt idx="15799" formatCode="0.0%">
                  <c:v>0.11472653896088585</c:v>
                </c:pt>
                <c:pt idx="15800" formatCode="0.0%">
                  <c:v>0.11425035058458953</c:v>
                </c:pt>
                <c:pt idx="15801" formatCode="0.0%">
                  <c:v>0.11914467911116046</c:v>
                </c:pt>
                <c:pt idx="15802" formatCode="0.0%">
                  <c:v>0.1167232714713701</c:v>
                </c:pt>
                <c:pt idx="15803" formatCode="0.0%">
                  <c:v>0.1004433519008763</c:v>
                </c:pt>
                <c:pt idx="15804" formatCode="0.0%">
                  <c:v>0.10841074544702699</c:v>
                </c:pt>
                <c:pt idx="15805" formatCode="0.0%">
                  <c:v>0.11674591489191606</c:v>
                </c:pt>
                <c:pt idx="15806" formatCode="0.0%">
                  <c:v>0.10859181120412947</c:v>
                </c:pt>
                <c:pt idx="15807" formatCode="0.0%">
                  <c:v>0.12273782225261791</c:v>
                </c:pt>
                <c:pt idx="15808" formatCode="0.0%">
                  <c:v>0.12253608297769163</c:v>
                </c:pt>
                <c:pt idx="15809" formatCode="0.0%">
                  <c:v>0.12461527167943703</c:v>
                </c:pt>
                <c:pt idx="15810" formatCode="0.0%">
                  <c:v>0.1306974344710147</c:v>
                </c:pt>
                <c:pt idx="15811" formatCode="0.0%">
                  <c:v>0.12209595207123949</c:v>
                </c:pt>
                <c:pt idx="15812" formatCode="0.0%">
                  <c:v>0.12420421634248546</c:v>
                </c:pt>
                <c:pt idx="15813" formatCode="0.0%">
                  <c:v>0.12479264365796239</c:v>
                </c:pt>
                <c:pt idx="15814" formatCode="0.0%">
                  <c:v>0.12951265995688918</c:v>
                </c:pt>
                <c:pt idx="15815" formatCode="0.0%">
                  <c:v>0.18214564015384777</c:v>
                </c:pt>
                <c:pt idx="15816" formatCode="0.0%">
                  <c:v>0.188108602619877</c:v>
                </c:pt>
                <c:pt idx="15817" formatCode="0.0%">
                  <c:v>0.18859662992380913</c:v>
                </c:pt>
                <c:pt idx="15818" formatCode="0.0%">
                  <c:v>0.19000805171267826</c:v>
                </c:pt>
                <c:pt idx="15819" formatCode="0.0%">
                  <c:v>0.1902666971109376</c:v>
                </c:pt>
                <c:pt idx="15820" formatCode="0.0%">
                  <c:v>0.1962282482927683</c:v>
                </c:pt>
                <c:pt idx="15821" formatCode="0.0%">
                  <c:v>0.19398477877647338</c:v>
                </c:pt>
                <c:pt idx="15822" formatCode="0.0%">
                  <c:v>0.19403753737678442</c:v>
                </c:pt>
                <c:pt idx="15823" formatCode="0.0%">
                  <c:v>0.193679705719152</c:v>
                </c:pt>
                <c:pt idx="15824" formatCode="0.0%">
                  <c:v>0.19412366777197532</c:v>
                </c:pt>
                <c:pt idx="15825" formatCode="0.0%">
                  <c:v>0.18562541135813374</c:v>
                </c:pt>
                <c:pt idx="15826" formatCode="0.0%">
                  <c:v>0.18550985857585112</c:v>
                </c:pt>
                <c:pt idx="15827" formatCode="0.0%">
                  <c:v>0.17283030711265834</c:v>
                </c:pt>
                <c:pt idx="15828" formatCode="0.0%">
                  <c:v>0.17136102591968763</c:v>
                </c:pt>
                <c:pt idx="15829" formatCode="0.0%">
                  <c:v>0.16649708892001075</c:v>
                </c:pt>
                <c:pt idx="15830" formatCode="0.0%">
                  <c:v>0.17083888690051421</c:v>
                </c:pt>
                <c:pt idx="15831" formatCode="0.0%">
                  <c:v>0.17024534522360027</c:v>
                </c:pt>
                <c:pt idx="15832" formatCode="0.0%">
                  <c:v>0.17265432756600277</c:v>
                </c:pt>
                <c:pt idx="15833" formatCode="0.0%">
                  <c:v>0.18204056837405949</c:v>
                </c:pt>
                <c:pt idx="15834" formatCode="0.0%">
                  <c:v>0.18217214835753343</c:v>
                </c:pt>
                <c:pt idx="15835" formatCode="0.0%">
                  <c:v>0.16188992509166586</c:v>
                </c:pt>
                <c:pt idx="15836" formatCode="0.0%">
                  <c:v>0.16207893367256035</c:v>
                </c:pt>
                <c:pt idx="15837" formatCode="0.0%">
                  <c:v>0.15964208383762313</c:v>
                </c:pt>
                <c:pt idx="15838" formatCode="0.0%">
                  <c:v>0.16371140988182389</c:v>
                </c:pt>
                <c:pt idx="15839" formatCode="0.0%">
                  <c:v>0.16497355929600729</c:v>
                </c:pt>
                <c:pt idx="15840" formatCode="0.0%">
                  <c:v>0.16198885388563938</c:v>
                </c:pt>
                <c:pt idx="15841" formatCode="0.0%">
                  <c:v>0.16197521577071614</c:v>
                </c:pt>
                <c:pt idx="15842" formatCode="0.0%">
                  <c:v>0.17184650764154363</c:v>
                </c:pt>
                <c:pt idx="15843" formatCode="0.0%">
                  <c:v>0.17430368603347576</c:v>
                </c:pt>
                <c:pt idx="15844" formatCode="0.0%">
                  <c:v>0.17112457508088094</c:v>
                </c:pt>
                <c:pt idx="15845" formatCode="0.0%">
                  <c:v>0.17128932378945849</c:v>
                </c:pt>
                <c:pt idx="15846" formatCode="0.0%">
                  <c:v>0.17155186153432697</c:v>
                </c:pt>
                <c:pt idx="15847" formatCode="0.0%">
                  <c:v>0.17628113151334107</c:v>
                </c:pt>
                <c:pt idx="15848" formatCode="0.0%">
                  <c:v>0.17644903566761669</c:v>
                </c:pt>
                <c:pt idx="15849" formatCode="0.0%">
                  <c:v>0.16672026491198624</c:v>
                </c:pt>
                <c:pt idx="15850" formatCode="0.0%">
                  <c:v>0.16587887317805877</c:v>
                </c:pt>
                <c:pt idx="15851" formatCode="0.0%">
                  <c:v>0.16682482072846369</c:v>
                </c:pt>
                <c:pt idx="15852" formatCode="0.0%">
                  <c:v>0.14502146342369746</c:v>
                </c:pt>
                <c:pt idx="15853" formatCode="0.0%">
                  <c:v>0.14724596494595968</c:v>
                </c:pt>
                <c:pt idx="15854" formatCode="0.0%">
                  <c:v>0.14447632007763597</c:v>
                </c:pt>
                <c:pt idx="15855" formatCode="0.0%">
                  <c:v>0.13516395804148143</c:v>
                </c:pt>
                <c:pt idx="15856" formatCode="0.0%">
                  <c:v>0.12864622081951677</c:v>
                </c:pt>
                <c:pt idx="15857" formatCode="0.0%">
                  <c:v>0.1396722144509738</c:v>
                </c:pt>
                <c:pt idx="15858" formatCode="0.0%">
                  <c:v>0.13381474406311231</c:v>
                </c:pt>
                <c:pt idx="15859" formatCode="0.0%">
                  <c:v>0.13455626303511464</c:v>
                </c:pt>
                <c:pt idx="15860" formatCode="0.0%">
                  <c:v>0.13466811775660364</c:v>
                </c:pt>
                <c:pt idx="15861" formatCode="0.0%">
                  <c:v>0.1356566131774361</c:v>
                </c:pt>
                <c:pt idx="15862" formatCode="0.0%">
                  <c:v>0.13989074215706501</c:v>
                </c:pt>
                <c:pt idx="15863" formatCode="0.0%">
                  <c:v>0.13358030880095514</c:v>
                </c:pt>
                <c:pt idx="15864" formatCode="0.0%">
                  <c:v>0.13326517163374144</c:v>
                </c:pt>
                <c:pt idx="15865" formatCode="0.0%">
                  <c:v>0.13568896069421343</c:v>
                </c:pt>
                <c:pt idx="15866" formatCode="0.0%">
                  <c:v>0.15533284905611319</c:v>
                </c:pt>
                <c:pt idx="15867" formatCode="0.0%">
                  <c:v>0.13934793240818116</c:v>
                </c:pt>
                <c:pt idx="15868" formatCode="0.0%">
                  <c:v>0.13934044291177711</c:v>
                </c:pt>
                <c:pt idx="15869" formatCode="0.0%">
                  <c:v>0.14586851641742829</c:v>
                </c:pt>
                <c:pt idx="15870" formatCode="0.0%">
                  <c:v>0.14880935223989869</c:v>
                </c:pt>
                <c:pt idx="15871" formatCode="0.0%">
                  <c:v>0.15578824379258677</c:v>
                </c:pt>
                <c:pt idx="15872" formatCode="0.0%">
                  <c:v>0.15302248770886615</c:v>
                </c:pt>
                <c:pt idx="15873" formatCode="0.0%">
                  <c:v>0.15275947409343293</c:v>
                </c:pt>
                <c:pt idx="15874" formatCode="0.0%">
                  <c:v>0.1541331658288301</c:v>
                </c:pt>
                <c:pt idx="15875" formatCode="0.0%">
                  <c:v>0.15416419370880963</c:v>
                </c:pt>
                <c:pt idx="15876" formatCode="0.0%">
                  <c:v>0.16257886711460465</c:v>
                </c:pt>
                <c:pt idx="15877" formatCode="0.0%">
                  <c:v>0.15046700119976794</c:v>
                </c:pt>
                <c:pt idx="15878" formatCode="0.0%">
                  <c:v>0.15327202450189051</c:v>
                </c:pt>
                <c:pt idx="15879" formatCode="0.0%">
                  <c:v>0.15944894065370158</c:v>
                </c:pt>
                <c:pt idx="15880" formatCode="0.0%">
                  <c:v>0.16402299290580971</c:v>
                </c:pt>
                <c:pt idx="15881" formatCode="0.0%">
                  <c:v>0.16314226290739298</c:v>
                </c:pt>
                <c:pt idx="15882" formatCode="0.0%">
                  <c:v>0.15229271818872916</c:v>
                </c:pt>
                <c:pt idx="15883" formatCode="0.0%">
                  <c:v>0.15606172565650889</c:v>
                </c:pt>
                <c:pt idx="15884" formatCode="0.0%">
                  <c:v>0.1560835503213944</c:v>
                </c:pt>
                <c:pt idx="15885" formatCode="0.0%">
                  <c:v>0.16009499061554172</c:v>
                </c:pt>
                <c:pt idx="15886" formatCode="0.0%">
                  <c:v>0.1397073664674601</c:v>
                </c:pt>
                <c:pt idx="15887" formatCode="0.0%">
                  <c:v>0.14774470152746663</c:v>
                </c:pt>
                <c:pt idx="15888" formatCode="0.0%">
                  <c:v>0.14756578173016968</c:v>
                </c:pt>
                <c:pt idx="15889" formatCode="0.0%">
                  <c:v>0.1408497550504034</c:v>
                </c:pt>
                <c:pt idx="15890" formatCode="0.0%">
                  <c:v>0.13783314371210914</c:v>
                </c:pt>
                <c:pt idx="15891" formatCode="0.0%">
                  <c:v>0.13117346327422622</c:v>
                </c:pt>
                <c:pt idx="15892" formatCode="0.0%">
                  <c:v>0.13135302289495485</c:v>
                </c:pt>
                <c:pt idx="15893" formatCode="0.0%">
                  <c:v>0.13194277339459173</c:v>
                </c:pt>
                <c:pt idx="15894" formatCode="0.0%">
                  <c:v>0.14811794331371633</c:v>
                </c:pt>
                <c:pt idx="15895" formatCode="0.0%">
                  <c:v>0.14828840325451925</c:v>
                </c:pt>
                <c:pt idx="15896" formatCode="0.0%">
                  <c:v>0.1403323715866355</c:v>
                </c:pt>
                <c:pt idx="15897" formatCode="0.0%">
                  <c:v>0.13734994080314938</c:v>
                </c:pt>
                <c:pt idx="15898" formatCode="0.0%">
                  <c:v>0.14414304849633361</c:v>
                </c:pt>
                <c:pt idx="15899" formatCode="0.0%">
                  <c:v>0.140484454006082</c:v>
                </c:pt>
                <c:pt idx="15900" formatCode="0.0%">
                  <c:v>0.13811167792032003</c:v>
                </c:pt>
                <c:pt idx="15901" formatCode="0.0%">
                  <c:v>0.14167180427869236</c:v>
                </c:pt>
                <c:pt idx="15902" formatCode="0.0%">
                  <c:v>0.14155481429534034</c:v>
                </c:pt>
                <c:pt idx="15903" formatCode="0.0%">
                  <c:v>0.13843924911156041</c:v>
                </c:pt>
                <c:pt idx="15904" formatCode="0.0%">
                  <c:v>0.14081958587714291</c:v>
                </c:pt>
                <c:pt idx="15905" formatCode="0.0%">
                  <c:v>0.13657817839793487</c:v>
                </c:pt>
                <c:pt idx="15906" formatCode="0.0%">
                  <c:v>0.13605930447799655</c:v>
                </c:pt>
                <c:pt idx="15907" formatCode="0.0%">
                  <c:v>0.1336287686780451</c:v>
                </c:pt>
                <c:pt idx="15908" formatCode="0.0%">
                  <c:v>0.13560613140050942</c:v>
                </c:pt>
                <c:pt idx="15909" formatCode="0.0%">
                  <c:v>0.13714032189798753</c:v>
                </c:pt>
                <c:pt idx="15910" formatCode="0.0%">
                  <c:v>0.13689956847503668</c:v>
                </c:pt>
                <c:pt idx="15911" formatCode="0.0%">
                  <c:v>0.13656234023394742</c:v>
                </c:pt>
                <c:pt idx="15912" formatCode="0.0%">
                  <c:v>0.13734973455129917</c:v>
                </c:pt>
                <c:pt idx="15913" formatCode="0.0%">
                  <c:v>0.1359089439833969</c:v>
                </c:pt>
                <c:pt idx="15914" formatCode="0.0%">
                  <c:v>0.11564708921325209</c:v>
                </c:pt>
                <c:pt idx="15915" formatCode="0.0%">
                  <c:v>0.11745034925417176</c:v>
                </c:pt>
                <c:pt idx="15916" formatCode="0.0%">
                  <c:v>0.11421967342635297</c:v>
                </c:pt>
                <c:pt idx="15917" formatCode="0.0%">
                  <c:v>0.10937863722894245</c:v>
                </c:pt>
                <c:pt idx="15918" formatCode="0.0%">
                  <c:v>0.11228267981551311</c:v>
                </c:pt>
                <c:pt idx="15919" formatCode="0.0%">
                  <c:v>0.11499639382985055</c:v>
                </c:pt>
                <c:pt idx="15920" formatCode="0.0%">
                  <c:v>0.11633952509812823</c:v>
                </c:pt>
                <c:pt idx="15921" formatCode="0.0%">
                  <c:v>0.11820094381391186</c:v>
                </c:pt>
                <c:pt idx="15922" formatCode="0.0%">
                  <c:v>0.11795328617924608</c:v>
                </c:pt>
                <c:pt idx="15923" formatCode="0.0%">
                  <c:v>0.11936232801448055</c:v>
                </c:pt>
                <c:pt idx="15924" formatCode="0.0%">
                  <c:v>0.13369701554129926</c:v>
                </c:pt>
                <c:pt idx="15925" formatCode="0.0%">
                  <c:v>0.12516986720952347</c:v>
                </c:pt>
                <c:pt idx="15926" formatCode="0.0%">
                  <c:v>0.12529688509616854</c:v>
                </c:pt>
                <c:pt idx="15927" formatCode="0.0%">
                  <c:v>0.12148180506260785</c:v>
                </c:pt>
                <c:pt idx="15928" formatCode="0.0%">
                  <c:v>0.11899701570385686</c:v>
                </c:pt>
                <c:pt idx="15929" formatCode="0.0%">
                  <c:v>0.13906409271136033</c:v>
                </c:pt>
                <c:pt idx="15930" formatCode="0.0%">
                  <c:v>0.13905273817788105</c:v>
                </c:pt>
                <c:pt idx="15931" formatCode="0.0%">
                  <c:v>0.1420034843216918</c:v>
                </c:pt>
                <c:pt idx="15932" formatCode="0.0%">
                  <c:v>0.14227963552393152</c:v>
                </c:pt>
                <c:pt idx="15933" formatCode="0.0%">
                  <c:v>0.14298639492824447</c:v>
                </c:pt>
                <c:pt idx="15934" formatCode="0.0%">
                  <c:v>0.14377541762507876</c:v>
                </c:pt>
                <c:pt idx="15935" formatCode="0.0%">
                  <c:v>0.14147905947670095</c:v>
                </c:pt>
                <c:pt idx="15936" formatCode="0.0%">
                  <c:v>0.13601116240047548</c:v>
                </c:pt>
                <c:pt idx="15937" formatCode="0.0%">
                  <c:v>0.13918943501726663</c:v>
                </c:pt>
                <c:pt idx="15938" formatCode="0.0%">
                  <c:v>0.13352167028432235</c:v>
                </c:pt>
                <c:pt idx="15939" formatCode="0.0%">
                  <c:v>0.1321319418160552</c:v>
                </c:pt>
                <c:pt idx="15940" formatCode="0.0%">
                  <c:v>0.1312644872700901</c:v>
                </c:pt>
                <c:pt idx="15941" formatCode="0.0%">
                  <c:v>0.13121502501775531</c:v>
                </c:pt>
                <c:pt idx="15942" formatCode="0.0%">
                  <c:v>0.13211501549968355</c:v>
                </c:pt>
                <c:pt idx="15943" formatCode="0.0%">
                  <c:v>0.13169616682588464</c:v>
                </c:pt>
                <c:pt idx="15944" formatCode="0.0%">
                  <c:v>0.11759740060528673</c:v>
                </c:pt>
                <c:pt idx="15945" formatCode="0.0%">
                  <c:v>0.11795919412554179</c:v>
                </c:pt>
                <c:pt idx="15946" formatCode="0.0%">
                  <c:v>0.11922481849720289</c:v>
                </c:pt>
                <c:pt idx="15947" formatCode="0.0%">
                  <c:v>0.11693965642598864</c:v>
                </c:pt>
                <c:pt idx="15948" formatCode="0.0%">
                  <c:v>0.11246664487921806</c:v>
                </c:pt>
                <c:pt idx="15949" formatCode="0.0%">
                  <c:v>9.8848592790886591E-2</c:v>
                </c:pt>
                <c:pt idx="15950" formatCode="0.0%">
                  <c:v>9.8629862433363011E-2</c:v>
                </c:pt>
                <c:pt idx="15951" formatCode="0.0%">
                  <c:v>8.8139752770162658E-2</c:v>
                </c:pt>
                <c:pt idx="15952" formatCode="0.0%">
                  <c:v>8.833081593739367E-2</c:v>
                </c:pt>
                <c:pt idx="15953" formatCode="0.0%">
                  <c:v>8.5785073077242077E-2</c:v>
                </c:pt>
                <c:pt idx="15954" formatCode="0.0%">
                  <c:v>9.5148570391728457E-2</c:v>
                </c:pt>
                <c:pt idx="15955" formatCode="0.0%">
                  <c:v>9.4860715390537198E-2</c:v>
                </c:pt>
                <c:pt idx="15956" formatCode="0.0%">
                  <c:v>9.6406829953912296E-2</c:v>
                </c:pt>
                <c:pt idx="15957" formatCode="0.0%">
                  <c:v>9.5923268319250909E-2</c:v>
                </c:pt>
                <c:pt idx="15958" formatCode="0.0%">
                  <c:v>9.4477596906895722E-2</c:v>
                </c:pt>
                <c:pt idx="15959" formatCode="0.0%">
                  <c:v>9.4527020003907655E-2</c:v>
                </c:pt>
                <c:pt idx="15960" formatCode="0.0%">
                  <c:v>9.4246196898874299E-2</c:v>
                </c:pt>
                <c:pt idx="15961" formatCode="0.0%">
                  <c:v>8.7152574892086443E-2</c:v>
                </c:pt>
                <c:pt idx="15962" formatCode="0.0%">
                  <c:v>9.3704724709797599E-2</c:v>
                </c:pt>
                <c:pt idx="15963" formatCode="0.0%">
                  <c:v>0.1265722619611013</c:v>
                </c:pt>
                <c:pt idx="15964" formatCode="0.0%">
                  <c:v>0.12621449975689522</c:v>
                </c:pt>
                <c:pt idx="15965" formatCode="0.0%">
                  <c:v>0.16241601344750289</c:v>
                </c:pt>
                <c:pt idx="15966" formatCode="0.0%">
                  <c:v>0.1615349264479411</c:v>
                </c:pt>
                <c:pt idx="15967" formatCode="0.0%">
                  <c:v>0.16276101372895199</c:v>
                </c:pt>
                <c:pt idx="15968" formatCode="0.0%">
                  <c:v>0.16224389542213305</c:v>
                </c:pt>
                <c:pt idx="15969" formatCode="0.0%">
                  <c:v>0.15994001963636187</c:v>
                </c:pt>
                <c:pt idx="15970" formatCode="0.0%">
                  <c:v>0.16248414586323276</c:v>
                </c:pt>
                <c:pt idx="15971" formatCode="0.0%">
                  <c:v>0.1622340513833086</c:v>
                </c:pt>
                <c:pt idx="15972" formatCode="0.0%">
                  <c:v>0.16276973545568499</c:v>
                </c:pt>
                <c:pt idx="15973" formatCode="0.0%">
                  <c:v>0.16458545398859206</c:v>
                </c:pt>
                <c:pt idx="15974" formatCode="0.0%">
                  <c:v>0.15809358897855277</c:v>
                </c:pt>
                <c:pt idx="15975" formatCode="0.0%">
                  <c:v>0.15826092546906639</c:v>
                </c:pt>
                <c:pt idx="15976" formatCode="0.0%">
                  <c:v>0.15786426613324295</c:v>
                </c:pt>
                <c:pt idx="15977" formatCode="0.0%">
                  <c:v>0.15655919099583182</c:v>
                </c:pt>
                <c:pt idx="15978" formatCode="0.0%">
                  <c:v>0.1606940222876431</c:v>
                </c:pt>
                <c:pt idx="15979" formatCode="0.0%">
                  <c:v>0.15995512263619655</c:v>
                </c:pt>
                <c:pt idx="15980" formatCode="0.0%">
                  <c:v>0.16152667713293223</c:v>
                </c:pt>
                <c:pt idx="15981" formatCode="0.0%">
                  <c:v>0.16492499210524103</c:v>
                </c:pt>
                <c:pt idx="15982" formatCode="0.0%">
                  <c:v>0.16289199077566036</c:v>
                </c:pt>
                <c:pt idx="15983" formatCode="0.0%">
                  <c:v>0.13632972201786009</c:v>
                </c:pt>
                <c:pt idx="15984" formatCode="0.0%">
                  <c:v>0.13444138003359551</c:v>
                </c:pt>
                <c:pt idx="15985" formatCode="0.0%">
                  <c:v>8.4721302603507104E-2</c:v>
                </c:pt>
                <c:pt idx="15986" formatCode="0.0%">
                  <c:v>8.4445476966947167E-2</c:v>
                </c:pt>
                <c:pt idx="15987" formatCode="0.0%">
                  <c:v>8.0907309119961607E-2</c:v>
                </c:pt>
                <c:pt idx="15988" formatCode="0.0%">
                  <c:v>8.3392137539364738E-2</c:v>
                </c:pt>
                <c:pt idx="15989" formatCode="0.0%">
                  <c:v>8.3419798858027389E-2</c:v>
                </c:pt>
                <c:pt idx="15990" formatCode="0.0%">
                  <c:v>7.4852780078220979E-2</c:v>
                </c:pt>
                <c:pt idx="15991" formatCode="0.0%">
                  <c:v>7.4785483426900695E-2</c:v>
                </c:pt>
                <c:pt idx="15992" formatCode="0.0%">
                  <c:v>7.7963092240034365E-2</c:v>
                </c:pt>
                <c:pt idx="15993" formatCode="0.0%">
                  <c:v>7.4335670372846233E-2</c:v>
                </c:pt>
                <c:pt idx="15994" formatCode="0.0%">
                  <c:v>7.2223143647915794E-2</c:v>
                </c:pt>
                <c:pt idx="15995" formatCode="0.0%">
                  <c:v>7.9676635884533165E-2</c:v>
                </c:pt>
                <c:pt idx="15996" formatCode="0.0%">
                  <c:v>8.433713242168614E-2</c:v>
                </c:pt>
                <c:pt idx="15997" formatCode="0.0%">
                  <c:v>8.5275399262642729E-2</c:v>
                </c:pt>
                <c:pt idx="15998" formatCode="0.0%">
                  <c:v>7.919417324878425E-2</c:v>
                </c:pt>
                <c:pt idx="15999" formatCode="0.0%">
                  <c:v>8.5941202674699554E-2</c:v>
                </c:pt>
                <c:pt idx="16000" formatCode="0.0%">
                  <c:v>9.1340687418857994E-2</c:v>
                </c:pt>
                <c:pt idx="16001" formatCode="0.0%">
                  <c:v>8.5723349813421279E-2</c:v>
                </c:pt>
                <c:pt idx="16002" formatCode="0.0%">
                  <c:v>9.5940067927663006E-2</c:v>
                </c:pt>
                <c:pt idx="16003" formatCode="0.0%">
                  <c:v>0.10428376083129526</c:v>
                </c:pt>
                <c:pt idx="16004" formatCode="0.0%">
                  <c:v>0.10464777915952199</c:v>
                </c:pt>
                <c:pt idx="16005" formatCode="0.0%">
                  <c:v>0.10512235872171184</c:v>
                </c:pt>
                <c:pt idx="16006" formatCode="0.0%">
                  <c:v>0.10516613021149208</c:v>
                </c:pt>
                <c:pt idx="16007" formatCode="0.0%">
                  <c:v>0.10609291820995939</c:v>
                </c:pt>
                <c:pt idx="16008" formatCode="0.0%">
                  <c:v>0.10708046080612041</c:v>
                </c:pt>
                <c:pt idx="16009" formatCode="0.0%">
                  <c:v>0.1067776955136748</c:v>
                </c:pt>
                <c:pt idx="16010" formatCode="0.0%">
                  <c:v>0.11006943005162481</c:v>
                </c:pt>
                <c:pt idx="16011" formatCode="0.0%">
                  <c:v>0.11021904706184872</c:v>
                </c:pt>
                <c:pt idx="16012" formatCode="0.0%">
                  <c:v>0.11965339854511561</c:v>
                </c:pt>
                <c:pt idx="16013" formatCode="0.0%">
                  <c:v>0.12034439783386232</c:v>
                </c:pt>
                <c:pt idx="16014" formatCode="0.0%">
                  <c:v>0.12050177898188749</c:v>
                </c:pt>
                <c:pt idx="16015" formatCode="0.0%">
                  <c:v>0.11437382969501882</c:v>
                </c:pt>
                <c:pt idx="16016" formatCode="0.0%">
                  <c:v>0.10990227303768164</c:v>
                </c:pt>
                <c:pt idx="16017" formatCode="0.0%">
                  <c:v>0.10874853172447796</c:v>
                </c:pt>
                <c:pt idx="16018" formatCode="0.0%">
                  <c:v>0.11021184694721953</c:v>
                </c:pt>
                <c:pt idx="16019" formatCode="0.0%">
                  <c:v>0.1020180370651711</c:v>
                </c:pt>
                <c:pt idx="16020" formatCode="0.0%">
                  <c:v>0.10167008465913234</c:v>
                </c:pt>
                <c:pt idx="16021" formatCode="0.0%">
                  <c:v>0.10252033663358763</c:v>
                </c:pt>
                <c:pt idx="16022" formatCode="0.0%">
                  <c:v>9.2918137703200565E-2</c:v>
                </c:pt>
                <c:pt idx="16023" formatCode="0.0%">
                  <c:v>8.9396714956308687E-2</c:v>
                </c:pt>
                <c:pt idx="16024" formatCode="0.0%">
                  <c:v>8.8334116680656147E-2</c:v>
                </c:pt>
                <c:pt idx="16025" formatCode="0.0%">
                  <c:v>8.7838629466502921E-2</c:v>
                </c:pt>
                <c:pt idx="16026" formatCode="0.0%">
                  <c:v>0.16061462040301702</c:v>
                </c:pt>
                <c:pt idx="16027" formatCode="0.0%">
                  <c:v>0.16190127496796988</c:v>
                </c:pt>
                <c:pt idx="16028" formatCode="0.0%">
                  <c:v>0.16925451526069205</c:v>
                </c:pt>
                <c:pt idx="16029" formatCode="0.0%">
                  <c:v>0.16922779503774621</c:v>
                </c:pt>
                <c:pt idx="16030" formatCode="0.0%">
                  <c:v>0.16854871857902068</c:v>
                </c:pt>
                <c:pt idx="16031" formatCode="0.0%">
                  <c:v>0.17199447722811795</c:v>
                </c:pt>
                <c:pt idx="16032" formatCode="0.0%">
                  <c:v>0.16284995376552416</c:v>
                </c:pt>
                <c:pt idx="16033" formatCode="0.0%">
                  <c:v>0.16407472702690001</c:v>
                </c:pt>
                <c:pt idx="16034" formatCode="0.0%">
                  <c:v>0.16287851745471918</c:v>
                </c:pt>
                <c:pt idx="16035" formatCode="0.0%">
                  <c:v>0.16291840586268427</c:v>
                </c:pt>
                <c:pt idx="16036" formatCode="0.0%">
                  <c:v>0.17570072151432856</c:v>
                </c:pt>
                <c:pt idx="16037" formatCode="0.0%">
                  <c:v>0.17562544903306224</c:v>
                </c:pt>
                <c:pt idx="16038" formatCode="0.0%">
                  <c:v>0.17536732278532488</c:v>
                </c:pt>
                <c:pt idx="16039" formatCode="0.0%">
                  <c:v>0.17577583059411053</c:v>
                </c:pt>
                <c:pt idx="16040" formatCode="0.0%">
                  <c:v>0.17236062015400203</c:v>
                </c:pt>
                <c:pt idx="16041" formatCode="0.0%">
                  <c:v>0.17236222457804215</c:v>
                </c:pt>
                <c:pt idx="16042" formatCode="0.0%">
                  <c:v>0.17215479073307768</c:v>
                </c:pt>
                <c:pt idx="16043" formatCode="0.0%">
                  <c:v>0.16720202642899204</c:v>
                </c:pt>
                <c:pt idx="16044" formatCode="0.0%">
                  <c:v>0.17258908021598229</c:v>
                </c:pt>
                <c:pt idx="16045" formatCode="0.0%">
                  <c:v>0.1759372749341413</c:v>
                </c:pt>
                <c:pt idx="16046" formatCode="0.0%">
                  <c:v>0.114943385297542</c:v>
                </c:pt>
                <c:pt idx="16047" formatCode="0.0%">
                  <c:v>0.11334959013121496</c:v>
                </c:pt>
                <c:pt idx="16048" formatCode="0.0%">
                  <c:v>9.8879206267550257E-2</c:v>
                </c:pt>
                <c:pt idx="16049" formatCode="0.0%">
                  <c:v>9.8941862692176169E-2</c:v>
                </c:pt>
                <c:pt idx="16050" formatCode="0.0%">
                  <c:v>0.106099941642484</c:v>
                </c:pt>
                <c:pt idx="16051" formatCode="0.0%">
                  <c:v>0.12810551922642416</c:v>
                </c:pt>
                <c:pt idx="16052" formatCode="0.0%">
                  <c:v>0.12740604549193338</c:v>
                </c:pt>
                <c:pt idx="16053" formatCode="0.0%">
                  <c:v>0.13227470771363128</c:v>
                </c:pt>
                <c:pt idx="16054" formatCode="0.0%">
                  <c:v>0.12953276674549391</c:v>
                </c:pt>
                <c:pt idx="16055" formatCode="0.0%">
                  <c:v>0.1401076960172884</c:v>
                </c:pt>
                <c:pt idx="16056" formatCode="0.0%">
                  <c:v>0.13361916971656121</c:v>
                </c:pt>
                <c:pt idx="16057" formatCode="0.0%">
                  <c:v>0.13285968655437633</c:v>
                </c:pt>
                <c:pt idx="16058" formatCode="0.0%">
                  <c:v>0.13034197684290194</c:v>
                </c:pt>
                <c:pt idx="16059" formatCode="0.0%">
                  <c:v>0.12639272853099684</c:v>
                </c:pt>
                <c:pt idx="16060" formatCode="0.0%">
                  <c:v>0.12844556338361454</c:v>
                </c:pt>
                <c:pt idx="16061" formatCode="0.0%">
                  <c:v>0.12636470342307468</c:v>
                </c:pt>
                <c:pt idx="16062" formatCode="0.0%">
                  <c:v>0.12650494935910586</c:v>
                </c:pt>
                <c:pt idx="16063" formatCode="0.0%">
                  <c:v>0.1311126273090098</c:v>
                </c:pt>
                <c:pt idx="16064" formatCode="0.0%">
                  <c:v>0.13143570518460881</c:v>
                </c:pt>
                <c:pt idx="16065" formatCode="0.0%">
                  <c:v>0.13616359200513348</c:v>
                </c:pt>
                <c:pt idx="16066" formatCode="0.0%">
                  <c:v>0.1358384720328486</c:v>
                </c:pt>
                <c:pt idx="16067" formatCode="0.0%">
                  <c:v>0.13737328062359222</c:v>
                </c:pt>
                <c:pt idx="16068" formatCode="0.0%">
                  <c:v>0.13747117508474391</c:v>
                </c:pt>
                <c:pt idx="16069" formatCode="0.0%">
                  <c:v>0.14031963761087507</c:v>
                </c:pt>
                <c:pt idx="16070" formatCode="0.0%">
                  <c:v>0.14481942835155753</c:v>
                </c:pt>
                <c:pt idx="16071" formatCode="0.0%">
                  <c:v>0.12623705456506776</c:v>
                </c:pt>
                <c:pt idx="16072" formatCode="0.0%">
                  <c:v>0.13043645128138928</c:v>
                </c:pt>
                <c:pt idx="16073" formatCode="0.0%">
                  <c:v>0.12278019321409167</c:v>
                </c:pt>
                <c:pt idx="16074" formatCode="0.0%">
                  <c:v>0.12264655785497379</c:v>
                </c:pt>
                <c:pt idx="16075" formatCode="0.0%">
                  <c:v>9.6986174947277168E-2</c:v>
                </c:pt>
                <c:pt idx="16076" formatCode="0.0%">
                  <c:v>0.10296209373671257</c:v>
                </c:pt>
                <c:pt idx="16077" formatCode="0.0%">
                  <c:v>0.10384516592798433</c:v>
                </c:pt>
                <c:pt idx="16078" formatCode="0.0%">
                  <c:v>0.10384329505624824</c:v>
                </c:pt>
                <c:pt idx="16079" formatCode="0.0%">
                  <c:v>0.10410542292285702</c:v>
                </c:pt>
                <c:pt idx="16080" formatCode="0.0%">
                  <c:v>0.11180996866846099</c:v>
                </c:pt>
                <c:pt idx="16081" formatCode="0.0%">
                  <c:v>0.11154848386505349</c:v>
                </c:pt>
                <c:pt idx="16082" formatCode="0.0%">
                  <c:v>0.11153156636316584</c:v>
                </c:pt>
                <c:pt idx="16083" formatCode="0.0%">
                  <c:v>0.11194175688867999</c:v>
                </c:pt>
                <c:pt idx="16084" formatCode="0.0%">
                  <c:v>0.11448881639887584</c:v>
                </c:pt>
                <c:pt idx="16085" formatCode="0.0%">
                  <c:v>0.10052814587139607</c:v>
                </c:pt>
                <c:pt idx="16086" formatCode="0.0%">
                  <c:v>0.10531155252695235</c:v>
                </c:pt>
                <c:pt idx="16087" formatCode="0.0%">
                  <c:v>0.10713470698917209</c:v>
                </c:pt>
                <c:pt idx="16088" formatCode="0.0%">
                  <c:v>0.10715283775903985</c:v>
                </c:pt>
                <c:pt idx="16089" formatCode="0.0%">
                  <c:v>0.11357960336431566</c:v>
                </c:pt>
                <c:pt idx="16090" formatCode="0.0%">
                  <c:v>0.11015236319844485</c:v>
                </c:pt>
                <c:pt idx="16091" formatCode="0.0%">
                  <c:v>0.11099694614372478</c:v>
                </c:pt>
                <c:pt idx="16092" formatCode="0.0%">
                  <c:v>0.10971243654811486</c:v>
                </c:pt>
                <c:pt idx="16093" formatCode="0.0%">
                  <c:v>0.10988631591024808</c:v>
                </c:pt>
                <c:pt idx="16094" formatCode="0.0%">
                  <c:v>0.11079622961072691</c:v>
                </c:pt>
                <c:pt idx="16095" formatCode="0.0%">
                  <c:v>0.11926156926110858</c:v>
                </c:pt>
                <c:pt idx="16096" formatCode="0.0%">
                  <c:v>0.11262444122389136</c:v>
                </c:pt>
                <c:pt idx="16097" formatCode="0.0%">
                  <c:v>0.11270314864058216</c:v>
                </c:pt>
                <c:pt idx="16098" formatCode="0.0%">
                  <c:v>0.10964907221709663</c:v>
                </c:pt>
                <c:pt idx="16099" formatCode="0.0%">
                  <c:v>0.10955114067099718</c:v>
                </c:pt>
                <c:pt idx="16100" formatCode="0.0%">
                  <c:v>0.10712943283104284</c:v>
                </c:pt>
                <c:pt idx="16101" formatCode="0.0%">
                  <c:v>0.10944752954944315</c:v>
                </c:pt>
                <c:pt idx="16102" formatCode="0.0%">
                  <c:v>0.11039739119102765</c:v>
                </c:pt>
                <c:pt idx="16103" formatCode="0.0%">
                  <c:v>0.10892875557032169</c:v>
                </c:pt>
                <c:pt idx="16104" formatCode="0.0%">
                  <c:v>0.10716190371469722</c:v>
                </c:pt>
                <c:pt idx="16105" formatCode="0.0%">
                  <c:v>0.10933654039030093</c:v>
                </c:pt>
                <c:pt idx="16106" formatCode="0.0%">
                  <c:v>0.1037734135129646</c:v>
                </c:pt>
                <c:pt idx="16107" formatCode="0.0%">
                  <c:v>0.10302249083049092</c:v>
                </c:pt>
                <c:pt idx="16108" formatCode="0.0%">
                  <c:v>0.10305742850515907</c:v>
                </c:pt>
                <c:pt idx="16109" formatCode="0.0%">
                  <c:v>9.7499865376581493E-2</c:v>
                </c:pt>
                <c:pt idx="16110" formatCode="0.0%">
                  <c:v>9.7340607705848403E-2</c:v>
                </c:pt>
                <c:pt idx="16111" formatCode="0.0%">
                  <c:v>8.3362694027092413E-2</c:v>
                </c:pt>
                <c:pt idx="16112" formatCode="0.0%">
                  <c:v>8.2026514153205929E-2</c:v>
                </c:pt>
                <c:pt idx="16113" formatCode="0.0%">
                  <c:v>8.2506299316280368E-2</c:v>
                </c:pt>
                <c:pt idx="16114" formatCode="0.0%">
                  <c:v>8.1509098634245755E-2</c:v>
                </c:pt>
                <c:pt idx="16115" formatCode="0.0%">
                  <c:v>6.8502386472524851E-2</c:v>
                </c:pt>
                <c:pt idx="16116" formatCode="0.0%">
                  <c:v>6.8038718235913453E-2</c:v>
                </c:pt>
                <c:pt idx="16117" formatCode="0.0%">
                  <c:v>7.6558250662916313E-2</c:v>
                </c:pt>
                <c:pt idx="16118" formatCode="0.0%">
                  <c:v>7.6534069205906108E-2</c:v>
                </c:pt>
                <c:pt idx="16119" formatCode="0.0%">
                  <c:v>7.685207656128494E-2</c:v>
                </c:pt>
                <c:pt idx="16120" formatCode="0.0%">
                  <c:v>7.202155891804532E-2</c:v>
                </c:pt>
                <c:pt idx="16121" formatCode="0.0%">
                  <c:v>7.5167555151969656E-2</c:v>
                </c:pt>
                <c:pt idx="16122" formatCode="0.0%">
                  <c:v>7.4218837616275776E-2</c:v>
                </c:pt>
                <c:pt idx="16123" formatCode="0.0%">
                  <c:v>8.2602301628819597E-2</c:v>
                </c:pt>
                <c:pt idx="16124" formatCode="0.0%">
                  <c:v>0.104572163583074</c:v>
                </c:pt>
                <c:pt idx="16125" formatCode="0.0%">
                  <c:v>0.1062412465737012</c:v>
                </c:pt>
                <c:pt idx="16126" formatCode="0.0%">
                  <c:v>0.12158830763321089</c:v>
                </c:pt>
                <c:pt idx="16127" formatCode="0.0%">
                  <c:v>0.12490199689267485</c:v>
                </c:pt>
                <c:pt idx="16128" formatCode="0.0%">
                  <c:v>0.12587436771334931</c:v>
                </c:pt>
                <c:pt idx="16129" formatCode="0.0%">
                  <c:v>0.13474520961200143</c:v>
                </c:pt>
                <c:pt idx="16130" formatCode="0.0%">
                  <c:v>0.13836112174285081</c:v>
                </c:pt>
                <c:pt idx="16131" formatCode="0.0%">
                  <c:v>0.1384212048031688</c:v>
                </c:pt>
                <c:pt idx="16132" formatCode="0.0%">
                  <c:v>0.14773801925874194</c:v>
                </c:pt>
                <c:pt idx="16133" formatCode="0.0%">
                  <c:v>0.14724109939936592</c:v>
                </c:pt>
                <c:pt idx="16134" formatCode="0.0%">
                  <c:v>0.14700007801871945</c:v>
                </c:pt>
                <c:pt idx="16135" formatCode="0.0%">
                  <c:v>0.14714396814672853</c:v>
                </c:pt>
                <c:pt idx="16136" formatCode="0.0%">
                  <c:v>0.14908718667127299</c:v>
                </c:pt>
                <c:pt idx="16137" formatCode="0.0%">
                  <c:v>0.14362288210067758</c:v>
                </c:pt>
                <c:pt idx="16138" formatCode="0.0%">
                  <c:v>0.14349268314079308</c:v>
                </c:pt>
                <c:pt idx="16139" formatCode="0.0%">
                  <c:v>0.1452279265377634</c:v>
                </c:pt>
                <c:pt idx="16140" formatCode="0.0%">
                  <c:v>0.14681883174326302</c:v>
                </c:pt>
                <c:pt idx="16141" formatCode="0.0%">
                  <c:v>0.14402498509193809</c:v>
                </c:pt>
                <c:pt idx="16142" formatCode="0.0%">
                  <c:v>0.14757393987678244</c:v>
                </c:pt>
                <c:pt idx="16143" formatCode="0.0%">
                  <c:v>0.14452453329916767</c:v>
                </c:pt>
                <c:pt idx="16144" formatCode="0.0%">
                  <c:v>0.12379035065131951</c:v>
                </c:pt>
                <c:pt idx="16145" formatCode="0.0%">
                  <c:v>0.11781809341627145</c:v>
                </c:pt>
                <c:pt idx="16146" formatCode="0.0%">
                  <c:v>0.10778748288782647</c:v>
                </c:pt>
                <c:pt idx="16147" formatCode="0.0%">
                  <c:v>0.1055232273179669</c:v>
                </c:pt>
                <c:pt idx="16148" formatCode="0.0%">
                  <c:v>0.10782450042610395</c:v>
                </c:pt>
                <c:pt idx="16149" formatCode="0.0%">
                  <c:v>9.3914667389714837E-2</c:v>
                </c:pt>
                <c:pt idx="16150" formatCode="0.0%">
                  <c:v>9.2309706196862046E-2</c:v>
                </c:pt>
                <c:pt idx="16151" formatCode="0.0%">
                  <c:v>9.5630619470420675E-2</c:v>
                </c:pt>
                <c:pt idx="16152" formatCode="0.0%">
                  <c:v>8.449312593550426E-2</c:v>
                </c:pt>
                <c:pt idx="16153" formatCode="0.0%">
                  <c:v>8.9436133017073247E-2</c:v>
                </c:pt>
                <c:pt idx="16154" formatCode="0.0%">
                  <c:v>8.9889541413014903E-2</c:v>
                </c:pt>
                <c:pt idx="16155" formatCode="0.0%">
                  <c:v>9.2455165512539142E-2</c:v>
                </c:pt>
                <c:pt idx="16156" formatCode="0.0%">
                  <c:v>8.992283420502363E-2</c:v>
                </c:pt>
                <c:pt idx="16157" formatCode="0.0%">
                  <c:v>9.3027302978016632E-2</c:v>
                </c:pt>
                <c:pt idx="16158" formatCode="0.0%">
                  <c:v>9.3072198278124074E-2</c:v>
                </c:pt>
                <c:pt idx="16159" formatCode="0.0%">
                  <c:v>9.7772884939809943E-2</c:v>
                </c:pt>
                <c:pt idx="16160" formatCode="0.0%">
                  <c:v>9.55354490321495E-2</c:v>
                </c:pt>
                <c:pt idx="16161" formatCode="0.0%">
                  <c:v>9.4218911268462519E-2</c:v>
                </c:pt>
                <c:pt idx="16162" formatCode="0.0%">
                  <c:v>9.2469474139089541E-2</c:v>
                </c:pt>
                <c:pt idx="16163" formatCode="0.0%">
                  <c:v>9.3099156550971229E-2</c:v>
                </c:pt>
                <c:pt idx="16164" formatCode="0.0%">
                  <c:v>9.3678415189486747E-2</c:v>
                </c:pt>
                <c:pt idx="16165" formatCode="0.0%">
                  <c:v>9.3477800359008295E-2</c:v>
                </c:pt>
                <c:pt idx="16166" formatCode="0.0%">
                  <c:v>9.3433991035907951E-2</c:v>
                </c:pt>
                <c:pt idx="16167" formatCode="0.0%">
                  <c:v>9.4243258809099686E-2</c:v>
                </c:pt>
                <c:pt idx="16168" formatCode="0.0%">
                  <c:v>9.5369780133230053E-2</c:v>
                </c:pt>
                <c:pt idx="16169" formatCode="0.0%">
                  <c:v>9.725162707318788E-2</c:v>
                </c:pt>
                <c:pt idx="16170" formatCode="0.0%">
                  <c:v>9.3923414018780987E-2</c:v>
                </c:pt>
                <c:pt idx="16171" formatCode="0.0%">
                  <c:v>9.0333459838601554E-2</c:v>
                </c:pt>
                <c:pt idx="16172" formatCode="0.0%">
                  <c:v>8.8366223190233587E-2</c:v>
                </c:pt>
                <c:pt idx="16173" formatCode="0.0%">
                  <c:v>9.5326300690194696E-2</c:v>
                </c:pt>
                <c:pt idx="16174" formatCode="0.0%">
                  <c:v>9.5454962819533321E-2</c:v>
                </c:pt>
                <c:pt idx="16175" formatCode="0.0%">
                  <c:v>9.8094660972069897E-2</c:v>
                </c:pt>
                <c:pt idx="16176" formatCode="0.0%">
                  <c:v>9.6652186191262035E-2</c:v>
                </c:pt>
                <c:pt idx="16177" formatCode="0.0%">
                  <c:v>9.5266218714824186E-2</c:v>
                </c:pt>
                <c:pt idx="16178" formatCode="0.0%">
                  <c:v>9.4729279198445746E-2</c:v>
                </c:pt>
                <c:pt idx="16179" formatCode="0.0%">
                  <c:v>8.334862320345042E-2</c:v>
                </c:pt>
                <c:pt idx="16180" formatCode="0.0%">
                  <c:v>8.3544354190026829E-2</c:v>
                </c:pt>
                <c:pt idx="16181" formatCode="0.0%">
                  <c:v>9.6955523776349806E-2</c:v>
                </c:pt>
                <c:pt idx="16182" formatCode="0.0%">
                  <c:v>9.2195544309791225E-2</c:v>
                </c:pt>
                <c:pt idx="16183" formatCode="0.0%">
                  <c:v>0.10138047736062103</c:v>
                </c:pt>
                <c:pt idx="16184" formatCode="0.0%">
                  <c:v>0.10119221734031594</c:v>
                </c:pt>
                <c:pt idx="16185" formatCode="0.0%">
                  <c:v>0.10284824041307124</c:v>
                </c:pt>
                <c:pt idx="16186" formatCode="0.0%">
                  <c:v>0.11056016158967928</c:v>
                </c:pt>
                <c:pt idx="16187" formatCode="0.0%">
                  <c:v>0.1074221594561267</c:v>
                </c:pt>
                <c:pt idx="16188" formatCode="0.0%">
                  <c:v>0.10926437816116995</c:v>
                </c:pt>
                <c:pt idx="16189" formatCode="0.0%">
                  <c:v>0.10845598329624001</c:v>
                </c:pt>
                <c:pt idx="16190" formatCode="0.0%">
                  <c:v>0.10838393528191377</c:v>
                </c:pt>
                <c:pt idx="16191" formatCode="0.0%">
                  <c:v>0.11054328849474049</c:v>
                </c:pt>
                <c:pt idx="16192" formatCode="0.0%">
                  <c:v>0.10885474155252924</c:v>
                </c:pt>
                <c:pt idx="16193" formatCode="0.0%">
                  <c:v>9.0978907542494214E-2</c:v>
                </c:pt>
                <c:pt idx="16194" formatCode="0.0%">
                  <c:v>9.212234754279694E-2</c:v>
                </c:pt>
                <c:pt idx="16195" formatCode="0.0%">
                  <c:v>9.2769403609072015E-2</c:v>
                </c:pt>
                <c:pt idx="16196" formatCode="0.0%">
                  <c:v>9.2613365686766494E-2</c:v>
                </c:pt>
                <c:pt idx="16197" formatCode="0.0%">
                  <c:v>9.6981715832946291E-2</c:v>
                </c:pt>
                <c:pt idx="16198" formatCode="0.0%">
                  <c:v>9.7076432214241254E-2</c:v>
                </c:pt>
                <c:pt idx="16199" formatCode="0.0%">
                  <c:v>9.6874182164635683E-2</c:v>
                </c:pt>
                <c:pt idx="16200" formatCode="0.0%">
                  <c:v>9.6963965203506239E-2</c:v>
                </c:pt>
                <c:pt idx="16201" formatCode="0.0%">
                  <c:v>9.8564009267760919E-2</c:v>
                </c:pt>
                <c:pt idx="16202" formatCode="0.0%">
                  <c:v>0.10418744558210558</c:v>
                </c:pt>
                <c:pt idx="16203" formatCode="0.0%">
                  <c:v>9.7981919533630321E-2</c:v>
                </c:pt>
                <c:pt idx="16204" formatCode="0.0%">
                  <c:v>9.6875329490396123E-2</c:v>
                </c:pt>
                <c:pt idx="16205" formatCode="0.0%">
                  <c:v>9.601400613152769E-2</c:v>
                </c:pt>
                <c:pt idx="16206" formatCode="0.0%">
                  <c:v>8.4481045085866291E-2</c:v>
                </c:pt>
                <c:pt idx="16207" formatCode="0.0%">
                  <c:v>8.7896709543265103E-2</c:v>
                </c:pt>
                <c:pt idx="16208" formatCode="0.0%">
                  <c:v>8.4193094493715273E-2</c:v>
                </c:pt>
                <c:pt idx="16209" formatCode="0.0%">
                  <c:v>8.591587959301214E-2</c:v>
                </c:pt>
                <c:pt idx="16210" formatCode="0.0%">
                  <c:v>8.5960032037984524E-2</c:v>
                </c:pt>
                <c:pt idx="16211" formatCode="0.0%">
                  <c:v>8.2936292517343663E-2</c:v>
                </c:pt>
                <c:pt idx="16212" formatCode="0.0%">
                  <c:v>8.3377248446699692E-2</c:v>
                </c:pt>
                <c:pt idx="16213" formatCode="0.0%">
                  <c:v>8.3299664329664042E-2</c:v>
                </c:pt>
                <c:pt idx="16214" formatCode="0.0%">
                  <c:v>8.334648816315153E-2</c:v>
                </c:pt>
                <c:pt idx="16215" formatCode="0.0%">
                  <c:v>8.1316973709299439E-2</c:v>
                </c:pt>
                <c:pt idx="16216" formatCode="0.0%">
                  <c:v>8.1283133683861572E-2</c:v>
                </c:pt>
                <c:pt idx="16217" formatCode="0.0%">
                  <c:v>8.2155853456522529E-2</c:v>
                </c:pt>
                <c:pt idx="16218" formatCode="0.0%">
                  <c:v>8.1868053000234975E-2</c:v>
                </c:pt>
                <c:pt idx="16219" formatCode="0.0%">
                  <c:v>8.7630530758021005E-2</c:v>
                </c:pt>
                <c:pt idx="16220" formatCode="0.0%">
                  <c:v>9.5104845958874029E-2</c:v>
                </c:pt>
                <c:pt idx="16221" formatCode="0.0%">
                  <c:v>7.8833108013236661E-2</c:v>
                </c:pt>
                <c:pt idx="16222" formatCode="0.0%">
                  <c:v>6.8358893044234814E-2</c:v>
                </c:pt>
                <c:pt idx="16223" formatCode="0.0%">
                  <c:v>6.5892213029677502E-2</c:v>
                </c:pt>
                <c:pt idx="16224" formatCode="0.0%">
                  <c:v>6.7422348831072135E-2</c:v>
                </c:pt>
                <c:pt idx="16225" formatCode="0.0%">
                  <c:v>6.6403596125003947E-2</c:v>
                </c:pt>
                <c:pt idx="16226" formatCode="0.0%">
                  <c:v>6.9953097546010187E-2</c:v>
                </c:pt>
                <c:pt idx="16227" formatCode="0.0%">
                  <c:v>7.0813618928163846E-2</c:v>
                </c:pt>
                <c:pt idx="16228" formatCode="0.0%">
                  <c:v>6.9744274567871162E-2</c:v>
                </c:pt>
                <c:pt idx="16229" formatCode="0.0%">
                  <c:v>6.8696083278301498E-2</c:v>
                </c:pt>
                <c:pt idx="16230" formatCode="0.0%">
                  <c:v>7.1760700174448466E-2</c:v>
                </c:pt>
                <c:pt idx="16231" formatCode="0.0%">
                  <c:v>7.4044694888354981E-2</c:v>
                </c:pt>
                <c:pt idx="16232" formatCode="0.0%">
                  <c:v>7.982414830982254E-2</c:v>
                </c:pt>
                <c:pt idx="16233" formatCode="0.0%">
                  <c:v>7.9917825365989653E-2</c:v>
                </c:pt>
                <c:pt idx="16234" formatCode="0.0%">
                  <c:v>9.1325107412971673E-2</c:v>
                </c:pt>
                <c:pt idx="16235" formatCode="0.0%">
                  <c:v>0.1031463251691014</c:v>
                </c:pt>
                <c:pt idx="16236" formatCode="0.0%">
                  <c:v>0.10300436109292076</c:v>
                </c:pt>
                <c:pt idx="16237" formatCode="0.0%">
                  <c:v>9.926850277273612E-2</c:v>
                </c:pt>
                <c:pt idx="16238" formatCode="0.0%">
                  <c:v>0.10225297148395142</c:v>
                </c:pt>
                <c:pt idx="16239" formatCode="0.0%">
                  <c:v>9.7435764161022786E-2</c:v>
                </c:pt>
                <c:pt idx="16240" formatCode="0.0%">
                  <c:v>0.10045240195469385</c:v>
                </c:pt>
                <c:pt idx="16241" formatCode="0.0%">
                  <c:v>0.10031824358289135</c:v>
                </c:pt>
                <c:pt idx="16242" formatCode="0.0%">
                  <c:v>9.9498193693797393E-2</c:v>
                </c:pt>
                <c:pt idx="16243" formatCode="0.0%">
                  <c:v>0.10625408818817783</c:v>
                </c:pt>
                <c:pt idx="16244" formatCode="0.0%">
                  <c:v>0.10744115500193847</c:v>
                </c:pt>
                <c:pt idx="16245" formatCode="0.0%">
                  <c:v>0.10713581666378572</c:v>
                </c:pt>
                <c:pt idx="16246" formatCode="0.0%">
                  <c:v>0.10607499322363843</c:v>
                </c:pt>
                <c:pt idx="16247" formatCode="0.0%">
                  <c:v>0.10558451271191431</c:v>
                </c:pt>
                <c:pt idx="16248" formatCode="0.0%">
                  <c:v>0.11649071328676676</c:v>
                </c:pt>
                <c:pt idx="16249" formatCode="0.0%">
                  <c:v>0.11849215818318445</c:v>
                </c:pt>
                <c:pt idx="16250" formatCode="0.0%">
                  <c:v>0.11689077709100761</c:v>
                </c:pt>
                <c:pt idx="16251" formatCode="0.0%">
                  <c:v>0.11705213916007397</c:v>
                </c:pt>
                <c:pt idx="16252" formatCode="0.0%">
                  <c:v>0.11709250785959255</c:v>
                </c:pt>
                <c:pt idx="16253" formatCode="0.0%">
                  <c:v>0.12347485284169799</c:v>
                </c:pt>
                <c:pt idx="16254" formatCode="0.0%">
                  <c:v>0.12080441131530978</c:v>
                </c:pt>
                <c:pt idx="16255" formatCode="0.0%">
                  <c:v>0.11582248621384436</c:v>
                </c:pt>
                <c:pt idx="16256" formatCode="0.0%">
                  <c:v>0.11578981018422067</c:v>
                </c:pt>
                <c:pt idx="16257" formatCode="0.0%">
                  <c:v>0.11588536139177462</c:v>
                </c:pt>
                <c:pt idx="16258" formatCode="0.0%">
                  <c:v>0.11422703329990491</c:v>
                </c:pt>
                <c:pt idx="16259" formatCode="0.0%">
                  <c:v>0.11876445692711537</c:v>
                </c:pt>
                <c:pt idx="16260" formatCode="0.0%">
                  <c:v>0.11146649304748199</c:v>
                </c:pt>
                <c:pt idx="16261" formatCode="0.0%">
                  <c:v>0.11144176409526575</c:v>
                </c:pt>
                <c:pt idx="16262" formatCode="0.0%">
                  <c:v>0.11111979396058216</c:v>
                </c:pt>
                <c:pt idx="16263" formatCode="0.0%">
                  <c:v>0.10557963365534583</c:v>
                </c:pt>
                <c:pt idx="16264" formatCode="0.0%">
                  <c:v>0.10956695020390644</c:v>
                </c:pt>
                <c:pt idx="16265" formatCode="0.0%">
                  <c:v>0.1095849648638369</c:v>
                </c:pt>
                <c:pt idx="16266" formatCode="0.0%">
                  <c:v>0.11011784944341473</c:v>
                </c:pt>
                <c:pt idx="16267" formatCode="0.0%">
                  <c:v>0.10924055285702224</c:v>
                </c:pt>
                <c:pt idx="16268" formatCode="0.0%">
                  <c:v>9.7370776963904462E-2</c:v>
                </c:pt>
                <c:pt idx="16269" formatCode="0.0%">
                  <c:v>9.7102458185469226E-2</c:v>
                </c:pt>
                <c:pt idx="16270" formatCode="0.0%">
                  <c:v>0.10135304492783212</c:v>
                </c:pt>
                <c:pt idx="16271" formatCode="0.0%">
                  <c:v>0.10078542622112542</c:v>
                </c:pt>
                <c:pt idx="16272" formatCode="0.0%">
                  <c:v>9.7475196535822761E-2</c:v>
                </c:pt>
                <c:pt idx="16273" formatCode="0.0%">
                  <c:v>8.3728705011756333E-2</c:v>
                </c:pt>
                <c:pt idx="16274" formatCode="0.0%">
                  <c:v>7.5068404276529541E-2</c:v>
                </c:pt>
                <c:pt idx="16275" formatCode="0.0%">
                  <c:v>7.4211769331334262E-2</c:v>
                </c:pt>
                <c:pt idx="16276" formatCode="0.0%">
                  <c:v>7.8571034541157742E-2</c:v>
                </c:pt>
                <c:pt idx="16277" formatCode="0.0%">
                  <c:v>7.8485440474613616E-2</c:v>
                </c:pt>
                <c:pt idx="16278" formatCode="0.0%">
                  <c:v>7.7814979315279476E-2</c:v>
                </c:pt>
                <c:pt idx="16279" formatCode="0.0%">
                  <c:v>7.6005981543878109E-2</c:v>
                </c:pt>
                <c:pt idx="16280" formatCode="0.0%">
                  <c:v>7.7304031800822376E-2</c:v>
                </c:pt>
                <c:pt idx="16281" formatCode="0.0%">
                  <c:v>8.2414368296691076E-2</c:v>
                </c:pt>
                <c:pt idx="16282" formatCode="0.0%">
                  <c:v>8.1838628807305414E-2</c:v>
                </c:pt>
                <c:pt idx="16283" formatCode="0.0%">
                  <c:v>8.3794044108989482E-2</c:v>
                </c:pt>
                <c:pt idx="16284" formatCode="0.0%">
                  <c:v>7.9627333309201284E-2</c:v>
                </c:pt>
                <c:pt idx="16285" formatCode="0.0%">
                  <c:v>8.1555054330950616E-2</c:v>
                </c:pt>
                <c:pt idx="16286" formatCode="0.0%">
                  <c:v>8.1476128001227763E-2</c:v>
                </c:pt>
                <c:pt idx="16287" formatCode="0.0%">
                  <c:v>8.1553930965450619E-2</c:v>
                </c:pt>
                <c:pt idx="16288" formatCode="0.0%">
                  <c:v>7.8242815469404439E-2</c:v>
                </c:pt>
                <c:pt idx="16289" formatCode="0.0%">
                  <c:v>7.2515381443813476E-2</c:v>
                </c:pt>
                <c:pt idx="16290" formatCode="0.0%">
                  <c:v>6.7723693904984283E-2</c:v>
                </c:pt>
                <c:pt idx="16291" formatCode="0.0%">
                  <c:v>6.1220006792591125E-2</c:v>
                </c:pt>
                <c:pt idx="16292" formatCode="0.0%">
                  <c:v>6.2275564195360296E-2</c:v>
                </c:pt>
                <c:pt idx="16293" formatCode="0.0%">
                  <c:v>6.4211880590115053E-2</c:v>
                </c:pt>
                <c:pt idx="16294" formatCode="0.0%">
                  <c:v>6.451338804108285E-2</c:v>
                </c:pt>
                <c:pt idx="16295" formatCode="0.0%">
                  <c:v>6.6781524456960437E-2</c:v>
                </c:pt>
                <c:pt idx="16296" formatCode="0.0%">
                  <c:v>6.3754998054397494E-2</c:v>
                </c:pt>
                <c:pt idx="16297" formatCode="0.0%">
                  <c:v>6.4980142822903805E-2</c:v>
                </c:pt>
                <c:pt idx="16298" formatCode="0.0%">
                  <c:v>6.5554513852241758E-2</c:v>
                </c:pt>
                <c:pt idx="16299" formatCode="0.0%">
                  <c:v>6.2863723646084821E-2</c:v>
                </c:pt>
                <c:pt idx="16300" formatCode="0.0%">
                  <c:v>6.2014885727484759E-2</c:v>
                </c:pt>
                <c:pt idx="16301" formatCode="0.0%">
                  <c:v>6.2819001332740002E-2</c:v>
                </c:pt>
                <c:pt idx="16302" formatCode="0.0%">
                  <c:v>7.5684334341151252E-2</c:v>
                </c:pt>
                <c:pt idx="16303" formatCode="0.0%">
                  <c:v>7.4055439243930529E-2</c:v>
                </c:pt>
                <c:pt idx="16304" formatCode="0.0%">
                  <c:v>7.212649380524043E-2</c:v>
                </c:pt>
                <c:pt idx="16305" formatCode="0.0%">
                  <c:v>7.2281184821331473E-2</c:v>
                </c:pt>
                <c:pt idx="16306" formatCode="0.0%">
                  <c:v>7.1737009411394409E-2</c:v>
                </c:pt>
                <c:pt idx="16307" formatCode="0.0%">
                  <c:v>7.2211924062323241E-2</c:v>
                </c:pt>
                <c:pt idx="16308" formatCode="0.0%">
                  <c:v>7.3055810021442902E-2</c:v>
                </c:pt>
                <c:pt idx="16309" formatCode="0.0%">
                  <c:v>7.2733652215870484E-2</c:v>
                </c:pt>
                <c:pt idx="16310" formatCode="0.0%">
                  <c:v>7.7532141223386322E-2</c:v>
                </c:pt>
                <c:pt idx="16311" formatCode="0.0%">
                  <c:v>7.7670667518317041E-2</c:v>
                </c:pt>
                <c:pt idx="16312" formatCode="0.0%">
                  <c:v>7.6590891979588419E-2</c:v>
                </c:pt>
                <c:pt idx="16313" formatCode="0.0%">
                  <c:v>7.1692213914584704E-2</c:v>
                </c:pt>
                <c:pt idx="16314" formatCode="0.0%">
                  <c:v>7.6321799294830239E-2</c:v>
                </c:pt>
                <c:pt idx="16315" formatCode="0.0%">
                  <c:v>7.672027121330284E-2</c:v>
                </c:pt>
                <c:pt idx="16316" formatCode="0.0%">
                  <c:v>7.8611925561938148E-2</c:v>
                </c:pt>
                <c:pt idx="16317" formatCode="0.0%">
                  <c:v>7.8388082155809155E-2</c:v>
                </c:pt>
                <c:pt idx="16318" formatCode="0.0%">
                  <c:v>7.9972908735582271E-2</c:v>
                </c:pt>
                <c:pt idx="16319" formatCode="0.0%">
                  <c:v>8.3340564655725383E-2</c:v>
                </c:pt>
                <c:pt idx="16320" formatCode="0.0%">
                  <c:v>8.3052508859613586E-2</c:v>
                </c:pt>
                <c:pt idx="16321" formatCode="0.0%">
                  <c:v>7.7004868722342648E-2</c:v>
                </c:pt>
                <c:pt idx="16322" formatCode="0.0%">
                  <c:v>6.0397609925911429E-2</c:v>
                </c:pt>
                <c:pt idx="16323" formatCode="0.0%">
                  <c:v>6.1537503274248534E-2</c:v>
                </c:pt>
                <c:pt idx="16324" formatCode="0.0%">
                  <c:v>6.4796053363248812E-2</c:v>
                </c:pt>
                <c:pt idx="16325" formatCode="0.0%">
                  <c:v>6.4527327236829371E-2</c:v>
                </c:pt>
                <c:pt idx="16326" formatCode="0.0%">
                  <c:v>7.2157909423588837E-2</c:v>
                </c:pt>
                <c:pt idx="16327" formatCode="0.0%">
                  <c:v>7.1962573157613757E-2</c:v>
                </c:pt>
                <c:pt idx="16328" formatCode="0.0%">
                  <c:v>7.2933684639676713E-2</c:v>
                </c:pt>
                <c:pt idx="16329" formatCode="0.0%">
                  <c:v>7.2742535263859168E-2</c:v>
                </c:pt>
                <c:pt idx="16330" formatCode="0.0%">
                  <c:v>6.7741620441793812E-2</c:v>
                </c:pt>
                <c:pt idx="16331" formatCode="0.0%">
                  <c:v>7.3443757489208103E-2</c:v>
                </c:pt>
                <c:pt idx="16332" formatCode="0.0%">
                  <c:v>7.2530003149095176E-2</c:v>
                </c:pt>
                <c:pt idx="16333" formatCode="0.0%">
                  <c:v>7.9909631257345029E-2</c:v>
                </c:pt>
                <c:pt idx="16334" formatCode="0.0%">
                  <c:v>7.1201405389384964E-2</c:v>
                </c:pt>
                <c:pt idx="16335" formatCode="0.0%">
                  <c:v>6.8897066393556111E-2</c:v>
                </c:pt>
                <c:pt idx="16336" formatCode="0.0%">
                  <c:v>7.0313759108134449E-2</c:v>
                </c:pt>
                <c:pt idx="16337" formatCode="0.0%">
                  <c:v>7.5110513160702636E-2</c:v>
                </c:pt>
                <c:pt idx="16338" formatCode="0.0%">
                  <c:v>7.4308355391682512E-2</c:v>
                </c:pt>
                <c:pt idx="16339" formatCode="0.0%">
                  <c:v>7.2067650907909911E-2</c:v>
                </c:pt>
                <c:pt idx="16340" formatCode="0.0%">
                  <c:v>7.7475225672388792E-2</c:v>
                </c:pt>
                <c:pt idx="16341" formatCode="0.0%">
                  <c:v>0.11824228929357956</c:v>
                </c:pt>
                <c:pt idx="16342" formatCode="0.0%">
                  <c:v>0.11756578082634661</c:v>
                </c:pt>
                <c:pt idx="16343" formatCode="0.0%">
                  <c:v>0.11724707539398226</c:v>
                </c:pt>
                <c:pt idx="16344" formatCode="0.0%">
                  <c:v>0.11753160931492233</c:v>
                </c:pt>
                <c:pt idx="16345" formatCode="0.0%">
                  <c:v>0.11774065127260878</c:v>
                </c:pt>
                <c:pt idx="16346" formatCode="0.0%">
                  <c:v>0.11284376244229975</c:v>
                </c:pt>
                <c:pt idx="16347" formatCode="0.0%">
                  <c:v>0.12399169692219232</c:v>
                </c:pt>
                <c:pt idx="16348" formatCode="0.0%">
                  <c:v>0.12340828050465651</c:v>
                </c:pt>
                <c:pt idx="16349" formatCode="0.0%">
                  <c:v>0.12356026375748345</c:v>
                </c:pt>
                <c:pt idx="16350" formatCode="0.0%">
                  <c:v>0.12423146500110664</c:v>
                </c:pt>
                <c:pt idx="16351" formatCode="0.0%">
                  <c:v>0.12938684602829992</c:v>
                </c:pt>
                <c:pt idx="16352" formatCode="0.0%">
                  <c:v>0.12965291362566006</c:v>
                </c:pt>
                <c:pt idx="16353" formatCode="0.0%">
                  <c:v>0.12553893253721926</c:v>
                </c:pt>
                <c:pt idx="16354" formatCode="0.0%">
                  <c:v>0.1243134961799154</c:v>
                </c:pt>
                <c:pt idx="16355" formatCode="0.0%">
                  <c:v>0.14210640640871761</c:v>
                </c:pt>
                <c:pt idx="16356" formatCode="0.0%">
                  <c:v>0.14174688890794163</c:v>
                </c:pt>
                <c:pt idx="16357" formatCode="0.0%">
                  <c:v>0.14018948283669136</c:v>
                </c:pt>
                <c:pt idx="16358" formatCode="0.0%">
                  <c:v>0.14229017684978565</c:v>
                </c:pt>
                <c:pt idx="16359" formatCode="0.0%">
                  <c:v>0.14581601715714643</c:v>
                </c:pt>
                <c:pt idx="16360" formatCode="0.0%">
                  <c:v>0.14372817908675187</c:v>
                </c:pt>
                <c:pt idx="16361" formatCode="0.0%">
                  <c:v>0.10933346418272648</c:v>
                </c:pt>
                <c:pt idx="16362" formatCode="0.0%">
                  <c:v>0.11315608089190927</c:v>
                </c:pt>
                <c:pt idx="16363" formatCode="0.0%">
                  <c:v>0.11364857454684027</c:v>
                </c:pt>
                <c:pt idx="16364" formatCode="0.0%">
                  <c:v>0.11497598287510162</c:v>
                </c:pt>
                <c:pt idx="16365" formatCode="0.0%">
                  <c:v>0.11614631369665311</c:v>
                </c:pt>
                <c:pt idx="16366" formatCode="0.0%">
                  <c:v>0.11595915355419747</c:v>
                </c:pt>
                <c:pt idx="16367" formatCode="0.0%">
                  <c:v>0.10684995874382212</c:v>
                </c:pt>
                <c:pt idx="16368" formatCode="0.0%">
                  <c:v>0.1082583218025176</c:v>
                </c:pt>
                <c:pt idx="16369" formatCode="0.0%">
                  <c:v>0.11160581815442036</c:v>
                </c:pt>
                <c:pt idx="16370" formatCode="0.0%">
                  <c:v>0.11280756606219511</c:v>
                </c:pt>
                <c:pt idx="16371" formatCode="0.0%">
                  <c:v>0.10342297530653913</c:v>
                </c:pt>
                <c:pt idx="16372" formatCode="0.0%">
                  <c:v>0.10303169377710165</c:v>
                </c:pt>
                <c:pt idx="16373" formatCode="0.0%">
                  <c:v>0.10239520797375234</c:v>
                </c:pt>
                <c:pt idx="16374" formatCode="0.0%">
                  <c:v>0.12504180433428055</c:v>
                </c:pt>
                <c:pt idx="16375" formatCode="0.0%">
                  <c:v>0.10208454044122761</c:v>
                </c:pt>
                <c:pt idx="16376" formatCode="0.0%">
                  <c:v>0.10213046917232306</c:v>
                </c:pt>
                <c:pt idx="16377" formatCode="0.0%">
                  <c:v>0.10164914022079535</c:v>
                </c:pt>
                <c:pt idx="16378" formatCode="0.0%">
                  <c:v>0.10044954952195526</c:v>
                </c:pt>
                <c:pt idx="16379" formatCode="0.0%">
                  <c:v>0.11145098430933427</c:v>
                </c:pt>
                <c:pt idx="16380" formatCode="0.0%">
                  <c:v>0.11087258748673987</c:v>
                </c:pt>
                <c:pt idx="16381" formatCode="0.0%">
                  <c:v>0.11092815524985124</c:v>
                </c:pt>
                <c:pt idx="16382" formatCode="0.0%">
                  <c:v>0.10825805037255726</c:v>
                </c:pt>
                <c:pt idx="16383" formatCode="0.0%">
                  <c:v>0.10426660444819905</c:v>
                </c:pt>
                <c:pt idx="16384" formatCode="0.0%">
                  <c:v>0.10406532918655972</c:v>
                </c:pt>
                <c:pt idx="16385" formatCode="0.0%">
                  <c:v>0.10519744833568072</c:v>
                </c:pt>
                <c:pt idx="16386" formatCode="0.0%">
                  <c:v>0.10569041314717387</c:v>
                </c:pt>
                <c:pt idx="16387" formatCode="0.0%">
                  <c:v>0.11027256746293988</c:v>
                </c:pt>
                <c:pt idx="16388" formatCode="0.0%">
                  <c:v>0.10795172785157846</c:v>
                </c:pt>
                <c:pt idx="16389" formatCode="0.0%">
                  <c:v>0.10875553744502339</c:v>
                </c:pt>
                <c:pt idx="16390" formatCode="0.0%">
                  <c:v>0.1130560898937631</c:v>
                </c:pt>
                <c:pt idx="16391" formatCode="0.0%">
                  <c:v>0.11217375201957955</c:v>
                </c:pt>
                <c:pt idx="16392" formatCode="0.0%">
                  <c:v>0.11284852584003457</c:v>
                </c:pt>
                <c:pt idx="16393" formatCode="0.0%">
                  <c:v>0.11372255813180844</c:v>
                </c:pt>
                <c:pt idx="16394" formatCode="0.0%">
                  <c:v>9.1237991140762434E-2</c:v>
                </c:pt>
                <c:pt idx="16395" formatCode="0.0%">
                  <c:v>9.1833709799063856E-2</c:v>
                </c:pt>
                <c:pt idx="16396" formatCode="0.0%">
                  <c:v>9.1289424288721957E-2</c:v>
                </c:pt>
                <c:pt idx="16397" formatCode="0.0%">
                  <c:v>9.1161779065569881E-2</c:v>
                </c:pt>
                <c:pt idx="16398" formatCode="0.0%">
                  <c:v>9.120316244535287E-2</c:v>
                </c:pt>
                <c:pt idx="16399" formatCode="0.0%">
                  <c:v>7.3325813916370594E-2</c:v>
                </c:pt>
                <c:pt idx="16400" formatCode="0.0%">
                  <c:v>7.4285264268835735E-2</c:v>
                </c:pt>
                <c:pt idx="16401" formatCode="0.0%">
                  <c:v>7.4428562781380422E-2</c:v>
                </c:pt>
                <c:pt idx="16402" formatCode="0.0%">
                  <c:v>8.6068082065086635E-2</c:v>
                </c:pt>
                <c:pt idx="16403" formatCode="0.0%">
                  <c:v>8.5926982081414305E-2</c:v>
                </c:pt>
                <c:pt idx="16404" formatCode="0.0%">
                  <c:v>8.6082954300441258E-2</c:v>
                </c:pt>
                <c:pt idx="16405" formatCode="0.0%">
                  <c:v>8.444765011740113E-2</c:v>
                </c:pt>
                <c:pt idx="16406" formatCode="0.0%">
                  <c:v>0.10270892093374373</c:v>
                </c:pt>
                <c:pt idx="16407" formatCode="0.0%">
                  <c:v>9.7994722852870128E-2</c:v>
                </c:pt>
                <c:pt idx="16408" formatCode="0.0%">
                  <c:v>0.10409355526278084</c:v>
                </c:pt>
                <c:pt idx="16409" formatCode="0.0%">
                  <c:v>9.9211730461264275E-2</c:v>
                </c:pt>
                <c:pt idx="16410" formatCode="0.0%">
                  <c:v>9.3875361620656808E-2</c:v>
                </c:pt>
                <c:pt idx="16411" formatCode="0.0%">
                  <c:v>9.8934384601850001E-2</c:v>
                </c:pt>
                <c:pt idx="16412" formatCode="0.0%">
                  <c:v>9.9938817674479749E-2</c:v>
                </c:pt>
                <c:pt idx="16413" formatCode="0.0%">
                  <c:v>0.10231571961932057</c:v>
                </c:pt>
                <c:pt idx="16414" formatCode="0.0%">
                  <c:v>0.10433327549239203</c:v>
                </c:pt>
                <c:pt idx="16415" formatCode="0.0%">
                  <c:v>0.10404663764826945</c:v>
                </c:pt>
                <c:pt idx="16416" formatCode="0.0%">
                  <c:v>0.10505668808028092</c:v>
                </c:pt>
                <c:pt idx="16417" formatCode="0.0%">
                  <c:v>0.10663174382103424</c:v>
                </c:pt>
                <c:pt idx="16418" formatCode="0.0%">
                  <c:v>0.10833184859646873</c:v>
                </c:pt>
                <c:pt idx="16419" formatCode="0.0%">
                  <c:v>0.1113362976564416</c:v>
                </c:pt>
                <c:pt idx="16420" formatCode="0.0%">
                  <c:v>0.11096784638237554</c:v>
                </c:pt>
                <c:pt idx="16421" formatCode="0.0%">
                  <c:v>0.11098281187459691</c:v>
                </c:pt>
                <c:pt idx="16422" formatCode="0.0%">
                  <c:v>0.10114246326114272</c:v>
                </c:pt>
                <c:pt idx="16423" formatCode="0.0%">
                  <c:v>0.10114133208896975</c:v>
                </c:pt>
                <c:pt idx="16424" formatCode="0.0%">
                  <c:v>0.10212063790778779</c:v>
                </c:pt>
                <c:pt idx="16425" formatCode="0.0%">
                  <c:v>0.10229925551597793</c:v>
                </c:pt>
                <c:pt idx="16426" formatCode="0.0%">
                  <c:v>8.4712552838192096E-2</c:v>
                </c:pt>
                <c:pt idx="16427" formatCode="0.0%">
                  <c:v>8.9416267559811927E-2</c:v>
                </c:pt>
                <c:pt idx="16428" formatCode="0.0%">
                  <c:v>8.42364658873275E-2</c:v>
                </c:pt>
                <c:pt idx="16429" formatCode="0.0%">
                  <c:v>8.2327606001148676E-2</c:v>
                </c:pt>
                <c:pt idx="16430" formatCode="0.0%">
                  <c:v>8.4507072239028438E-2</c:v>
                </c:pt>
                <c:pt idx="16431" formatCode="0.0%">
                  <c:v>8.0692818684771475E-2</c:v>
                </c:pt>
                <c:pt idx="16432" formatCode="0.0%">
                  <c:v>8.1135680470049015E-2</c:v>
                </c:pt>
                <c:pt idx="16433" formatCode="0.0%">
                  <c:v>8.6679571137193628E-2</c:v>
                </c:pt>
                <c:pt idx="16434" formatCode="0.0%">
                  <c:v>8.196269533203987E-2</c:v>
                </c:pt>
                <c:pt idx="16435" formatCode="0.0%">
                  <c:v>8.1949671694675E-2</c:v>
                </c:pt>
                <c:pt idx="16436" formatCode="0.0%">
                  <c:v>8.2111091394174371E-2</c:v>
                </c:pt>
                <c:pt idx="16437" formatCode="0.0%">
                  <c:v>8.3714227002327612E-2</c:v>
                </c:pt>
                <c:pt idx="16438" formatCode="0.0%">
                  <c:v>8.8748631766084399E-2</c:v>
                </c:pt>
                <c:pt idx="16439" formatCode="0.0%">
                  <c:v>8.6817667059906622E-2</c:v>
                </c:pt>
                <c:pt idx="16440" formatCode="0.0%">
                  <c:v>9.8483457177628464E-2</c:v>
                </c:pt>
                <c:pt idx="16441" formatCode="0.0%">
                  <c:v>9.8526426551366592E-2</c:v>
                </c:pt>
                <c:pt idx="16442" formatCode="0.0%">
                  <c:v>9.7647911263860146E-2</c:v>
                </c:pt>
                <c:pt idx="16443" formatCode="0.0%">
                  <c:v>9.7893892104949531E-2</c:v>
                </c:pt>
                <c:pt idx="16444" formatCode="0.0%">
                  <c:v>9.8277914049822557E-2</c:v>
                </c:pt>
                <c:pt idx="16445" formatCode="0.0%">
                  <c:v>9.8260066574429122E-2</c:v>
                </c:pt>
                <c:pt idx="16446" formatCode="0.0%">
                  <c:v>0.10176398457779412</c:v>
                </c:pt>
                <c:pt idx="16447" formatCode="0.0%">
                  <c:v>9.377797204868675E-2</c:v>
                </c:pt>
                <c:pt idx="16448" formatCode="0.0%">
                  <c:v>9.2117174888798503E-2</c:v>
                </c:pt>
                <c:pt idx="16449" formatCode="0.0%">
                  <c:v>9.2086046775378988E-2</c:v>
                </c:pt>
                <c:pt idx="16450" formatCode="0.0%">
                  <c:v>9.1929332958169185E-2</c:v>
                </c:pt>
                <c:pt idx="16451" formatCode="0.0%">
                  <c:v>9.0085788103699063E-2</c:v>
                </c:pt>
                <c:pt idx="16452" formatCode="0.0%">
                  <c:v>9.1141410664361877E-2</c:v>
                </c:pt>
                <c:pt idx="16453" formatCode="0.0%">
                  <c:v>8.4466021259493054E-2</c:v>
                </c:pt>
                <c:pt idx="16454" formatCode="0.0%">
                  <c:v>8.4393031797799875E-2</c:v>
                </c:pt>
                <c:pt idx="16455" formatCode="0.0%">
                  <c:v>8.8166488241081017E-2</c:v>
                </c:pt>
                <c:pt idx="16456" formatCode="0.0%">
                  <c:v>8.8961588228479049E-2</c:v>
                </c:pt>
                <c:pt idx="16457" formatCode="0.0%">
                  <c:v>8.6334840731923115E-2</c:v>
                </c:pt>
                <c:pt idx="16458" formatCode="0.0%">
                  <c:v>7.7779922149058434E-2</c:v>
                </c:pt>
                <c:pt idx="16459" formatCode="0.0%">
                  <c:v>7.7771958626774093E-2</c:v>
                </c:pt>
                <c:pt idx="16460" formatCode="0.0%">
                  <c:v>6.2562475461153413E-2</c:v>
                </c:pt>
                <c:pt idx="16461" formatCode="0.0%">
                  <c:v>6.2583695218290936E-2</c:v>
                </c:pt>
                <c:pt idx="16462" formatCode="0.0%">
                  <c:v>6.4289231920158216E-2</c:v>
                </c:pt>
                <c:pt idx="16463" formatCode="0.0%">
                  <c:v>6.4732659859331618E-2</c:v>
                </c:pt>
                <c:pt idx="16464" formatCode="0.0%">
                  <c:v>6.3263958979730958E-2</c:v>
                </c:pt>
                <c:pt idx="16465" formatCode="0.0%">
                  <c:v>6.4043893236184188E-2</c:v>
                </c:pt>
                <c:pt idx="16466" formatCode="0.0%">
                  <c:v>5.7723368140793853E-2</c:v>
                </c:pt>
                <c:pt idx="16467" formatCode="0.0%">
                  <c:v>5.9872666308417047E-2</c:v>
                </c:pt>
                <c:pt idx="16468" formatCode="0.0%">
                  <c:v>5.9446744192689693E-2</c:v>
                </c:pt>
                <c:pt idx="16469" formatCode="0.0%">
                  <c:v>6.2704568827344417E-2</c:v>
                </c:pt>
                <c:pt idx="16470" formatCode="0.0%">
                  <c:v>5.7067957395220359E-2</c:v>
                </c:pt>
                <c:pt idx="16471" formatCode="0.0%">
                  <c:v>5.4874654182010651E-2</c:v>
                </c:pt>
                <c:pt idx="16472" formatCode="0.0%">
                  <c:v>5.4309191693391899E-2</c:v>
                </c:pt>
                <c:pt idx="16473" formatCode="0.0%">
                  <c:v>6.2470256954127397E-2</c:v>
                </c:pt>
                <c:pt idx="16474" formatCode="0.0%">
                  <c:v>6.1039783109519373E-2</c:v>
                </c:pt>
                <c:pt idx="16475" formatCode="0.0%">
                  <c:v>5.7722104466363104E-2</c:v>
                </c:pt>
                <c:pt idx="16476" formatCode="0.0%">
                  <c:v>5.4153273331299608E-2</c:v>
                </c:pt>
                <c:pt idx="16477" formatCode="0.0%">
                  <c:v>5.3236647119617689E-2</c:v>
                </c:pt>
                <c:pt idx="16478" formatCode="0.0%">
                  <c:v>5.2384930913765754E-2</c:v>
                </c:pt>
                <c:pt idx="16479" formatCode="0.0%">
                  <c:v>5.1849207323201259E-2</c:v>
                </c:pt>
                <c:pt idx="16480" formatCode="0.0%">
                  <c:v>5.4905945227203712E-2</c:v>
                </c:pt>
                <c:pt idx="16481" formatCode="0.0%">
                  <c:v>5.5115668856434617E-2</c:v>
                </c:pt>
                <c:pt idx="16482" formatCode="0.0%">
                  <c:v>5.9846814473656508E-2</c:v>
                </c:pt>
                <c:pt idx="16483" formatCode="0.0%">
                  <c:v>6.1035016833297123E-2</c:v>
                </c:pt>
                <c:pt idx="16484" formatCode="0.0%">
                  <c:v>6.0928906741056069E-2</c:v>
                </c:pt>
                <c:pt idx="16485" formatCode="0.0%">
                  <c:v>6.5738581345776329E-2</c:v>
                </c:pt>
                <c:pt idx="16486" formatCode="0.0%">
                  <c:v>6.5614063372973153E-2</c:v>
                </c:pt>
                <c:pt idx="16487" formatCode="0.0%">
                  <c:v>6.7396951898704205E-2</c:v>
                </c:pt>
                <c:pt idx="16488" formatCode="0.0%">
                  <c:v>6.8112504653124836E-2</c:v>
                </c:pt>
                <c:pt idx="16489" formatCode="0.0%">
                  <c:v>6.7685866809375744E-2</c:v>
                </c:pt>
                <c:pt idx="16490" formatCode="0.0%">
                  <c:v>6.7915167775379023E-2</c:v>
                </c:pt>
                <c:pt idx="16491" formatCode="0.0%">
                  <c:v>7.4362467990438663E-2</c:v>
                </c:pt>
                <c:pt idx="16492" formatCode="0.0%">
                  <c:v>7.579926495288436E-2</c:v>
                </c:pt>
                <c:pt idx="16493" formatCode="0.0%">
                  <c:v>7.1370819664205998E-2</c:v>
                </c:pt>
                <c:pt idx="16494" formatCode="0.0%">
                  <c:v>7.2516273194983535E-2</c:v>
                </c:pt>
                <c:pt idx="16495" formatCode="0.0%">
                  <c:v>7.2034982099403594E-2</c:v>
                </c:pt>
                <c:pt idx="16496" formatCode="0.0%">
                  <c:v>7.9349412572613992E-2</c:v>
                </c:pt>
                <c:pt idx="16497" formatCode="0.0%">
                  <c:v>7.8676992006501675E-2</c:v>
                </c:pt>
                <c:pt idx="16498" formatCode="0.0%">
                  <c:v>7.815840939138978E-2</c:v>
                </c:pt>
                <c:pt idx="16499" formatCode="0.0%">
                  <c:v>7.8531885845620653E-2</c:v>
                </c:pt>
                <c:pt idx="16500" formatCode="0.0%">
                  <c:v>7.9745176547244875E-2</c:v>
                </c:pt>
                <c:pt idx="16501" formatCode="0.0%">
                  <c:v>7.9745530203901474E-2</c:v>
                </c:pt>
                <c:pt idx="16502" formatCode="0.0%">
                  <c:v>7.6416188391431106E-2</c:v>
                </c:pt>
                <c:pt idx="16503" formatCode="0.0%">
                  <c:v>7.4839375296960914E-2</c:v>
                </c:pt>
                <c:pt idx="16504" formatCode="0.0%">
                  <c:v>7.5838286209118783E-2</c:v>
                </c:pt>
                <c:pt idx="16505" formatCode="0.0%">
                  <c:v>6.8674086163399539E-2</c:v>
                </c:pt>
                <c:pt idx="16506" formatCode="0.0%">
                  <c:v>6.8783159234029306E-2</c:v>
                </c:pt>
                <c:pt idx="16507" formatCode="0.0%">
                  <c:v>6.6657325980118004E-2</c:v>
                </c:pt>
                <c:pt idx="16508" formatCode="0.0%">
                  <c:v>6.5389532291754426E-2</c:v>
                </c:pt>
                <c:pt idx="16509" formatCode="0.0%">
                  <c:v>7.4615876665836453E-2</c:v>
                </c:pt>
                <c:pt idx="16510" formatCode="0.0%">
                  <c:v>7.6125723517025845E-2</c:v>
                </c:pt>
                <c:pt idx="16511" formatCode="0.0%">
                  <c:v>6.8890199245596376E-2</c:v>
                </c:pt>
                <c:pt idx="16512" formatCode="0.0%">
                  <c:v>6.9088604768780704E-2</c:v>
                </c:pt>
                <c:pt idx="16513" formatCode="0.0%">
                  <c:v>6.591487541757686E-2</c:v>
                </c:pt>
                <c:pt idx="16514" formatCode="0.0%">
                  <c:v>6.5939608101830929E-2</c:v>
                </c:pt>
                <c:pt idx="16515" formatCode="0.0%">
                  <c:v>6.8536550126049464E-2</c:v>
                </c:pt>
                <c:pt idx="16516" formatCode="0.0%">
                  <c:v>6.1163494870967089E-2</c:v>
                </c:pt>
                <c:pt idx="16517" formatCode="0.0%">
                  <c:v>6.1082940221601621E-2</c:v>
                </c:pt>
                <c:pt idx="16518" formatCode="0.0%">
                  <c:v>5.9766390051918944E-2</c:v>
                </c:pt>
                <c:pt idx="16519" formatCode="0.0%">
                  <c:v>6.2468072617679685E-2</c:v>
                </c:pt>
                <c:pt idx="16520" formatCode="0.0%">
                  <c:v>6.0512239880499023E-2</c:v>
                </c:pt>
                <c:pt idx="16521" formatCode="0.0%">
                  <c:v>6.0876633454620882E-2</c:v>
                </c:pt>
                <c:pt idx="16522" formatCode="0.0%">
                  <c:v>6.1275276846542381E-2</c:v>
                </c:pt>
                <c:pt idx="16523" formatCode="0.0%">
                  <c:v>7.5382494938063926E-2</c:v>
                </c:pt>
                <c:pt idx="16524" formatCode="0.0%">
                  <c:v>8.6324051044650532E-2</c:v>
                </c:pt>
                <c:pt idx="16525" formatCode="0.0%">
                  <c:v>8.7475360190891541E-2</c:v>
                </c:pt>
                <c:pt idx="16526" formatCode="0.0%">
                  <c:v>8.7507860417961006E-2</c:v>
                </c:pt>
                <c:pt idx="16527" formatCode="0.0%">
                  <c:v>8.7489348924294094E-2</c:v>
                </c:pt>
                <c:pt idx="16528" formatCode="0.0%">
                  <c:v>9.1358787035643346E-2</c:v>
                </c:pt>
                <c:pt idx="16529" formatCode="0.0%">
                  <c:v>8.1391218854568972E-2</c:v>
                </c:pt>
                <c:pt idx="16530" formatCode="0.0%">
                  <c:v>8.1618810738330438E-2</c:v>
                </c:pt>
                <c:pt idx="16531" formatCode="0.0%">
                  <c:v>8.2123481756126451E-2</c:v>
                </c:pt>
                <c:pt idx="16532" formatCode="0.0%">
                  <c:v>8.3987693856297521E-2</c:v>
                </c:pt>
                <c:pt idx="16533" formatCode="0.0%">
                  <c:v>8.5302153155361229E-2</c:v>
                </c:pt>
                <c:pt idx="16534" formatCode="0.0%">
                  <c:v>8.5605735604948802E-2</c:v>
                </c:pt>
                <c:pt idx="16535" formatCode="0.0%">
                  <c:v>8.445039383720794E-2</c:v>
                </c:pt>
                <c:pt idx="16536" formatCode="0.0%">
                  <c:v>8.8044526718803473E-2</c:v>
                </c:pt>
                <c:pt idx="16537" formatCode="0.0%">
                  <c:v>8.9578319724643668E-2</c:v>
                </c:pt>
                <c:pt idx="16538" formatCode="0.0%">
                  <c:v>9.0254796523350819E-2</c:v>
                </c:pt>
                <c:pt idx="16539" formatCode="0.0%">
                  <c:v>8.6781454752345652E-2</c:v>
                </c:pt>
                <c:pt idx="16540" formatCode="0.0%">
                  <c:v>8.7021346967731644E-2</c:v>
                </c:pt>
                <c:pt idx="16541" formatCode="0.0%">
                  <c:v>8.6141309603642552E-2</c:v>
                </c:pt>
                <c:pt idx="16542" formatCode="0.0%">
                  <c:v>8.6178560971148066E-2</c:v>
                </c:pt>
                <c:pt idx="16543" formatCode="0.0%">
                  <c:v>7.651252163532643E-2</c:v>
                </c:pt>
                <c:pt idx="16544" formatCode="0.0%">
                  <c:v>6.2959458358752371E-2</c:v>
                </c:pt>
                <c:pt idx="16545" formatCode="0.0%">
                  <c:v>6.2138455856574515E-2</c:v>
                </c:pt>
                <c:pt idx="16546" formatCode="0.0%">
                  <c:v>6.2090856835636817E-2</c:v>
                </c:pt>
                <c:pt idx="16547" formatCode="0.0%">
                  <c:v>6.2374179608706046E-2</c:v>
                </c:pt>
                <c:pt idx="16548" formatCode="0.0%">
                  <c:v>5.9652412000271458E-2</c:v>
                </c:pt>
                <c:pt idx="16549" formatCode="0.0%">
                  <c:v>5.9039477834382119E-2</c:v>
                </c:pt>
                <c:pt idx="16550" formatCode="0.0%">
                  <c:v>5.6718399030380388E-2</c:v>
                </c:pt>
                <c:pt idx="16551" formatCode="0.0%">
                  <c:v>5.8984513721020322E-2</c:v>
                </c:pt>
                <c:pt idx="16552" formatCode="0.0%">
                  <c:v>5.4325658102892124E-2</c:v>
                </c:pt>
                <c:pt idx="16553" formatCode="0.0%">
                  <c:v>5.4131501981541159E-2</c:v>
                </c:pt>
                <c:pt idx="16554" formatCode="0.0%">
                  <c:v>5.8254397262327007E-2</c:v>
                </c:pt>
                <c:pt idx="16555" formatCode="0.0%">
                  <c:v>5.7768873025497887E-2</c:v>
                </c:pt>
                <c:pt idx="16556" formatCode="0.0%">
                  <c:v>5.0181471231642606E-2</c:v>
                </c:pt>
                <c:pt idx="16557" formatCode="0.0%">
                  <c:v>5.037124466490437E-2</c:v>
                </c:pt>
                <c:pt idx="16558" formatCode="0.0%">
                  <c:v>4.971782391528027E-2</c:v>
                </c:pt>
                <c:pt idx="16559" formatCode="0.0%">
                  <c:v>5.4321015001719215E-2</c:v>
                </c:pt>
                <c:pt idx="16560" formatCode="0.0%">
                  <c:v>5.2896723913147085E-2</c:v>
                </c:pt>
                <c:pt idx="16561" formatCode="0.0%">
                  <c:v>5.3088787416151521E-2</c:v>
                </c:pt>
                <c:pt idx="16562" formatCode="0.0%">
                  <c:v>5.60387269994672E-2</c:v>
                </c:pt>
                <c:pt idx="16563" formatCode="0.0%">
                  <c:v>5.8688905044767134E-2</c:v>
                </c:pt>
                <c:pt idx="16564" formatCode="0.0%">
                  <c:v>5.7834580371309986E-2</c:v>
                </c:pt>
                <c:pt idx="16565" formatCode="0.0%">
                  <c:v>5.7692141214205003E-2</c:v>
                </c:pt>
                <c:pt idx="16566" formatCode="0.0%">
                  <c:v>5.785294266755469E-2</c:v>
                </c:pt>
                <c:pt idx="16567" formatCode="0.0%">
                  <c:v>5.7831904572353807E-2</c:v>
                </c:pt>
                <c:pt idx="16568" formatCode="0.0%">
                  <c:v>5.866276694030071E-2</c:v>
                </c:pt>
                <c:pt idx="16569" formatCode="0.0%">
                  <c:v>6.9733444499356173E-2</c:v>
                </c:pt>
                <c:pt idx="16570" formatCode="0.0%">
                  <c:v>7.014441997493305E-2</c:v>
                </c:pt>
                <c:pt idx="16571" formatCode="0.0%">
                  <c:v>6.5820413466432803E-2</c:v>
                </c:pt>
                <c:pt idx="16572" formatCode="0.0%">
                  <c:v>6.663704238945542E-2</c:v>
                </c:pt>
                <c:pt idx="16573" formatCode="0.0%">
                  <c:v>6.7771243531183856E-2</c:v>
                </c:pt>
                <c:pt idx="16574" formatCode="0.0%">
                  <c:v>6.6619982671825131E-2</c:v>
                </c:pt>
                <c:pt idx="16575" formatCode="0.0%">
                  <c:v>6.6381251977774461E-2</c:v>
                </c:pt>
                <c:pt idx="16576" formatCode="0.0%">
                  <c:v>6.6003872538528394E-2</c:v>
                </c:pt>
                <c:pt idx="16577" formatCode="0.0%">
                  <c:v>6.4830086708703605E-2</c:v>
                </c:pt>
                <c:pt idx="16578" formatCode="0.0%">
                  <c:v>6.4968995709365485E-2</c:v>
                </c:pt>
                <c:pt idx="16579" formatCode="0.0%">
                  <c:v>6.4971866143068838E-2</c:v>
                </c:pt>
                <c:pt idx="16580" formatCode="0.0%">
                  <c:v>6.5449695421667078E-2</c:v>
                </c:pt>
                <c:pt idx="16581" formatCode="0.0%">
                  <c:v>6.7563801970547996E-2</c:v>
                </c:pt>
                <c:pt idx="16582" formatCode="0.0%">
                  <c:v>7.0852279718177938E-2</c:v>
                </c:pt>
                <c:pt idx="16583" formatCode="0.0%">
                  <c:v>6.8200511939398328E-2</c:v>
                </c:pt>
                <c:pt idx="16584" formatCode="0.0%">
                  <c:v>6.8908261192106954E-2</c:v>
                </c:pt>
                <c:pt idx="16585" formatCode="0.0%">
                  <c:v>7.1700641280788555E-2</c:v>
                </c:pt>
                <c:pt idx="16586" formatCode="0.0%">
                  <c:v>7.2835352312059537E-2</c:v>
                </c:pt>
                <c:pt idx="16587" formatCode="0.0%">
                  <c:v>7.3878327878749817E-2</c:v>
                </c:pt>
                <c:pt idx="16588" formatCode="0.0%">
                  <c:v>0.11186378989275929</c:v>
                </c:pt>
                <c:pt idx="16589" formatCode="0.0%">
                  <c:v>0.1048431373257117</c:v>
                </c:pt>
                <c:pt idx="16590" formatCode="0.0%">
                  <c:v>0.10466111545193375</c:v>
                </c:pt>
                <c:pt idx="16591" formatCode="0.0%">
                  <c:v>0.10560500187915799</c:v>
                </c:pt>
                <c:pt idx="16592" formatCode="0.0%">
                  <c:v>0.10877395919168473</c:v>
                </c:pt>
                <c:pt idx="16593" formatCode="0.0%">
                  <c:v>0.10744726508029233</c:v>
                </c:pt>
                <c:pt idx="16594" formatCode="0.0%">
                  <c:v>0.10691340398902192</c:v>
                </c:pt>
                <c:pt idx="16595" formatCode="0.0%">
                  <c:v>0.10821000516472884</c:v>
                </c:pt>
                <c:pt idx="16596" formatCode="0.0%">
                  <c:v>0.10823908603822509</c:v>
                </c:pt>
                <c:pt idx="16597" formatCode="0.0%">
                  <c:v>0.10949576673359056</c:v>
                </c:pt>
                <c:pt idx="16598" formatCode="0.0%">
                  <c:v>0.11101828288187057</c:v>
                </c:pt>
                <c:pt idx="16599" formatCode="0.0%">
                  <c:v>0.11348631338879518</c:v>
                </c:pt>
                <c:pt idx="16600" formatCode="0.0%">
                  <c:v>0.11335522018134965</c:v>
                </c:pt>
                <c:pt idx="16601" formatCode="0.0%">
                  <c:v>0.12168929670578461</c:v>
                </c:pt>
                <c:pt idx="16602" formatCode="0.0%">
                  <c:v>0.11840565707181994</c:v>
                </c:pt>
                <c:pt idx="16603" formatCode="0.0%">
                  <c:v>0.11787628863629346</c:v>
                </c:pt>
                <c:pt idx="16604" formatCode="0.0%">
                  <c:v>0.11565311592597675</c:v>
                </c:pt>
                <c:pt idx="16605" formatCode="0.0%">
                  <c:v>0.11566420968377759</c:v>
                </c:pt>
                <c:pt idx="16606" formatCode="0.0%">
                  <c:v>0.11328665152993266</c:v>
                </c:pt>
                <c:pt idx="16607" formatCode="0.0%">
                  <c:v>0.11505450006871003</c:v>
                </c:pt>
                <c:pt idx="16608" formatCode="0.0%">
                  <c:v>8.5321856961268941E-2</c:v>
                </c:pt>
                <c:pt idx="16609" formatCode="0.0%">
                  <c:v>8.3893159618253735E-2</c:v>
                </c:pt>
                <c:pt idx="16610" formatCode="0.0%">
                  <c:v>8.4552832512555021E-2</c:v>
                </c:pt>
                <c:pt idx="16611" formatCode="0.0%">
                  <c:v>8.5990351695127643E-2</c:v>
                </c:pt>
                <c:pt idx="16612" formatCode="0.0%">
                  <c:v>8.441990879724183E-2</c:v>
                </c:pt>
                <c:pt idx="16613" formatCode="0.0%">
                  <c:v>8.4160217347401589E-2</c:v>
                </c:pt>
                <c:pt idx="16614" formatCode="0.0%">
                  <c:v>8.4164991306378487E-2</c:v>
                </c:pt>
                <c:pt idx="16615" formatCode="0.0%">
                  <c:v>8.4407859963577275E-2</c:v>
                </c:pt>
                <c:pt idx="16616" formatCode="0.0%">
                  <c:v>8.5263566333809687E-2</c:v>
                </c:pt>
                <c:pt idx="16617" formatCode="0.0%">
                  <c:v>8.3201457378861393E-2</c:v>
                </c:pt>
                <c:pt idx="16618" formatCode="0.0%">
                  <c:v>8.2946037896567903E-2</c:v>
                </c:pt>
                <c:pt idx="16619" formatCode="0.0%">
                  <c:v>7.7525259875225142E-2</c:v>
                </c:pt>
                <c:pt idx="16620" formatCode="0.0%">
                  <c:v>7.7370158481093243E-2</c:v>
                </c:pt>
                <c:pt idx="16621" formatCode="0.0%">
                  <c:v>6.7534265439517835E-2</c:v>
                </c:pt>
                <c:pt idx="16622" formatCode="0.0%">
                  <c:v>7.1752253109483341E-2</c:v>
                </c:pt>
                <c:pt idx="16623" formatCode="0.0%">
                  <c:v>7.0961148005967603E-2</c:v>
                </c:pt>
                <c:pt idx="16624" formatCode="0.0%">
                  <c:v>8.887755928941965E-2</c:v>
                </c:pt>
                <c:pt idx="16625" formatCode="0.0%">
                  <c:v>0.10155758003065973</c:v>
                </c:pt>
                <c:pt idx="16626" formatCode="0.0%">
                  <c:v>0.10173644136182128</c:v>
                </c:pt>
                <c:pt idx="16627" formatCode="0.0%">
                  <c:v>0.11015717731865896</c:v>
                </c:pt>
                <c:pt idx="16628" formatCode="0.0%">
                  <c:v>0.1372338560221702</c:v>
                </c:pt>
                <c:pt idx="16629" formatCode="0.0%">
                  <c:v>0.13733422606313578</c:v>
                </c:pt>
                <c:pt idx="16630" formatCode="0.0%">
                  <c:v>0.13959648168736183</c:v>
                </c:pt>
                <c:pt idx="16631" formatCode="0.0%">
                  <c:v>0.1404920048655966</c:v>
                </c:pt>
                <c:pt idx="16632" formatCode="0.0%">
                  <c:v>0.1410077916750509</c:v>
                </c:pt>
                <c:pt idx="16633" formatCode="0.0%">
                  <c:v>0.1407097829604804</c:v>
                </c:pt>
                <c:pt idx="16634" formatCode="0.0%">
                  <c:v>0.14064045197220593</c:v>
                </c:pt>
                <c:pt idx="16635" formatCode="0.0%">
                  <c:v>0.13827312002609865</c:v>
                </c:pt>
                <c:pt idx="16636" formatCode="0.0%">
                  <c:v>0.13690173409475326</c:v>
                </c:pt>
                <c:pt idx="16637" formatCode="0.0%">
                  <c:v>0.13782903459334581</c:v>
                </c:pt>
                <c:pt idx="16638" formatCode="0.0%">
                  <c:v>0.13804312191709572</c:v>
                </c:pt>
                <c:pt idx="16639" formatCode="0.0%">
                  <c:v>0.13759001545600943</c:v>
                </c:pt>
                <c:pt idx="16640" formatCode="0.0%">
                  <c:v>0.151853590805856</c:v>
                </c:pt>
                <c:pt idx="16641" formatCode="0.0%">
                  <c:v>0.14971630698251626</c:v>
                </c:pt>
                <c:pt idx="16642" formatCode="0.0%">
                  <c:v>0.15465252177088978</c:v>
                </c:pt>
                <c:pt idx="16643" formatCode="0.0%">
                  <c:v>0.15468744277691401</c:v>
                </c:pt>
                <c:pt idx="16644" formatCode="0.0%">
                  <c:v>0.14491321898228102</c:v>
                </c:pt>
                <c:pt idx="16645" formatCode="0.0%">
                  <c:v>0.1341545034709628</c:v>
                </c:pt>
                <c:pt idx="16646" formatCode="0.0%">
                  <c:v>0.13492774170324612</c:v>
                </c:pt>
                <c:pt idx="16647" formatCode="0.0%">
                  <c:v>0.12055485880552146</c:v>
                </c:pt>
                <c:pt idx="16648" formatCode="0.0%">
                  <c:v>9.6706913386504001E-2</c:v>
                </c:pt>
                <c:pt idx="16649" formatCode="0.0%">
                  <c:v>9.67373253111877E-2</c:v>
                </c:pt>
                <c:pt idx="16650" formatCode="0.0%">
                  <c:v>9.8333489505048846E-2</c:v>
                </c:pt>
                <c:pt idx="16651" formatCode="0.0%">
                  <c:v>0.10348435073015513</c:v>
                </c:pt>
                <c:pt idx="16652" formatCode="0.0%">
                  <c:v>0.10557384983544528</c:v>
                </c:pt>
                <c:pt idx="16653" formatCode="0.0%">
                  <c:v>0.10999397765155493</c:v>
                </c:pt>
                <c:pt idx="16654" formatCode="0.0%">
                  <c:v>0.11150544642153241</c:v>
                </c:pt>
                <c:pt idx="16655" formatCode="0.0%">
                  <c:v>0.11156637312140567</c:v>
                </c:pt>
                <c:pt idx="16656" formatCode="0.0%">
                  <c:v>0.11162372179918137</c:v>
                </c:pt>
                <c:pt idx="16657" formatCode="0.0%">
                  <c:v>0.11384969459252871</c:v>
                </c:pt>
                <c:pt idx="16658" formatCode="0.0%">
                  <c:v>0.11800017200120649</c:v>
                </c:pt>
                <c:pt idx="16659" formatCode="0.0%">
                  <c:v>0.11881662800959603</c:v>
                </c:pt>
                <c:pt idx="16660" formatCode="0.0%">
                  <c:v>0.10851814256198279</c:v>
                </c:pt>
                <c:pt idx="16661" formatCode="0.0%">
                  <c:v>0.10913140038028009</c:v>
                </c:pt>
                <c:pt idx="16662" formatCode="0.0%">
                  <c:v>0.10234581651097045</c:v>
                </c:pt>
                <c:pt idx="16663" formatCode="0.0%">
                  <c:v>0.10260826946913545</c:v>
                </c:pt>
                <c:pt idx="16664" formatCode="0.0%">
                  <c:v>9.9596719415548471E-2</c:v>
                </c:pt>
                <c:pt idx="16665" formatCode="0.0%">
                  <c:v>9.890255959137241E-2</c:v>
                </c:pt>
                <c:pt idx="16666" formatCode="0.0%">
                  <c:v>9.8133180415327509E-2</c:v>
                </c:pt>
                <c:pt idx="16667" formatCode="0.0%">
                  <c:v>9.8398843853267082E-2</c:v>
                </c:pt>
                <c:pt idx="16668" formatCode="0.0%">
                  <c:v>9.7601318129614104E-2</c:v>
                </c:pt>
                <c:pt idx="16669" formatCode="0.0%">
                  <c:v>9.8864676686905462E-2</c:v>
                </c:pt>
                <c:pt idx="16670" formatCode="0.0%">
                  <c:v>9.4289578622189632E-2</c:v>
                </c:pt>
                <c:pt idx="16671" formatCode="0.0%">
                  <c:v>8.038672714411195E-2</c:v>
                </c:pt>
                <c:pt idx="16672" formatCode="0.0%">
                  <c:v>7.7841176530671075E-2</c:v>
                </c:pt>
                <c:pt idx="16673" formatCode="0.0%">
                  <c:v>6.512942046365261E-2</c:v>
                </c:pt>
                <c:pt idx="16674" formatCode="0.0%">
                  <c:v>6.3963367635161722E-2</c:v>
                </c:pt>
                <c:pt idx="16675" formatCode="0.0%">
                  <c:v>6.3954293176400015E-2</c:v>
                </c:pt>
                <c:pt idx="16676" formatCode="0.0%">
                  <c:v>6.6681232730225526E-2</c:v>
                </c:pt>
                <c:pt idx="16677" formatCode="0.0%">
                  <c:v>6.0701518245814733E-2</c:v>
                </c:pt>
                <c:pt idx="16678" formatCode="0.0%">
                  <c:v>5.2622381840161957E-2</c:v>
                </c:pt>
                <c:pt idx="16679" formatCode="0.0%">
                  <c:v>5.6847312733958086E-2</c:v>
                </c:pt>
                <c:pt idx="16680" formatCode="0.0%">
                  <c:v>6.0396600943563354E-2</c:v>
                </c:pt>
                <c:pt idx="16681" formatCode="0.0%">
                  <c:v>6.7475969195219476E-2</c:v>
                </c:pt>
                <c:pt idx="16682" formatCode="0.0%">
                  <c:v>6.7723955463349875E-2</c:v>
                </c:pt>
                <c:pt idx="16683" formatCode="0.0%">
                  <c:v>7.1276505905870563E-2</c:v>
                </c:pt>
                <c:pt idx="16684" formatCode="0.0%">
                  <c:v>8.7373798614795745E-2</c:v>
                </c:pt>
                <c:pt idx="16685" formatCode="0.0%">
                  <c:v>9.6604129284435403E-2</c:v>
                </c:pt>
                <c:pt idx="16686" formatCode="0.0%">
                  <c:v>9.6757415643855246E-2</c:v>
                </c:pt>
                <c:pt idx="16687" formatCode="0.0%">
                  <c:v>9.7329964798083632E-2</c:v>
                </c:pt>
                <c:pt idx="16688" formatCode="0.0%">
                  <c:v>9.9829241615147529E-2</c:v>
                </c:pt>
                <c:pt idx="16689" formatCode="0.0%">
                  <c:v>9.8918497281590106E-2</c:v>
                </c:pt>
                <c:pt idx="16690" formatCode="0.0%">
                  <c:v>9.9038953001347074E-2</c:v>
                </c:pt>
                <c:pt idx="16691" formatCode="0.0%">
                  <c:v>9.9083391072984417E-2</c:v>
                </c:pt>
                <c:pt idx="16692" formatCode="0.0%">
                  <c:v>0.10148399509117978</c:v>
                </c:pt>
                <c:pt idx="16693" formatCode="0.0%">
                  <c:v>0.1018323314597641</c:v>
                </c:pt>
                <c:pt idx="16694" formatCode="0.0%">
                  <c:v>0.10165538560564609</c:v>
                </c:pt>
                <c:pt idx="16695" formatCode="0.0%">
                  <c:v>0.10141664084801938</c:v>
                </c:pt>
                <c:pt idx="16696" formatCode="0.0%">
                  <c:v>9.7281196515549173E-2</c:v>
                </c:pt>
                <c:pt idx="16697" formatCode="0.0%">
                  <c:v>0.10549173595017342</c:v>
                </c:pt>
                <c:pt idx="16698" formatCode="0.0%">
                  <c:v>0.10502329414712828</c:v>
                </c:pt>
                <c:pt idx="16699" formatCode="0.0%">
                  <c:v>0.10247534221011516</c:v>
                </c:pt>
                <c:pt idx="16700" formatCode="0.0%">
                  <c:v>0.10042108721478081</c:v>
                </c:pt>
                <c:pt idx="16701" formatCode="0.0%">
                  <c:v>9.6526258733890355E-2</c:v>
                </c:pt>
                <c:pt idx="16702" formatCode="0.0%">
                  <c:v>9.5835073330719181E-2</c:v>
                </c:pt>
                <c:pt idx="16703" formatCode="0.0%">
                  <c:v>9.1555776987212303E-2</c:v>
                </c:pt>
                <c:pt idx="16704" formatCode="0.0%">
                  <c:v>7.0468902230415797E-2</c:v>
                </c:pt>
                <c:pt idx="16705" formatCode="0.0%">
                  <c:v>6.2987256847645584E-2</c:v>
                </c:pt>
                <c:pt idx="16706" formatCode="0.0%">
                  <c:v>6.2341302915835332E-2</c:v>
                </c:pt>
                <c:pt idx="16707" formatCode="0.0%">
                  <c:v>6.244431867393712E-2</c:v>
                </c:pt>
                <c:pt idx="16708" formatCode="0.0%">
                  <c:v>6.0710655701117097E-2</c:v>
                </c:pt>
                <c:pt idx="16709" formatCode="0.0%">
                  <c:v>6.1981931174521367E-2</c:v>
                </c:pt>
                <c:pt idx="16710" formatCode="0.0%">
                  <c:v>6.2530419408462878E-2</c:v>
                </c:pt>
                <c:pt idx="16711" formatCode="0.0%">
                  <c:v>6.2041553713023126E-2</c:v>
                </c:pt>
                <c:pt idx="16712" formatCode="0.0%">
                  <c:v>6.7296505180770877E-2</c:v>
                </c:pt>
                <c:pt idx="16713" formatCode="0.0%">
                  <c:v>6.8467711298923206E-2</c:v>
                </c:pt>
                <c:pt idx="16714" formatCode="0.0%">
                  <c:v>6.6733376979498368E-2</c:v>
                </c:pt>
                <c:pt idx="16715" formatCode="0.0%">
                  <c:v>6.6655758235313445E-2</c:v>
                </c:pt>
                <c:pt idx="16716" formatCode="0.0%">
                  <c:v>6.8179831980357181E-2</c:v>
                </c:pt>
                <c:pt idx="16717" formatCode="0.0%">
                  <c:v>6.0677297341754199E-2</c:v>
                </c:pt>
                <c:pt idx="16718" formatCode="0.0%">
                  <c:v>6.4307224474768027E-2</c:v>
                </c:pt>
                <c:pt idx="16719" formatCode="0.0%">
                  <c:v>6.4590705632936174E-2</c:v>
                </c:pt>
                <c:pt idx="16720" formatCode="0.0%">
                  <c:v>6.8266136869929328E-2</c:v>
                </c:pt>
                <c:pt idx="16721" formatCode="0.0%">
                  <c:v>6.4348095690526408E-2</c:v>
                </c:pt>
                <c:pt idx="16722" formatCode="0.0%">
                  <c:v>6.7448118948942384E-2</c:v>
                </c:pt>
                <c:pt idx="16723" formatCode="0.0%">
                  <c:v>6.744815481876959E-2</c:v>
                </c:pt>
                <c:pt idx="16724" formatCode="0.0%">
                  <c:v>6.8752720656615668E-2</c:v>
                </c:pt>
                <c:pt idx="16725" formatCode="0.0%">
                  <c:v>6.9183064646891362E-2</c:v>
                </c:pt>
                <c:pt idx="16726" formatCode="0.0%">
                  <c:v>7.4396360469198439E-2</c:v>
                </c:pt>
                <c:pt idx="16727" formatCode="0.0%">
                  <c:v>7.5230541509380952E-2</c:v>
                </c:pt>
                <c:pt idx="16728" formatCode="0.0%">
                  <c:v>8.0263475109971949E-2</c:v>
                </c:pt>
                <c:pt idx="16729" formatCode="0.0%">
                  <c:v>7.8631089411894103E-2</c:v>
                </c:pt>
                <c:pt idx="16730" formatCode="0.0%">
                  <c:v>7.8295544042631213E-2</c:v>
                </c:pt>
                <c:pt idx="16731" formatCode="0.0%">
                  <c:v>7.8944621820468588E-2</c:v>
                </c:pt>
                <c:pt idx="16732" formatCode="0.0%">
                  <c:v>7.6779394129426776E-2</c:v>
                </c:pt>
                <c:pt idx="16733" formatCode="0.0%">
                  <c:v>7.836513714815857E-2</c:v>
                </c:pt>
                <c:pt idx="16734" formatCode="0.0%">
                  <c:v>7.8369999742405591E-2</c:v>
                </c:pt>
                <c:pt idx="16735" formatCode="0.0%">
                  <c:v>7.9164620374538183E-2</c:v>
                </c:pt>
                <c:pt idx="16736" formatCode="0.0%">
                  <c:v>7.8844926031407525E-2</c:v>
                </c:pt>
                <c:pt idx="16737" formatCode="0.0%">
                  <c:v>8.8305877933908497E-2</c:v>
                </c:pt>
                <c:pt idx="16738" formatCode="0.0%">
                  <c:v>8.7513995301123151E-2</c:v>
                </c:pt>
                <c:pt idx="16739" formatCode="0.0%">
                  <c:v>8.7550062864145878E-2</c:v>
                </c:pt>
                <c:pt idx="16740" formatCode="0.0%">
                  <c:v>8.3424969809018104E-2</c:v>
                </c:pt>
                <c:pt idx="16741" formatCode="0.0%">
                  <c:v>9.420742433388099E-2</c:v>
                </c:pt>
                <c:pt idx="16742" formatCode="0.0%">
                  <c:v>9.7412718766410555E-2</c:v>
                </c:pt>
                <c:pt idx="16743" formatCode="0.0%">
                  <c:v>9.7567291600755668E-2</c:v>
                </c:pt>
                <c:pt idx="16744" formatCode="0.0%">
                  <c:v>0.11387757778670148</c:v>
                </c:pt>
                <c:pt idx="16745" formatCode="0.0%">
                  <c:v>0.11344773066474899</c:v>
                </c:pt>
                <c:pt idx="16746" formatCode="0.0%">
                  <c:v>0.1071126273739985</c:v>
                </c:pt>
                <c:pt idx="16747" formatCode="0.0%">
                  <c:v>0.10744913170704973</c:v>
                </c:pt>
                <c:pt idx="16748" formatCode="0.0%">
                  <c:v>9.6838728814238037E-2</c:v>
                </c:pt>
                <c:pt idx="16749" formatCode="0.0%">
                  <c:v>9.7320774882857702E-2</c:v>
                </c:pt>
                <c:pt idx="16750" formatCode="0.0%">
                  <c:v>9.9604537081808137E-2</c:v>
                </c:pt>
                <c:pt idx="16751" formatCode="0.0%">
                  <c:v>0.1008308241014767</c:v>
                </c:pt>
                <c:pt idx="16752" formatCode="0.0%">
                  <c:v>0.10029518509619491</c:v>
                </c:pt>
                <c:pt idx="16753" formatCode="0.0%">
                  <c:v>9.9519283336040099E-2</c:v>
                </c:pt>
                <c:pt idx="16754" formatCode="0.0%">
                  <c:v>0.11148125730840112</c:v>
                </c:pt>
                <c:pt idx="16755" formatCode="0.0%">
                  <c:v>0.11149495401741444</c:v>
                </c:pt>
                <c:pt idx="16756" formatCode="0.0%">
                  <c:v>0.10881990157030164</c:v>
                </c:pt>
                <c:pt idx="16757" formatCode="0.0%">
                  <c:v>0.10797081296529158</c:v>
                </c:pt>
                <c:pt idx="16758" formatCode="0.0%">
                  <c:v>0.11305123795293764</c:v>
                </c:pt>
                <c:pt idx="16759" formatCode="0.0%">
                  <c:v>0.12511695981106086</c:v>
                </c:pt>
                <c:pt idx="16760" formatCode="0.0%">
                  <c:v>0.1246399750779553</c:v>
                </c:pt>
                <c:pt idx="16761" formatCode="0.0%">
                  <c:v>0.11657993982524691</c:v>
                </c:pt>
                <c:pt idx="16762" formatCode="0.0%">
                  <c:v>0.11426201974169764</c:v>
                </c:pt>
                <c:pt idx="16763" formatCode="0.0%">
                  <c:v>0.11424735146197422</c:v>
                </c:pt>
                <c:pt idx="16764" formatCode="0.0%">
                  <c:v>9.848068200040859E-2</c:v>
                </c:pt>
                <c:pt idx="16765" formatCode="0.0%">
                  <c:v>9.8525920895705318E-2</c:v>
                </c:pt>
                <c:pt idx="16766" formatCode="0.0%">
                  <c:v>0.10275045721086529</c:v>
                </c:pt>
                <c:pt idx="16767" formatCode="0.0%">
                  <c:v>0.10316787976246074</c:v>
                </c:pt>
                <c:pt idx="16768" formatCode="0.0%">
                  <c:v>0.10800854029235159</c:v>
                </c:pt>
                <c:pt idx="16769" formatCode="0.0%">
                  <c:v>0.10770942541197208</c:v>
                </c:pt>
                <c:pt idx="16770" formatCode="0.0%">
                  <c:v>0.1057358977049134</c:v>
                </c:pt>
                <c:pt idx="16771" formatCode="0.0%">
                  <c:v>0.1066767827674855</c:v>
                </c:pt>
                <c:pt idx="16772" formatCode="0.0%">
                  <c:v>0.12167802710091769</c:v>
                </c:pt>
                <c:pt idx="16773" formatCode="0.0%">
                  <c:v>0.12205790295031975</c:v>
                </c:pt>
                <c:pt idx="16774" formatCode="0.0%">
                  <c:v>0.11108725029169453</c:v>
                </c:pt>
                <c:pt idx="16775" formatCode="0.0%">
                  <c:v>0.11206261876355075</c:v>
                </c:pt>
                <c:pt idx="16776" formatCode="0.0%">
                  <c:v>0.11118630280528177</c:v>
                </c:pt>
                <c:pt idx="16777" formatCode="0.0%">
                  <c:v>0.1200719002038747</c:v>
                </c:pt>
                <c:pt idx="16778" formatCode="0.0%">
                  <c:v>0.11654272670450433</c:v>
                </c:pt>
                <c:pt idx="16779" formatCode="0.0%">
                  <c:v>0.10590572714068078</c:v>
                </c:pt>
                <c:pt idx="16780" formatCode="0.0%">
                  <c:v>0.10589442317968704</c:v>
                </c:pt>
                <c:pt idx="16781" formatCode="0.0%">
                  <c:v>0.10450464402605895</c:v>
                </c:pt>
                <c:pt idx="16782" formatCode="0.0%">
                  <c:v>0.10470124488413295</c:v>
                </c:pt>
                <c:pt idx="16783" formatCode="0.0%">
                  <c:v>0.10914541385038366</c:v>
                </c:pt>
                <c:pt idx="16784" formatCode="0.0%">
                  <c:v>0.10898498046134464</c:v>
                </c:pt>
                <c:pt idx="16785" formatCode="0.0%">
                  <c:v>0.10695056394480379</c:v>
                </c:pt>
                <c:pt idx="16786" formatCode="0.0%">
                  <c:v>0.1049599964608267</c:v>
                </c:pt>
                <c:pt idx="16787" formatCode="0.0%">
                  <c:v>0.1051174365586149</c:v>
                </c:pt>
                <c:pt idx="16788" formatCode="0.0%">
                  <c:v>0.10332201538713859</c:v>
                </c:pt>
                <c:pt idx="16789" formatCode="0.0%">
                  <c:v>0.12075195714023129</c:v>
                </c:pt>
                <c:pt idx="16790" formatCode="0.0%">
                  <c:v>0.12005689384619343</c:v>
                </c:pt>
                <c:pt idx="16791" formatCode="0.0%">
                  <c:v>0.11861255703188744</c:v>
                </c:pt>
                <c:pt idx="16792" formatCode="0.0%">
                  <c:v>9.9594015722816467E-2</c:v>
                </c:pt>
                <c:pt idx="16793" formatCode="0.0%">
                  <c:v>0.10069589560874612</c:v>
                </c:pt>
                <c:pt idx="16794" formatCode="0.0%">
                  <c:v>9.7917291720726399E-2</c:v>
                </c:pt>
                <c:pt idx="16795" formatCode="0.0%">
                  <c:v>0.10268483533549735</c:v>
                </c:pt>
                <c:pt idx="16796" formatCode="0.0%">
                  <c:v>0.10947587268384619</c:v>
                </c:pt>
                <c:pt idx="16797" formatCode="0.0%">
                  <c:v>0.1022484115516266</c:v>
                </c:pt>
                <c:pt idx="16798" formatCode="0.0%">
                  <c:v>0.10178133143218158</c:v>
                </c:pt>
                <c:pt idx="16799" formatCode="0.0%">
                  <c:v>9.9179545209689871E-2</c:v>
                </c:pt>
                <c:pt idx="16800" formatCode="0.0%">
                  <c:v>0.10686669795682509</c:v>
                </c:pt>
                <c:pt idx="16801" formatCode="0.0%">
                  <c:v>0.10868244024573825</c:v>
                </c:pt>
                <c:pt idx="16802" formatCode="0.0%">
                  <c:v>0.11142138999857598</c:v>
                </c:pt>
                <c:pt idx="16803" formatCode="0.0%">
                  <c:v>0.10648103143030224</c:v>
                </c:pt>
                <c:pt idx="16804" formatCode="0.0%">
                  <c:v>0.11515714480674565</c:v>
                </c:pt>
                <c:pt idx="16805" formatCode="0.0%">
                  <c:v>0.11505635511266582</c:v>
                </c:pt>
                <c:pt idx="16806" formatCode="0.0%">
                  <c:v>0.11832535933637642</c:v>
                </c:pt>
                <c:pt idx="16807" formatCode="0.0%">
                  <c:v>0.11751998044093552</c:v>
                </c:pt>
                <c:pt idx="16808" formatCode="0.0%">
                  <c:v>0.11514141974888467</c:v>
                </c:pt>
                <c:pt idx="16809" formatCode="0.0%">
                  <c:v>9.5055135491422471E-2</c:v>
                </c:pt>
                <c:pt idx="16810" formatCode="0.0%">
                  <c:v>9.497566720868339E-2</c:v>
                </c:pt>
                <c:pt idx="16811" formatCode="0.0%">
                  <c:v>9.371171819559139E-2</c:v>
                </c:pt>
                <c:pt idx="16812" formatCode="0.0%">
                  <c:v>9.4625707555193436E-2</c:v>
                </c:pt>
                <c:pt idx="16813" formatCode="0.0%">
                  <c:v>9.5736915808141781E-2</c:v>
                </c:pt>
                <c:pt idx="16814" formatCode="0.0%">
                  <c:v>9.4636039831565932E-2</c:v>
                </c:pt>
                <c:pt idx="16815" formatCode="0.0%">
                  <c:v>8.6777436349186707E-2</c:v>
                </c:pt>
                <c:pt idx="16816" formatCode="0.0%">
                  <c:v>8.0737520340652333E-2</c:v>
                </c:pt>
                <c:pt idx="16817" formatCode="0.0%">
                  <c:v>8.132160080736886E-2</c:v>
                </c:pt>
                <c:pt idx="16818" formatCode="0.0%">
                  <c:v>8.1401065757760446E-2</c:v>
                </c:pt>
                <c:pt idx="16819" formatCode="0.0%">
                  <c:v>7.9280461271950611E-2</c:v>
                </c:pt>
                <c:pt idx="16820" formatCode="0.0%">
                  <c:v>6.0026139622082975E-2</c:v>
                </c:pt>
                <c:pt idx="16821" formatCode="0.0%">
                  <c:v>5.970009758105984E-2</c:v>
                </c:pt>
                <c:pt idx="16822" formatCode="0.0%">
                  <c:v>5.8048287890189884E-2</c:v>
                </c:pt>
                <c:pt idx="16823" formatCode="0.0%">
                  <c:v>5.8248653041163161E-2</c:v>
                </c:pt>
                <c:pt idx="16824" formatCode="0.0%">
                  <c:v>5.556252672707216E-2</c:v>
                </c:pt>
                <c:pt idx="16825" formatCode="0.0%">
                  <c:v>5.9585699248724033E-2</c:v>
                </c:pt>
                <c:pt idx="16826" formatCode="0.0%">
                  <c:v>5.5134559813234514E-2</c:v>
                </c:pt>
                <c:pt idx="16827" formatCode="0.0%">
                  <c:v>5.4364641523470751E-2</c:v>
                </c:pt>
                <c:pt idx="16828" formatCode="0.0%">
                  <c:v>5.9215609164577181E-2</c:v>
                </c:pt>
                <c:pt idx="16829" formatCode="0.0%">
                  <c:v>6.0124725307324815E-2</c:v>
                </c:pt>
                <c:pt idx="16830" formatCode="0.0%">
                  <c:v>6.0381839999573875E-2</c:v>
                </c:pt>
                <c:pt idx="16831" formatCode="0.0%">
                  <c:v>6.0404555608178812E-2</c:v>
                </c:pt>
                <c:pt idx="16832" formatCode="0.0%">
                  <c:v>5.8334070135725648E-2</c:v>
                </c:pt>
                <c:pt idx="16833" formatCode="0.0%">
                  <c:v>5.6508938730965227E-2</c:v>
                </c:pt>
                <c:pt idx="16834" formatCode="0.0%">
                  <c:v>5.7932560356154086E-2</c:v>
                </c:pt>
                <c:pt idx="16835" formatCode="0.0%">
                  <c:v>5.7814427892419855E-2</c:v>
                </c:pt>
                <c:pt idx="16836" formatCode="0.0%">
                  <c:v>5.8573089469101711E-2</c:v>
                </c:pt>
                <c:pt idx="16837" formatCode="0.0%">
                  <c:v>5.8101168198420358E-2</c:v>
                </c:pt>
                <c:pt idx="16838" formatCode="0.0%">
                  <c:v>5.9336276328829339E-2</c:v>
                </c:pt>
                <c:pt idx="16839" formatCode="0.0%">
                  <c:v>7.0906534172514232E-2</c:v>
                </c:pt>
                <c:pt idx="16840" formatCode="0.0%">
                  <c:v>7.1573211582382404E-2</c:v>
                </c:pt>
                <c:pt idx="16841" formatCode="0.0%">
                  <c:v>7.2279644061824022E-2</c:v>
                </c:pt>
                <c:pt idx="16842" formatCode="0.0%">
                  <c:v>7.2022671166246444E-2</c:v>
                </c:pt>
                <c:pt idx="16843" formatCode="0.0%">
                  <c:v>7.3169881035265227E-2</c:v>
                </c:pt>
                <c:pt idx="16844" formatCode="0.0%">
                  <c:v>6.7900266373335932E-2</c:v>
                </c:pt>
                <c:pt idx="16845" formatCode="0.0%">
                  <c:v>6.461401839628847E-2</c:v>
                </c:pt>
                <c:pt idx="16846" formatCode="0.0%">
                  <c:v>6.4645233211866868E-2</c:v>
                </c:pt>
                <c:pt idx="16847" formatCode="0.0%">
                  <c:v>6.4915361042612169E-2</c:v>
                </c:pt>
                <c:pt idx="16848" formatCode="0.0%">
                  <c:v>5.8644276548738702E-2</c:v>
                </c:pt>
                <c:pt idx="16849" formatCode="0.0%">
                  <c:v>6.2069203166893717E-2</c:v>
                </c:pt>
                <c:pt idx="16850" formatCode="0.0%">
                  <c:v>6.205541166404898E-2</c:v>
                </c:pt>
                <c:pt idx="16851" formatCode="0.0%">
                  <c:v>6.2614796872827089E-2</c:v>
                </c:pt>
                <c:pt idx="16852" formatCode="0.0%">
                  <c:v>6.2746541413599519E-2</c:v>
                </c:pt>
                <c:pt idx="16853" formatCode="0.0%">
                  <c:v>6.2760805152425422E-2</c:v>
                </c:pt>
                <c:pt idx="16854" formatCode="0.0%">
                  <c:v>7.3011343297429435E-2</c:v>
                </c:pt>
                <c:pt idx="16855" formatCode="0.0%">
                  <c:v>7.2996667155147923E-2</c:v>
                </c:pt>
                <c:pt idx="16856" formatCode="0.0%">
                  <c:v>7.5102924869940621E-2</c:v>
                </c:pt>
                <c:pt idx="16857" formatCode="0.0%">
                  <c:v>7.5487889562547789E-2</c:v>
                </c:pt>
                <c:pt idx="16858" formatCode="0.0%">
                  <c:v>7.4391992490397102E-2</c:v>
                </c:pt>
                <c:pt idx="16859" formatCode="0.0%">
                  <c:v>6.2018131338115776E-2</c:v>
                </c:pt>
                <c:pt idx="16860" formatCode="0.0%">
                  <c:v>6.5733207383122383E-2</c:v>
                </c:pt>
                <c:pt idx="16861" formatCode="0.0%">
                  <c:v>6.6038617407430597E-2</c:v>
                </c:pt>
                <c:pt idx="16862" formatCode="0.0%">
                  <c:v>6.6009636513306158E-2</c:v>
                </c:pt>
                <c:pt idx="16863" formatCode="0.0%">
                  <c:v>7.9790887736506333E-2</c:v>
                </c:pt>
                <c:pt idx="16864" formatCode="0.0%">
                  <c:v>7.9546149367642024E-2</c:v>
                </c:pt>
                <c:pt idx="16865" formatCode="0.0%">
                  <c:v>8.1381234183032003E-2</c:v>
                </c:pt>
                <c:pt idx="16866" formatCode="0.0%">
                  <c:v>8.2110807979926176E-2</c:v>
                </c:pt>
                <c:pt idx="16867" formatCode="0.0%">
                  <c:v>8.4335988398714493E-2</c:v>
                </c:pt>
                <c:pt idx="16868" formatCode="0.0%">
                  <c:v>8.4385643307547151E-2</c:v>
                </c:pt>
                <c:pt idx="16869" formatCode="0.0%">
                  <c:v>7.9235941655003056E-2</c:v>
                </c:pt>
                <c:pt idx="16870" formatCode="0.0%">
                  <c:v>8.0269942595399935E-2</c:v>
                </c:pt>
                <c:pt idx="16871" formatCode="0.0%">
                  <c:v>7.9165411103263944E-2</c:v>
                </c:pt>
                <c:pt idx="16872" formatCode="0.0%">
                  <c:v>7.8528658723484676E-2</c:v>
                </c:pt>
                <c:pt idx="16873" formatCode="0.0%">
                  <c:v>8.4897399363118742E-2</c:v>
                </c:pt>
                <c:pt idx="16874" formatCode="0.0%">
                  <c:v>7.6519476096494066E-2</c:v>
                </c:pt>
                <c:pt idx="16875" formatCode="0.0%">
                  <c:v>7.3810816181288749E-2</c:v>
                </c:pt>
                <c:pt idx="16876" formatCode="0.0%">
                  <c:v>7.2235167852231469E-2</c:v>
                </c:pt>
                <c:pt idx="16877" formatCode="0.0%">
                  <c:v>7.2653834652427307E-2</c:v>
                </c:pt>
                <c:pt idx="16878" formatCode="0.0%">
                  <c:v>7.4506223843282232E-2</c:v>
                </c:pt>
                <c:pt idx="16879" formatCode="0.0%">
                  <c:v>7.4426410517440367E-2</c:v>
                </c:pt>
                <c:pt idx="16880" formatCode="0.0%">
                  <c:v>6.8580909619048488E-2</c:v>
                </c:pt>
                <c:pt idx="16881" formatCode="0.0%">
                  <c:v>6.8840928045543856E-2</c:v>
                </c:pt>
                <c:pt idx="16882" formatCode="0.0%">
                  <c:v>6.851073030045679E-2</c:v>
                </c:pt>
                <c:pt idx="16883" formatCode="0.0%">
                  <c:v>5.532623924472687E-2</c:v>
                </c:pt>
                <c:pt idx="16884" formatCode="0.0%">
                  <c:v>5.5298632322337046E-2</c:v>
                </c:pt>
                <c:pt idx="16885" formatCode="0.0%">
                  <c:v>5.5415364847808131E-2</c:v>
                </c:pt>
                <c:pt idx="16886" formatCode="0.0%">
                  <c:v>5.4387209432057021E-2</c:v>
                </c:pt>
                <c:pt idx="16887" formatCode="0.0%">
                  <c:v>5.1157306397104897E-2</c:v>
                </c:pt>
                <c:pt idx="16888" formatCode="0.0%">
                  <c:v>5.757883084035733E-2</c:v>
                </c:pt>
                <c:pt idx="16889" formatCode="0.0%">
                  <c:v>5.8281104880417343E-2</c:v>
                </c:pt>
                <c:pt idx="16890" formatCode="0.0%">
                  <c:v>5.7547101165695509E-2</c:v>
                </c:pt>
                <c:pt idx="16891" formatCode="0.0%">
                  <c:v>5.7547234201653551E-2</c:v>
                </c:pt>
                <c:pt idx="16892" formatCode="0.0%">
                  <c:v>6.056059006060209E-2</c:v>
                </c:pt>
                <c:pt idx="16893" formatCode="0.0%">
                  <c:v>5.7911091232430302E-2</c:v>
                </c:pt>
                <c:pt idx="16894" formatCode="0.0%">
                  <c:v>5.7327409321154439E-2</c:v>
                </c:pt>
                <c:pt idx="16895" formatCode="0.0%">
                  <c:v>5.7301801446095681E-2</c:v>
                </c:pt>
                <c:pt idx="16896" formatCode="0.0%">
                  <c:v>5.6651209156273696E-2</c:v>
                </c:pt>
                <c:pt idx="16897" formatCode="0.0%">
                  <c:v>5.579760588457057E-2</c:v>
                </c:pt>
                <c:pt idx="16898" formatCode="0.0%">
                  <c:v>5.4135218476059808E-2</c:v>
                </c:pt>
                <c:pt idx="16899" formatCode="0.0%">
                  <c:v>5.4023051158444774E-2</c:v>
                </c:pt>
                <c:pt idx="16900" formatCode="0.0%">
                  <c:v>6.1068040412430837E-2</c:v>
                </c:pt>
                <c:pt idx="16901" formatCode="0.0%">
                  <c:v>6.1194999819062602E-2</c:v>
                </c:pt>
                <c:pt idx="16902" formatCode="0.0%">
                  <c:v>6.170949781265507E-2</c:v>
                </c:pt>
                <c:pt idx="16903" formatCode="0.0%">
                  <c:v>6.5172779529417052E-2</c:v>
                </c:pt>
                <c:pt idx="16904" formatCode="0.0%">
                  <c:v>6.574078947946857E-2</c:v>
                </c:pt>
                <c:pt idx="16905" formatCode="0.0%">
                  <c:v>6.3535052379540269E-2</c:v>
                </c:pt>
                <c:pt idx="16906" formatCode="0.0%">
                  <c:v>6.3615047266155203E-2</c:v>
                </c:pt>
                <c:pt idx="16907" formatCode="0.0%">
                  <c:v>6.3037071013559029E-2</c:v>
                </c:pt>
                <c:pt idx="16908" formatCode="0.0%">
                  <c:v>5.6649405466655686E-2</c:v>
                </c:pt>
                <c:pt idx="16909" formatCode="0.0%">
                  <c:v>5.52681304121048E-2</c:v>
                </c:pt>
                <c:pt idx="16910" formatCode="0.0%">
                  <c:v>5.6346743416430957E-2</c:v>
                </c:pt>
                <c:pt idx="16911" formatCode="0.0%">
                  <c:v>8.1187440304365463E-2</c:v>
                </c:pt>
                <c:pt idx="16912" formatCode="0.0%">
                  <c:v>7.9362953743646825E-2</c:v>
                </c:pt>
                <c:pt idx="16913" formatCode="0.0%">
                  <c:v>7.9284446726944874E-2</c:v>
                </c:pt>
                <c:pt idx="16914" formatCode="0.0%">
                  <c:v>8.3926103194555957E-2</c:v>
                </c:pt>
                <c:pt idx="16915" formatCode="0.0%">
                  <c:v>8.4091497164930223E-2</c:v>
                </c:pt>
                <c:pt idx="16916" formatCode="0.0%">
                  <c:v>8.4270004145283475E-2</c:v>
                </c:pt>
                <c:pt idx="16917" formatCode="0.0%">
                  <c:v>9.2515763167317341E-2</c:v>
                </c:pt>
                <c:pt idx="16918" formatCode="0.0%">
                  <c:v>9.2368660768249886E-2</c:v>
                </c:pt>
                <c:pt idx="16919" formatCode="0.0%">
                  <c:v>0.11170253513811848</c:v>
                </c:pt>
                <c:pt idx="16920" formatCode="0.0%">
                  <c:v>0.10649098420553339</c:v>
                </c:pt>
                <c:pt idx="16921" formatCode="0.0%">
                  <c:v>0.10698804202696925</c:v>
                </c:pt>
                <c:pt idx="16922" formatCode="0.0%">
                  <c:v>0.10795451539780498</c:v>
                </c:pt>
                <c:pt idx="16923" formatCode="0.0%">
                  <c:v>0.10578097633378236</c:v>
                </c:pt>
                <c:pt idx="16924" formatCode="0.0%">
                  <c:v>0.10748853793432628</c:v>
                </c:pt>
                <c:pt idx="16925" formatCode="0.0%">
                  <c:v>0.10778321750276347</c:v>
                </c:pt>
                <c:pt idx="16926" formatCode="0.0%">
                  <c:v>0.11249947124965051</c:v>
                </c:pt>
                <c:pt idx="16927" formatCode="0.0%">
                  <c:v>0.11384708386996742</c:v>
                </c:pt>
                <c:pt idx="16928" formatCode="0.0%">
                  <c:v>0.11782691458661214</c:v>
                </c:pt>
                <c:pt idx="16929" formatCode="0.0%">
                  <c:v>0.1178266164949502</c:v>
                </c:pt>
                <c:pt idx="16930" formatCode="0.0%">
                  <c:v>0.11733138700234351</c:v>
                </c:pt>
                <c:pt idx="16931" formatCode="0.0%">
                  <c:v>0.10321250712148611</c:v>
                </c:pt>
                <c:pt idx="16932" formatCode="0.0%">
                  <c:v>0.10647484147321032</c:v>
                </c:pt>
                <c:pt idx="16933" formatCode="0.0%">
                  <c:v>0.10439816974370612</c:v>
                </c:pt>
                <c:pt idx="16934" formatCode="0.0%">
                  <c:v>0.10141636669560283</c:v>
                </c:pt>
                <c:pt idx="16935" formatCode="0.0%">
                  <c:v>0.10912049356275222</c:v>
                </c:pt>
                <c:pt idx="16936" formatCode="0.0%">
                  <c:v>0.11008451955516399</c:v>
                </c:pt>
                <c:pt idx="16937" formatCode="0.0%">
                  <c:v>0.11122817244472176</c:v>
                </c:pt>
                <c:pt idx="16938" formatCode="0.0%">
                  <c:v>0.11246246306299131</c:v>
                </c:pt>
                <c:pt idx="16939" formatCode="0.0%">
                  <c:v>9.4033765745793724E-2</c:v>
                </c:pt>
                <c:pt idx="16940" formatCode="0.0%">
                  <c:v>9.44553021219489E-2</c:v>
                </c:pt>
                <c:pt idx="16941" formatCode="0.0%">
                  <c:v>9.3890378469252037E-2</c:v>
                </c:pt>
                <c:pt idx="16942" formatCode="0.0%">
                  <c:v>9.3052567870700251E-2</c:v>
                </c:pt>
                <c:pt idx="16943" formatCode="0.0%">
                  <c:v>9.2997108119436664E-2</c:v>
                </c:pt>
                <c:pt idx="16944" formatCode="0.0%">
                  <c:v>9.844375483418441E-2</c:v>
                </c:pt>
                <c:pt idx="16945" formatCode="0.0%">
                  <c:v>9.7937689161850652E-2</c:v>
                </c:pt>
                <c:pt idx="16946" formatCode="0.0%">
                  <c:v>8.9811370564506249E-2</c:v>
                </c:pt>
                <c:pt idx="16947" formatCode="0.0%">
                  <c:v>9.2458656897250038E-2</c:v>
                </c:pt>
                <c:pt idx="16948" formatCode="0.0%">
                  <c:v>9.3911313571266114E-2</c:v>
                </c:pt>
                <c:pt idx="16949" formatCode="0.0%">
                  <c:v>9.4057179355374693E-2</c:v>
                </c:pt>
                <c:pt idx="16950" formatCode="0.0%">
                  <c:v>9.5193652287147712E-2</c:v>
                </c:pt>
                <c:pt idx="16951" formatCode="0.0%">
                  <c:v>9.5197402828994138E-2</c:v>
                </c:pt>
                <c:pt idx="16952" formatCode="0.0%">
                  <c:v>9.6338904796429675E-2</c:v>
                </c:pt>
                <c:pt idx="16953" formatCode="0.0%">
                  <c:v>0.10951046051483615</c:v>
                </c:pt>
                <c:pt idx="16954" formatCode="0.0%">
                  <c:v>0.11005012808928873</c:v>
                </c:pt>
                <c:pt idx="16955" formatCode="0.0%">
                  <c:v>0.10037132504784836</c:v>
                </c:pt>
                <c:pt idx="16956" formatCode="0.0%">
                  <c:v>0.10145795319586477</c:v>
                </c:pt>
                <c:pt idx="16957" formatCode="0.0%">
                  <c:v>9.6124456382381637E-2</c:v>
                </c:pt>
                <c:pt idx="16958" formatCode="0.0%">
                  <c:v>9.4581799650563431E-2</c:v>
                </c:pt>
                <c:pt idx="16959" formatCode="0.0%">
                  <c:v>9.5652190563249695E-2</c:v>
                </c:pt>
                <c:pt idx="16960" formatCode="0.0%">
                  <c:v>9.7222390389330629E-2</c:v>
                </c:pt>
                <c:pt idx="16961" formatCode="0.0%">
                  <c:v>9.7913932802473735E-2</c:v>
                </c:pt>
                <c:pt idx="16962" formatCode="0.0%">
                  <c:v>9.9489657176784999E-2</c:v>
                </c:pt>
                <c:pt idx="16963" formatCode="0.0%">
                  <c:v>9.9895889283102002E-2</c:v>
                </c:pt>
                <c:pt idx="16964" formatCode="0.0%">
                  <c:v>9.0764052868704773E-2</c:v>
                </c:pt>
                <c:pt idx="16965" formatCode="0.0%">
                  <c:v>8.9612265653809406E-2</c:v>
                </c:pt>
                <c:pt idx="16966" formatCode="0.0%">
                  <c:v>8.9715524205553149E-2</c:v>
                </c:pt>
                <c:pt idx="16967" formatCode="0.0%">
                  <c:v>8.8063369354727167E-2</c:v>
                </c:pt>
                <c:pt idx="16968" formatCode="0.0%">
                  <c:v>7.9042355228526387E-2</c:v>
                </c:pt>
                <c:pt idx="16969" formatCode="0.0%">
                  <c:v>8.0252839730020009E-2</c:v>
                </c:pt>
                <c:pt idx="16970" formatCode="0.0%">
                  <c:v>8.1247481351953976E-2</c:v>
                </c:pt>
                <c:pt idx="16971" formatCode="0.0%">
                  <c:v>8.4906415216346814E-2</c:v>
                </c:pt>
                <c:pt idx="16972" formatCode="0.0%">
                  <c:v>8.0746068435932586E-2</c:v>
                </c:pt>
                <c:pt idx="16973" formatCode="0.0%">
                  <c:v>6.3385301790910523E-2</c:v>
                </c:pt>
                <c:pt idx="16974" formatCode="0.0%">
                  <c:v>6.2275420200031684E-2</c:v>
                </c:pt>
                <c:pt idx="16975" formatCode="0.0%">
                  <c:v>6.2266107927332399E-2</c:v>
                </c:pt>
                <c:pt idx="16976" formatCode="0.0%">
                  <c:v>6.0006709291958726E-2</c:v>
                </c:pt>
                <c:pt idx="16977" formatCode="0.0%">
                  <c:v>5.3255479812450289E-2</c:v>
                </c:pt>
                <c:pt idx="16978" formatCode="0.0%">
                  <c:v>5.503749556343656E-2</c:v>
                </c:pt>
                <c:pt idx="16979" formatCode="0.0%">
                  <c:v>4.9036699115409747E-2</c:v>
                </c:pt>
                <c:pt idx="16980" formatCode="0.0%">
                  <c:v>5.0911183085962729E-2</c:v>
                </c:pt>
                <c:pt idx="16981" formatCode="0.0%">
                  <c:v>5.1035703466014291E-2</c:v>
                </c:pt>
                <c:pt idx="16982" formatCode="0.0%">
                  <c:v>4.9140490893228181E-2</c:v>
                </c:pt>
                <c:pt idx="16983" formatCode="0.0%">
                  <c:v>4.9105661783692349E-2</c:v>
                </c:pt>
                <c:pt idx="16984" formatCode="0.0%">
                  <c:v>4.9384796125580256E-2</c:v>
                </c:pt>
                <c:pt idx="16985" formatCode="0.0%">
                  <c:v>5.0678629292286233E-2</c:v>
                </c:pt>
                <c:pt idx="16986" formatCode="0.0%">
                  <c:v>5.9739376544888277E-2</c:v>
                </c:pt>
                <c:pt idx="16987" formatCode="0.0%">
                  <c:v>5.9828682732921294E-2</c:v>
                </c:pt>
                <c:pt idx="16988" formatCode="0.0%">
                  <c:v>5.9384076760575034E-2</c:v>
                </c:pt>
                <c:pt idx="16989" formatCode="0.0%">
                  <c:v>5.7376533398508116E-2</c:v>
                </c:pt>
                <c:pt idx="16990" formatCode="0.0%">
                  <c:v>5.3521851970909057E-2</c:v>
                </c:pt>
                <c:pt idx="16991" formatCode="0.0%">
                  <c:v>4.8767505201442699E-2</c:v>
                </c:pt>
                <c:pt idx="16992" formatCode="0.0%">
                  <c:v>4.7583607593893913E-2</c:v>
                </c:pt>
                <c:pt idx="16993" formatCode="0.0%">
                  <c:v>5.2952622741709893E-2</c:v>
                </c:pt>
                <c:pt idx="16994" formatCode="0.0%">
                  <c:v>5.1983337102213589E-2</c:v>
                </c:pt>
                <c:pt idx="16995" formatCode="0.0%">
                  <c:v>5.2786099890188391E-2</c:v>
                </c:pt>
                <c:pt idx="16996" formatCode="0.0%">
                  <c:v>5.0593962602922996E-2</c:v>
                </c:pt>
                <c:pt idx="16997" formatCode="0.0%">
                  <c:v>5.1141579701177983E-2</c:v>
                </c:pt>
                <c:pt idx="16998" formatCode="0.0%">
                  <c:v>5.5317585225823918E-2</c:v>
                </c:pt>
                <c:pt idx="16999" formatCode="0.0%">
                  <c:v>5.726680572392899E-2</c:v>
                </c:pt>
                <c:pt idx="17000" formatCode="0.0%">
                  <c:v>5.6824268965163537E-2</c:v>
                </c:pt>
                <c:pt idx="17001" formatCode="0.0%">
                  <c:v>5.5925667476492878E-2</c:v>
                </c:pt>
                <c:pt idx="17002" formatCode="0.0%">
                  <c:v>5.6680085560694211E-2</c:v>
                </c:pt>
                <c:pt idx="17003" formatCode="0.0%">
                  <c:v>6.1089723491851045E-2</c:v>
                </c:pt>
                <c:pt idx="17004" formatCode="0.0%">
                  <c:v>6.3298818401928872E-2</c:v>
                </c:pt>
                <c:pt idx="17005" formatCode="0.0%">
                  <c:v>6.7133418162077518E-2</c:v>
                </c:pt>
                <c:pt idx="17006" formatCode="0.0%">
                  <c:v>6.0391726860524832E-2</c:v>
                </c:pt>
                <c:pt idx="17007" formatCode="0.0%">
                  <c:v>6.1053672700392234E-2</c:v>
                </c:pt>
                <c:pt idx="17008" formatCode="0.0%">
                  <c:v>6.1083054495073646E-2</c:v>
                </c:pt>
                <c:pt idx="17009" formatCode="0.0%">
                  <c:v>6.0104320591613684E-2</c:v>
                </c:pt>
                <c:pt idx="17010" formatCode="0.0%">
                  <c:v>6.6115876259738512E-2</c:v>
                </c:pt>
                <c:pt idx="17011" formatCode="0.0%">
                  <c:v>6.4550163099593952E-2</c:v>
                </c:pt>
                <c:pt idx="17012" formatCode="0.0%">
                  <c:v>6.4140088760918659E-2</c:v>
                </c:pt>
                <c:pt idx="17013" formatCode="0.0%">
                  <c:v>6.0947944334944722E-2</c:v>
                </c:pt>
                <c:pt idx="17014" formatCode="0.0%">
                  <c:v>6.1532323563254311E-2</c:v>
                </c:pt>
                <c:pt idx="17015" formatCode="0.0%">
                  <c:v>6.2126038722655312E-2</c:v>
                </c:pt>
                <c:pt idx="17016" formatCode="0.0%">
                  <c:v>6.5669005062934591E-2</c:v>
                </c:pt>
                <c:pt idx="17017" formatCode="0.0%">
                  <c:v>6.3918998288526957E-2</c:v>
                </c:pt>
                <c:pt idx="17018" formatCode="0.0%">
                  <c:v>6.1778853331110321E-2</c:v>
                </c:pt>
                <c:pt idx="17019" formatCode="0.0%">
                  <c:v>6.4741900385194312E-2</c:v>
                </c:pt>
                <c:pt idx="17020" formatCode="0.0%">
                  <c:v>6.6758310059180759E-2</c:v>
                </c:pt>
                <c:pt idx="17021" formatCode="0.0%">
                  <c:v>6.7115266277922067E-2</c:v>
                </c:pt>
                <c:pt idx="17022" formatCode="0.0%">
                  <c:v>7.2037006452457392E-2</c:v>
                </c:pt>
                <c:pt idx="17023" formatCode="0.0%">
                  <c:v>7.3657845720566245E-2</c:v>
                </c:pt>
                <c:pt idx="17024" formatCode="0.0%">
                  <c:v>7.6263340322869147E-2</c:v>
                </c:pt>
                <c:pt idx="17025" formatCode="0.0%">
                  <c:v>7.7890961820111737E-2</c:v>
                </c:pt>
                <c:pt idx="17026" formatCode="0.0%">
                  <c:v>7.8580577817568609E-2</c:v>
                </c:pt>
                <c:pt idx="17027" formatCode="0.0%">
                  <c:v>8.0129390303853326E-2</c:v>
                </c:pt>
                <c:pt idx="17028" formatCode="0.0%">
                  <c:v>8.631512913612395E-2</c:v>
                </c:pt>
                <c:pt idx="17029" formatCode="0.0%">
                  <c:v>8.6303045212573745E-2</c:v>
                </c:pt>
                <c:pt idx="17030" formatCode="0.0%">
                  <c:v>8.2929836913581731E-2</c:v>
                </c:pt>
                <c:pt idx="17031" formatCode="0.0%">
                  <c:v>8.4091726274768269E-2</c:v>
                </c:pt>
                <c:pt idx="17032" formatCode="0.0%">
                  <c:v>8.8850092137828227E-2</c:v>
                </c:pt>
                <c:pt idx="17033" formatCode="0.0%">
                  <c:v>8.6933108057018885E-2</c:v>
                </c:pt>
                <c:pt idx="17034" formatCode="0.0%">
                  <c:v>8.6951916476166013E-2</c:v>
                </c:pt>
                <c:pt idx="17035" formatCode="0.0%">
                  <c:v>8.6298985110162971E-2</c:v>
                </c:pt>
                <c:pt idx="17036" formatCode="0.0%">
                  <c:v>8.6020615951263035E-2</c:v>
                </c:pt>
                <c:pt idx="17037" formatCode="0.0%">
                  <c:v>9.0224587428036518E-2</c:v>
                </c:pt>
                <c:pt idx="17038" formatCode="0.0%">
                  <c:v>9.0389943482113974E-2</c:v>
                </c:pt>
                <c:pt idx="17039" formatCode="0.0%">
                  <c:v>8.8555853676617585E-2</c:v>
                </c:pt>
                <c:pt idx="17040" formatCode="0.0%">
                  <c:v>8.9660336625539447E-2</c:v>
                </c:pt>
                <c:pt idx="17041" formatCode="0.0%">
                  <c:v>9.1050688054050366E-2</c:v>
                </c:pt>
                <c:pt idx="17042" formatCode="0.0%">
                  <c:v>8.7423682741787329E-2</c:v>
                </c:pt>
                <c:pt idx="17043" formatCode="0.0%">
                  <c:v>7.6651628308750511E-2</c:v>
                </c:pt>
                <c:pt idx="17044" formatCode="0.0%">
                  <c:v>7.5742451084153284E-2</c:v>
                </c:pt>
                <c:pt idx="17045" formatCode="0.0%">
                  <c:v>7.7973411400545159E-2</c:v>
                </c:pt>
                <c:pt idx="17046" formatCode="0.0%">
                  <c:v>7.574848926436159E-2</c:v>
                </c:pt>
                <c:pt idx="17047" formatCode="0.0%">
                  <c:v>7.7963637595435967E-2</c:v>
                </c:pt>
                <c:pt idx="17048" formatCode="0.0%">
                  <c:v>7.2761006682750984E-2</c:v>
                </c:pt>
                <c:pt idx="17049" formatCode="0.0%">
                  <c:v>8.0248197120032908E-2</c:v>
                </c:pt>
                <c:pt idx="17050" formatCode="0.0%">
                  <c:v>7.9053016288986588E-2</c:v>
                </c:pt>
                <c:pt idx="17051" formatCode="0.0%">
                  <c:v>7.5873548487870993E-2</c:v>
                </c:pt>
                <c:pt idx="17052" formatCode="0.0%">
                  <c:v>7.8781620966687949E-2</c:v>
                </c:pt>
                <c:pt idx="17053" formatCode="0.0%">
                  <c:v>7.8752031090493738E-2</c:v>
                </c:pt>
                <c:pt idx="17054" formatCode="0.0%">
                  <c:v>7.8102816175552911E-2</c:v>
                </c:pt>
                <c:pt idx="17055" formatCode="0.0%">
                  <c:v>7.8362620153829693E-2</c:v>
                </c:pt>
                <c:pt idx="17056" formatCode="0.0%">
                  <c:v>7.3872590269203259E-2</c:v>
                </c:pt>
                <c:pt idx="17057" formatCode="0.0%">
                  <c:v>7.9770958661809513E-2</c:v>
                </c:pt>
                <c:pt idx="17058" formatCode="0.0%">
                  <c:v>7.9068404123538036E-2</c:v>
                </c:pt>
                <c:pt idx="17059" formatCode="0.0%">
                  <c:v>9.8814033397923606E-2</c:v>
                </c:pt>
                <c:pt idx="17060" formatCode="0.0%">
                  <c:v>9.9932116404635118E-2</c:v>
                </c:pt>
                <c:pt idx="17061" formatCode="0.0%">
                  <c:v>0.10582074096572192</c:v>
                </c:pt>
                <c:pt idx="17062" formatCode="0.0%">
                  <c:v>0.10774594725031494</c:v>
                </c:pt>
                <c:pt idx="17063" formatCode="0.0%">
                  <c:v>0.10770572698827327</c:v>
                </c:pt>
                <c:pt idx="17064" formatCode="0.0%">
                  <c:v>0.10809209784099486</c:v>
                </c:pt>
                <c:pt idx="17065" formatCode="0.0%">
                  <c:v>0.10447440059489405</c:v>
                </c:pt>
                <c:pt idx="17066" formatCode="0.0%">
                  <c:v>0.10445759341102892</c:v>
                </c:pt>
                <c:pt idx="17067" formatCode="0.0%">
                  <c:v>0.10352179927108239</c:v>
                </c:pt>
                <c:pt idx="17068" formatCode="0.0%">
                  <c:v>0.10624518573540528</c:v>
                </c:pt>
                <c:pt idx="17069" formatCode="0.0%">
                  <c:v>9.9663862304298634E-2</c:v>
                </c:pt>
                <c:pt idx="17070" formatCode="0.0%">
                  <c:v>9.9636507571973815E-2</c:v>
                </c:pt>
                <c:pt idx="17071" formatCode="0.0%">
                  <c:v>9.8611799123807964E-2</c:v>
                </c:pt>
                <c:pt idx="17072" formatCode="0.0%">
                  <c:v>9.6355740444449584E-2</c:v>
                </c:pt>
                <c:pt idx="17073" formatCode="0.0%">
                  <c:v>0.10943782105719156</c:v>
                </c:pt>
                <c:pt idx="17074" formatCode="0.0%">
                  <c:v>0.12461985263250761</c:v>
                </c:pt>
                <c:pt idx="17075" formatCode="0.0%">
                  <c:v>0.12842995465124196</c:v>
                </c:pt>
                <c:pt idx="17076" formatCode="0.0%">
                  <c:v>0.12645352850863723</c:v>
                </c:pt>
                <c:pt idx="17077" formatCode="0.0%">
                  <c:v>0.12460186241580661</c:v>
                </c:pt>
                <c:pt idx="17078" formatCode="0.0%">
                  <c:v>0.13648386887764635</c:v>
                </c:pt>
                <c:pt idx="17079" formatCode="0.0%">
                  <c:v>0.12518464913656221</c:v>
                </c:pt>
                <c:pt idx="17080" formatCode="0.0%">
                  <c:v>0.12180601780766609</c:v>
                </c:pt>
                <c:pt idx="17081" formatCode="0.0%">
                  <c:v>0.11821519956482605</c:v>
                </c:pt>
                <c:pt idx="17082" formatCode="0.0%">
                  <c:v>0.11561460985194556</c:v>
                </c:pt>
                <c:pt idx="17083" formatCode="0.0%">
                  <c:v>0.11539900597338221</c:v>
                </c:pt>
                <c:pt idx="17084" formatCode="0.0%">
                  <c:v>0.12191773690475881</c:v>
                </c:pt>
                <c:pt idx="17085" formatCode="0.0%">
                  <c:v>0.12330686197015292</c:v>
                </c:pt>
                <c:pt idx="17086" formatCode="0.0%">
                  <c:v>0.12585868000147557</c:v>
                </c:pt>
                <c:pt idx="17087" formatCode="0.0%">
                  <c:v>0.1262369784117707</c:v>
                </c:pt>
                <c:pt idx="17088" formatCode="0.0%">
                  <c:v>0.12763342876024752</c:v>
                </c:pt>
                <c:pt idx="17089" formatCode="0.0%">
                  <c:v>0.13117320627926607</c:v>
                </c:pt>
                <c:pt idx="17090" formatCode="0.0%">
                  <c:v>0.12878655760914801</c:v>
                </c:pt>
                <c:pt idx="17091" formatCode="0.0%">
                  <c:v>0.12993040692561897</c:v>
                </c:pt>
                <c:pt idx="17092" formatCode="0.0%">
                  <c:v>0.1323953262095334</c:v>
                </c:pt>
                <c:pt idx="17093" formatCode="0.0%">
                  <c:v>0.1184603396431709</c:v>
                </c:pt>
                <c:pt idx="17094" formatCode="0.0%">
                  <c:v>8.8571423138167807E-2</c:v>
                </c:pt>
                <c:pt idx="17095" formatCode="0.0%">
                  <c:v>9.0001441167878379E-2</c:v>
                </c:pt>
                <c:pt idx="17096" formatCode="0.0%">
                  <c:v>8.8636048041373802E-2</c:v>
                </c:pt>
                <c:pt idx="17097" formatCode="0.0%">
                  <c:v>8.4557724320589334E-2</c:v>
                </c:pt>
                <c:pt idx="17098" formatCode="0.0%">
                  <c:v>7.9678449880260557E-2</c:v>
                </c:pt>
                <c:pt idx="17099" formatCode="0.0%">
                  <c:v>8.5864919556586927E-2</c:v>
                </c:pt>
                <c:pt idx="17100" formatCode="0.0%">
                  <c:v>9.350399231199244E-2</c:v>
                </c:pt>
                <c:pt idx="17101" formatCode="0.0%">
                  <c:v>9.7746455359076292E-2</c:v>
                </c:pt>
                <c:pt idx="17102" formatCode="0.0%">
                  <c:v>0.11007409560149191</c:v>
                </c:pt>
                <c:pt idx="17103" formatCode="0.0%">
                  <c:v>0.11422635199977392</c:v>
                </c:pt>
                <c:pt idx="17104" formatCode="0.0%">
                  <c:v>0.12030930494532659</c:v>
                </c:pt>
                <c:pt idx="17105" formatCode="0.0%">
                  <c:v>0.11726799489601113</c:v>
                </c:pt>
                <c:pt idx="17106" formatCode="0.0%">
                  <c:v>0.12977087387893119</c:v>
                </c:pt>
                <c:pt idx="17107" formatCode="0.0%">
                  <c:v>0.132023705430792</c:v>
                </c:pt>
                <c:pt idx="17108" formatCode="0.0%">
                  <c:v>0.1302437232667113</c:v>
                </c:pt>
                <c:pt idx="17109" formatCode="0.0%">
                  <c:v>0.12937873717070605</c:v>
                </c:pt>
                <c:pt idx="17110" formatCode="0.0%">
                  <c:v>0.13045567458900098</c:v>
                </c:pt>
                <c:pt idx="17111" formatCode="0.0%">
                  <c:v>0.13342889502471819</c:v>
                </c:pt>
                <c:pt idx="17112" formatCode="0.0%">
                  <c:v>0.13263417756327833</c:v>
                </c:pt>
                <c:pt idx="17113" formatCode="0.0%">
                  <c:v>0.13245283803248484</c:v>
                </c:pt>
                <c:pt idx="17114" formatCode="0.0%">
                  <c:v>0.13133269379144677</c:v>
                </c:pt>
                <c:pt idx="17115" formatCode="0.0%">
                  <c:v>0.16819127950871171</c:v>
                </c:pt>
                <c:pt idx="17116" formatCode="0.0%">
                  <c:v>0.17339798818147478</c:v>
                </c:pt>
                <c:pt idx="17117" formatCode="0.0%">
                  <c:v>0.17042883353905838</c:v>
                </c:pt>
                <c:pt idx="17118" formatCode="0.0%">
                  <c:v>0.17106788971390391</c:v>
                </c:pt>
                <c:pt idx="17119" formatCode="0.0%">
                  <c:v>0.17061905005994607</c:v>
                </c:pt>
                <c:pt idx="17120" formatCode="0.0%">
                  <c:v>0.16953923788243691</c:v>
                </c:pt>
                <c:pt idx="17121" formatCode="0.0%">
                  <c:v>0.18028415680408766</c:v>
                </c:pt>
                <c:pt idx="17122" formatCode="0.0%">
                  <c:v>0.17508606408845717</c:v>
                </c:pt>
                <c:pt idx="17123" formatCode="0.0%">
                  <c:v>0.17076821471528514</c:v>
                </c:pt>
                <c:pt idx="17124" formatCode="0.0%">
                  <c:v>0.1595178085538595</c:v>
                </c:pt>
                <c:pt idx="17125" formatCode="0.0%">
                  <c:v>0.15982164259220594</c:v>
                </c:pt>
                <c:pt idx="17126" formatCode="0.0%">
                  <c:v>0.15285659831381498</c:v>
                </c:pt>
                <c:pt idx="17127" formatCode="0.0%">
                  <c:v>0.15249757687324395</c:v>
                </c:pt>
                <c:pt idx="17128" formatCode="0.0%">
                  <c:v>0.15361806137988246</c:v>
                </c:pt>
                <c:pt idx="17129" formatCode="0.0%">
                  <c:v>0.15136368546460471</c:v>
                </c:pt>
                <c:pt idx="17130" formatCode="0.0%">
                  <c:v>0.15132827518198555</c:v>
                </c:pt>
                <c:pt idx="17131" formatCode="0.0%">
                  <c:v>0.15396809699840139</c:v>
                </c:pt>
                <c:pt idx="17132" formatCode="0.0%">
                  <c:v>0.15172611150589224</c:v>
                </c:pt>
                <c:pt idx="17133" formatCode="0.0%">
                  <c:v>0.15021384067774401</c:v>
                </c:pt>
                <c:pt idx="17134" formatCode="0.0%">
                  <c:v>0.14998424523183773</c:v>
                </c:pt>
                <c:pt idx="17135" formatCode="0.0%">
                  <c:v>0.11640402397507325</c:v>
                </c:pt>
                <c:pt idx="17136" formatCode="0.0%">
                  <c:v>0.11168642584135249</c:v>
                </c:pt>
                <c:pt idx="17137" formatCode="0.0%">
                  <c:v>0.12100796727990223</c:v>
                </c:pt>
                <c:pt idx="17138" formatCode="0.0%">
                  <c:v>0.12117661691272422</c:v>
                </c:pt>
                <c:pt idx="17139" formatCode="0.0%">
                  <c:v>0.12481917443829695</c:v>
                </c:pt>
                <c:pt idx="17140" formatCode="0.0%">
                  <c:v>0.12914790907121187</c:v>
                </c:pt>
                <c:pt idx="17141" formatCode="0.0%">
                  <c:v>0.11314633948304444</c:v>
                </c:pt>
                <c:pt idx="17142" formatCode="0.0%">
                  <c:v>0.11433596748274284</c:v>
                </c:pt>
                <c:pt idx="17143" formatCode="0.0%">
                  <c:v>0.11491931937125348</c:v>
                </c:pt>
                <c:pt idx="17144" formatCode="0.0%">
                  <c:v>0.11529255251407422</c:v>
                </c:pt>
                <c:pt idx="17145" formatCode="0.0%">
                  <c:v>0.11617092785548137</c:v>
                </c:pt>
                <c:pt idx="17146" formatCode="0.0%">
                  <c:v>0.11798701432373185</c:v>
                </c:pt>
                <c:pt idx="17147" formatCode="0.0%">
                  <c:v>0.11707429282199934</c:v>
                </c:pt>
                <c:pt idx="17148" formatCode="0.0%">
                  <c:v>0.11578388305573502</c:v>
                </c:pt>
                <c:pt idx="17149" formatCode="0.0%">
                  <c:v>0.11579852390573349</c:v>
                </c:pt>
                <c:pt idx="17150" formatCode="0.0%">
                  <c:v>0.11385952543692569</c:v>
                </c:pt>
                <c:pt idx="17151" formatCode="0.0%">
                  <c:v>0.10465475454600262</c:v>
                </c:pt>
                <c:pt idx="17152" formatCode="0.0%">
                  <c:v>0.10433086665548762</c:v>
                </c:pt>
                <c:pt idx="17153" formatCode="0.0%">
                  <c:v>0.1207420560837041</c:v>
                </c:pt>
                <c:pt idx="17154" formatCode="0.0%">
                  <c:v>0.12084486447454851</c:v>
                </c:pt>
                <c:pt idx="17155" formatCode="0.0%">
                  <c:v>0.10337838901585711</c:v>
                </c:pt>
                <c:pt idx="17156" formatCode="0.0%">
                  <c:v>0.10371663638492684</c:v>
                </c:pt>
                <c:pt idx="17157" formatCode="0.0%">
                  <c:v>9.7364656815771833E-2</c:v>
                </c:pt>
                <c:pt idx="17158" formatCode="0.0%">
                  <c:v>9.5868942001211488E-2</c:v>
                </c:pt>
                <c:pt idx="17159" formatCode="0.0%">
                  <c:v>9.7613299218505548E-2</c:v>
                </c:pt>
                <c:pt idx="17160" formatCode="0.0%">
                  <c:v>0.10481844788542566</c:v>
                </c:pt>
                <c:pt idx="17161" formatCode="0.0%">
                  <c:v>0.10582125015736855</c:v>
                </c:pt>
                <c:pt idx="17162" formatCode="0.0%">
                  <c:v>0.10298431188301187</c:v>
                </c:pt>
                <c:pt idx="17163" formatCode="0.0%">
                  <c:v>0.10328801872149415</c:v>
                </c:pt>
                <c:pt idx="17164" formatCode="0.0%">
                  <c:v>0.10448745172400119</c:v>
                </c:pt>
                <c:pt idx="17165" formatCode="0.0%">
                  <c:v>0.10534743807680337</c:v>
                </c:pt>
                <c:pt idx="17166" formatCode="0.0%">
                  <c:v>0.10471994221167473</c:v>
                </c:pt>
                <c:pt idx="17167" formatCode="0.0%">
                  <c:v>0.10636666804052576</c:v>
                </c:pt>
                <c:pt idx="17168" formatCode="0.0%">
                  <c:v>0.10794128594576799</c:v>
                </c:pt>
                <c:pt idx="17169" formatCode="0.0%">
                  <c:v>0.10811124760476029</c:v>
                </c:pt>
                <c:pt idx="17170" formatCode="0.0%">
                  <c:v>0.11517680294654131</c:v>
                </c:pt>
                <c:pt idx="17171" formatCode="0.0%">
                  <c:v>0.1183929942350276</c:v>
                </c:pt>
                <c:pt idx="17172" formatCode="0.0%">
                  <c:v>0.11948713104828014</c:v>
                </c:pt>
                <c:pt idx="17173" formatCode="0.0%">
                  <c:v>9.9723375128470557E-2</c:v>
                </c:pt>
                <c:pt idx="17174" formatCode="0.0%">
                  <c:v>9.9388538337889965E-2</c:v>
                </c:pt>
                <c:pt idx="17175" formatCode="0.0%">
                  <c:v>0.10029592077227717</c:v>
                </c:pt>
                <c:pt idx="17176" formatCode="0.0%">
                  <c:v>9.9662009812658964E-2</c:v>
                </c:pt>
                <c:pt idx="17177" formatCode="0.0%">
                  <c:v>0.10328711187974181</c:v>
                </c:pt>
                <c:pt idx="17178" formatCode="0.0%">
                  <c:v>0.10339914583616613</c:v>
                </c:pt>
                <c:pt idx="17179" formatCode="0.0%">
                  <c:v>9.9560514089964566E-2</c:v>
                </c:pt>
                <c:pt idx="17180" formatCode="0.0%">
                  <c:v>8.7757028007947796E-2</c:v>
                </c:pt>
                <c:pt idx="17181" formatCode="0.0%">
                  <c:v>8.615994545701687E-2</c:v>
                </c:pt>
                <c:pt idx="17182" formatCode="0.0%">
                  <c:v>8.6418134706299998E-2</c:v>
                </c:pt>
                <c:pt idx="17183" formatCode="0.0%">
                  <c:v>8.7143376664847991E-2</c:v>
                </c:pt>
                <c:pt idx="17184" formatCode="0.0%">
                  <c:v>8.4244704390737543E-2</c:v>
                </c:pt>
                <c:pt idx="17185" formatCode="0.0%">
                  <c:v>8.1823094547344127E-2</c:v>
                </c:pt>
                <c:pt idx="17186" formatCode="0.0%">
                  <c:v>8.1854662012912319E-2</c:v>
                </c:pt>
                <c:pt idx="17187" formatCode="0.0%">
                  <c:v>7.4500543646532386E-2</c:v>
                </c:pt>
                <c:pt idx="17188" formatCode="0.0%">
                  <c:v>7.9533992906898943E-2</c:v>
                </c:pt>
                <c:pt idx="17189" formatCode="0.0%">
                  <c:v>7.9061345418711182E-2</c:v>
                </c:pt>
                <c:pt idx="17190" formatCode="0.0%">
                  <c:v>7.2274191985271644E-2</c:v>
                </c:pt>
                <c:pt idx="17191" formatCode="0.0%">
                  <c:v>7.1964986188592608E-2</c:v>
                </c:pt>
                <c:pt idx="17192" formatCode="0.0%">
                  <c:v>7.2660922602328037E-2</c:v>
                </c:pt>
                <c:pt idx="17193" formatCode="0.0%">
                  <c:v>7.2266506115616247E-2</c:v>
                </c:pt>
                <c:pt idx="17194" formatCode="0.0%">
                  <c:v>7.6628710265440478E-2</c:v>
                </c:pt>
                <c:pt idx="17195" formatCode="0.0%">
                  <c:v>7.359277702110352E-2</c:v>
                </c:pt>
                <c:pt idx="17196" formatCode="0.0%">
                  <c:v>6.6350376897276353E-2</c:v>
                </c:pt>
                <c:pt idx="17197" formatCode="0.0%">
                  <c:v>9.9776865152547967E-2</c:v>
                </c:pt>
                <c:pt idx="17198" formatCode="0.0%">
                  <c:v>0.1020225027963295</c:v>
                </c:pt>
                <c:pt idx="17199" formatCode="0.0%">
                  <c:v>0.10351722903160883</c:v>
                </c:pt>
                <c:pt idx="17200" formatCode="0.0%">
                  <c:v>0.10415841586812916</c:v>
                </c:pt>
                <c:pt idx="17201" formatCode="0.0%">
                  <c:v>0.11668525357714601</c:v>
                </c:pt>
                <c:pt idx="17202" formatCode="0.0%">
                  <c:v>0.11704574453870634</c:v>
                </c:pt>
                <c:pt idx="17203" formatCode="0.0%">
                  <c:v>0.14490330181705055</c:v>
                </c:pt>
                <c:pt idx="17204" formatCode="0.0%">
                  <c:v>0.14477208177595208</c:v>
                </c:pt>
                <c:pt idx="17205" formatCode="0.0%">
                  <c:v>0.15053424742930421</c:v>
                </c:pt>
                <c:pt idx="17206" formatCode="0.0%">
                  <c:v>0.16216611009200518</c:v>
                </c:pt>
                <c:pt idx="17207" formatCode="0.0%">
                  <c:v>0.16346443894256182</c:v>
                </c:pt>
                <c:pt idx="17208" formatCode="0.0%">
                  <c:v>0.16122156666116799</c:v>
                </c:pt>
                <c:pt idx="17209" formatCode="0.0%">
                  <c:v>0.16245287115448906</c:v>
                </c:pt>
                <c:pt idx="17210" formatCode="0.0%">
                  <c:v>0.16249884973626214</c:v>
                </c:pt>
                <c:pt idx="17211" formatCode="0.0%">
                  <c:v>0.16617950507574569</c:v>
                </c:pt>
                <c:pt idx="17212" formatCode="0.0%">
                  <c:v>0.16709427186393258</c:v>
                </c:pt>
                <c:pt idx="17213" formatCode="0.0%">
                  <c:v>0.16675192194084815</c:v>
                </c:pt>
                <c:pt idx="17214" formatCode="0.0%">
                  <c:v>0.16598270232088636</c:v>
                </c:pt>
                <c:pt idx="17215" formatCode="0.0%">
                  <c:v>0.17006705169973099</c:v>
                </c:pt>
                <c:pt idx="17216" formatCode="0.0%">
                  <c:v>0.1819224711422455</c:v>
                </c:pt>
                <c:pt idx="17217" formatCode="0.0%">
                  <c:v>0.17858217368598767</c:v>
                </c:pt>
                <c:pt idx="17218" formatCode="0.0%">
                  <c:v>0.1767823076138926</c:v>
                </c:pt>
                <c:pt idx="17219" formatCode="0.0%">
                  <c:v>0.17675566635676684</c:v>
                </c:pt>
                <c:pt idx="17220" formatCode="0.0%">
                  <c:v>0.17684531483489369</c:v>
                </c:pt>
                <c:pt idx="17221" formatCode="0.0%">
                  <c:v>0.16620672495711519</c:v>
                </c:pt>
                <c:pt idx="17222" formatCode="0.0%">
                  <c:v>0.16635731926220457</c:v>
                </c:pt>
                <c:pt idx="17223" formatCode="0.0%">
                  <c:v>0.13293731874067172</c:v>
                </c:pt>
                <c:pt idx="17224" formatCode="0.0%">
                  <c:v>0.13771895734394682</c:v>
                </c:pt>
                <c:pt idx="17225" formatCode="0.0%">
                  <c:v>0.13554151806206535</c:v>
                </c:pt>
                <c:pt idx="17226" formatCode="0.0%">
                  <c:v>0.12703267927587991</c:v>
                </c:pt>
                <c:pt idx="17227" formatCode="0.0%">
                  <c:v>0.12285763944764032</c:v>
                </c:pt>
                <c:pt idx="17228" formatCode="0.0%">
                  <c:v>0.11725555904742679</c:v>
                </c:pt>
                <c:pt idx="17229" formatCode="0.0%">
                  <c:v>0.10713775152663671</c:v>
                </c:pt>
                <c:pt idx="17230" formatCode="0.0%">
                  <c:v>0.10739850791160824</c:v>
                </c:pt>
                <c:pt idx="17231" formatCode="0.0%">
                  <c:v>0.1081132123653587</c:v>
                </c:pt>
                <c:pt idx="17232" formatCode="0.0%">
                  <c:v>0.11078840657588193</c:v>
                </c:pt>
                <c:pt idx="17233" formatCode="0.0%">
                  <c:v>0.1074346550164961</c:v>
                </c:pt>
                <c:pt idx="17234" formatCode="0.0%">
                  <c:v>0.10634071720136971</c:v>
                </c:pt>
                <c:pt idx="17235" formatCode="0.0%">
                  <c:v>0.10593368395298883</c:v>
                </c:pt>
                <c:pt idx="17236" formatCode="0.0%">
                  <c:v>0.1026342707311876</c:v>
                </c:pt>
                <c:pt idx="17237" formatCode="0.0%">
                  <c:v>8.1028032763226274E-2</c:v>
                </c:pt>
                <c:pt idx="17238" formatCode="0.0%">
                  <c:v>8.2249125447987237E-2</c:v>
                </c:pt>
                <c:pt idx="17239" formatCode="0.0%">
                  <c:v>8.139894802052236E-2</c:v>
                </c:pt>
                <c:pt idx="17240" formatCode="0.0%">
                  <c:v>8.6330666033716405E-2</c:v>
                </c:pt>
                <c:pt idx="17241" formatCode="0.0%">
                  <c:v>9.4083532945216763E-2</c:v>
                </c:pt>
                <c:pt idx="17242" formatCode="0.0%">
                  <c:v>0.10441626927866557</c:v>
                </c:pt>
                <c:pt idx="17243" formatCode="0.0%">
                  <c:v>0.10244983911720332</c:v>
                </c:pt>
                <c:pt idx="17244" formatCode="0.0%">
                  <c:v>9.9250423871518736E-2</c:v>
                </c:pt>
                <c:pt idx="17245" formatCode="0.0%">
                  <c:v>0.10070852179943945</c:v>
                </c:pt>
                <c:pt idx="17246" formatCode="0.0%">
                  <c:v>0.11105841963815202</c:v>
                </c:pt>
                <c:pt idx="17247" formatCode="0.0%">
                  <c:v>0.11130946768410381</c:v>
                </c:pt>
                <c:pt idx="17248" formatCode="0.0%">
                  <c:v>0.11174954581474507</c:v>
                </c:pt>
                <c:pt idx="17249" formatCode="0.0%">
                  <c:v>0.11203459966170419</c:v>
                </c:pt>
                <c:pt idx="17250" formatCode="0.0%">
                  <c:v>0.11181064086230348</c:v>
                </c:pt>
                <c:pt idx="17251" formatCode="0.0%">
                  <c:v>0.11004298070778923</c:v>
                </c:pt>
                <c:pt idx="17252" formatCode="0.0%">
                  <c:v>0.10751681437618328</c:v>
                </c:pt>
                <c:pt idx="17253" formatCode="0.0%">
                  <c:v>0.10556483522639726</c:v>
                </c:pt>
                <c:pt idx="17254" formatCode="0.0%">
                  <c:v>0.10533319159492417</c:v>
                </c:pt>
                <c:pt idx="17255" formatCode="0.0%">
                  <c:v>0.1045120766705382</c:v>
                </c:pt>
                <c:pt idx="17256" formatCode="0.0%">
                  <c:v>9.3196728892699005E-2</c:v>
                </c:pt>
                <c:pt idx="17257" formatCode="0.0%">
                  <c:v>8.4781148673774315E-2</c:v>
                </c:pt>
                <c:pt idx="17258" formatCode="0.0%">
                  <c:v>8.4585510700816255E-2</c:v>
                </c:pt>
                <c:pt idx="17259" formatCode="0.0%">
                  <c:v>8.5969412910807799E-2</c:v>
                </c:pt>
                <c:pt idx="17260" formatCode="0.0%">
                  <c:v>7.5017088963674108E-2</c:v>
                </c:pt>
                <c:pt idx="17261" formatCode="0.0%">
                  <c:v>7.8854266155442859E-2</c:v>
                </c:pt>
                <c:pt idx="17262" formatCode="0.0%">
                  <c:v>7.1550289328298683E-2</c:v>
                </c:pt>
                <c:pt idx="17263" formatCode="0.0%">
                  <c:v>7.4877428010493546E-2</c:v>
                </c:pt>
                <c:pt idx="17264" formatCode="0.0%">
                  <c:v>7.9719632140393931E-2</c:v>
                </c:pt>
                <c:pt idx="17265" formatCode="0.0%">
                  <c:v>8.0566323925919239E-2</c:v>
                </c:pt>
                <c:pt idx="17266" formatCode="0.0%">
                  <c:v>7.1749186687186092E-2</c:v>
                </c:pt>
                <c:pt idx="17267" formatCode="0.0%">
                  <c:v>7.1201649463653385E-2</c:v>
                </c:pt>
                <c:pt idx="17268" formatCode="0.0%">
                  <c:v>7.1125864670196395E-2</c:v>
                </c:pt>
                <c:pt idx="17269" formatCode="0.0%">
                  <c:v>6.9954674875426628E-2</c:v>
                </c:pt>
                <c:pt idx="17270" formatCode="0.0%">
                  <c:v>7.0291104256962153E-2</c:v>
                </c:pt>
                <c:pt idx="17271" formatCode="0.0%">
                  <c:v>6.9934072602203037E-2</c:v>
                </c:pt>
                <c:pt idx="17272" formatCode="0.0%">
                  <c:v>7.0230219431138163E-2</c:v>
                </c:pt>
                <c:pt idx="17273" formatCode="0.0%">
                  <c:v>7.3056669284638415E-2</c:v>
                </c:pt>
                <c:pt idx="17274" formatCode="0.0%">
                  <c:v>7.295124698924102E-2</c:v>
                </c:pt>
                <c:pt idx="17275" formatCode="0.0%">
                  <c:v>7.8998941683160698E-2</c:v>
                </c:pt>
                <c:pt idx="17276" formatCode="0.0%">
                  <c:v>7.9754747741659804E-2</c:v>
                </c:pt>
                <c:pt idx="17277" formatCode="0.0%">
                  <c:v>8.2772181282686208E-2</c:v>
                </c:pt>
                <c:pt idx="17278" formatCode="0.0%">
                  <c:v>8.4713375597403578E-2</c:v>
                </c:pt>
                <c:pt idx="17279" formatCode="0.0%">
                  <c:v>8.1602070277759176E-2</c:v>
                </c:pt>
                <c:pt idx="17280" formatCode="0.0%">
                  <c:v>8.3561588558340977E-2</c:v>
                </c:pt>
                <c:pt idx="17281" formatCode="0.0%">
                  <c:v>7.2048189229470067E-2</c:v>
                </c:pt>
                <c:pt idx="17282" formatCode="0.0%">
                  <c:v>7.2947936358248172E-2</c:v>
                </c:pt>
                <c:pt idx="17283" formatCode="0.0%">
                  <c:v>7.963608126354034E-2</c:v>
                </c:pt>
                <c:pt idx="17284" formatCode="0.0%">
                  <c:v>8.9165308184214656E-2</c:v>
                </c:pt>
                <c:pt idx="17285" formatCode="0.0%">
                  <c:v>8.745471536405966E-2</c:v>
                </c:pt>
                <c:pt idx="17286" formatCode="0.0%">
                  <c:v>8.4591021263016181E-2</c:v>
                </c:pt>
                <c:pt idx="17287" formatCode="0.0%">
                  <c:v>8.4286013164648663E-2</c:v>
                </c:pt>
                <c:pt idx="17288" formatCode="0.0%">
                  <c:v>8.5455333539342787E-2</c:v>
                </c:pt>
                <c:pt idx="17289" formatCode="0.0%">
                  <c:v>8.5418492258210771E-2</c:v>
                </c:pt>
                <c:pt idx="17290" formatCode="0.0%">
                  <c:v>8.6779770958586036E-2</c:v>
                </c:pt>
                <c:pt idx="17291" formatCode="0.0%">
                  <c:v>8.5865991655837262E-2</c:v>
                </c:pt>
                <c:pt idx="17292" formatCode="0.0%">
                  <c:v>8.5613851730040283E-2</c:v>
                </c:pt>
                <c:pt idx="17293" formatCode="0.0%">
                  <c:v>8.3785127916024632E-2</c:v>
                </c:pt>
                <c:pt idx="17294" formatCode="0.0%">
                  <c:v>8.3606837385376026E-2</c:v>
                </c:pt>
                <c:pt idx="17295" formatCode="0.0%">
                  <c:v>7.7311974129093367E-2</c:v>
                </c:pt>
                <c:pt idx="17296" formatCode="0.0%">
                  <c:v>7.7283202889717864E-2</c:v>
                </c:pt>
                <c:pt idx="17297" formatCode="0.0%">
                  <c:v>7.4985405452030987E-2</c:v>
                </c:pt>
                <c:pt idx="17298" formatCode="0.0%">
                  <c:v>7.7073961322365686E-2</c:v>
                </c:pt>
                <c:pt idx="17299" formatCode="0.0%">
                  <c:v>7.7415399320329231E-2</c:v>
                </c:pt>
                <c:pt idx="17300" formatCode="0.0%">
                  <c:v>7.6919225778378328E-2</c:v>
                </c:pt>
                <c:pt idx="17301" formatCode="0.0%">
                  <c:v>7.5610438082720902E-2</c:v>
                </c:pt>
                <c:pt idx="17302" formatCode="0.0%">
                  <c:v>9.1621916519147056E-2</c:v>
                </c:pt>
                <c:pt idx="17303" formatCode="0.0%">
                  <c:v>9.0344485949163847E-2</c:v>
                </c:pt>
                <c:pt idx="17304" formatCode="0.0%">
                  <c:v>7.8028735305272365E-2</c:v>
                </c:pt>
                <c:pt idx="17305" formatCode="0.0%">
                  <c:v>8.1907952811677023E-2</c:v>
                </c:pt>
                <c:pt idx="17306" formatCode="0.0%">
                  <c:v>9.3225385590324297E-2</c:v>
                </c:pt>
                <c:pt idx="17307" formatCode="0.0%">
                  <c:v>9.4468699723704572E-2</c:v>
                </c:pt>
                <c:pt idx="17308" formatCode="0.0%">
                  <c:v>0.10023535141147247</c:v>
                </c:pt>
                <c:pt idx="17309" formatCode="0.0%">
                  <c:v>0.11543591631576706</c:v>
                </c:pt>
                <c:pt idx="17310" formatCode="0.0%">
                  <c:v>0.11278445574424818</c:v>
                </c:pt>
                <c:pt idx="17311" formatCode="0.0%">
                  <c:v>0.11767452719951454</c:v>
                </c:pt>
                <c:pt idx="17312" formatCode="0.0%">
                  <c:v>0.12117381430815347</c:v>
                </c:pt>
                <c:pt idx="17313" formatCode="0.0%">
                  <c:v>0.1216943740187499</c:v>
                </c:pt>
                <c:pt idx="17314" formatCode="0.0%">
                  <c:v>0.14064925072709608</c:v>
                </c:pt>
                <c:pt idx="17315" formatCode="0.0%">
                  <c:v>0.14119705805802771</c:v>
                </c:pt>
                <c:pt idx="17316" formatCode="0.0%">
                  <c:v>0.13861702995817124</c:v>
                </c:pt>
                <c:pt idx="17317" formatCode="0.0%">
                  <c:v>0.13402978709092125</c:v>
                </c:pt>
                <c:pt idx="17318" formatCode="0.0%">
                  <c:v>0.13607171287942732</c:v>
                </c:pt>
                <c:pt idx="17319" formatCode="0.0%">
                  <c:v>0.13605960398036768</c:v>
                </c:pt>
                <c:pt idx="17320" formatCode="0.0%">
                  <c:v>0.13642036470225014</c:v>
                </c:pt>
                <c:pt idx="17321" formatCode="0.0%">
                  <c:v>0.14967735938945279</c:v>
                </c:pt>
                <c:pt idx="17322" formatCode="0.0%">
                  <c:v>0.14587168830036168</c:v>
                </c:pt>
                <c:pt idx="17323" formatCode="0.0%">
                  <c:v>0.15524828479582223</c:v>
                </c:pt>
                <c:pt idx="17324" formatCode="0.0%">
                  <c:v>0.15521124605952777</c:v>
                </c:pt>
                <c:pt idx="17325" formatCode="0.0%">
                  <c:v>0.15512897860006233</c:v>
                </c:pt>
                <c:pt idx="17326" formatCode="0.0%">
                  <c:v>0.14945670891211296</c:v>
                </c:pt>
                <c:pt idx="17327" formatCode="0.0%">
                  <c:v>0.15208081194282635</c:v>
                </c:pt>
                <c:pt idx="17328" formatCode="0.0%">
                  <c:v>0.1488808254259244</c:v>
                </c:pt>
                <c:pt idx="17329" formatCode="0.0%">
                  <c:v>0.13527733762434588</c:v>
                </c:pt>
                <c:pt idx="17330" formatCode="0.0%">
                  <c:v>0.13946148097583183</c:v>
                </c:pt>
                <c:pt idx="17331" formatCode="0.0%">
                  <c:v>0.13184886328842832</c:v>
                </c:pt>
                <c:pt idx="17332" formatCode="0.0%">
                  <c:v>0.13105486246552495</c:v>
                </c:pt>
                <c:pt idx="17333" formatCode="0.0%">
                  <c:v>0.13143715799198094</c:v>
                </c:pt>
                <c:pt idx="17334" formatCode="0.0%">
                  <c:v>0.11660158610342385</c:v>
                </c:pt>
                <c:pt idx="17335" formatCode="0.0%">
                  <c:v>0.11813791668454922</c:v>
                </c:pt>
                <c:pt idx="17336" formatCode="0.0%">
                  <c:v>0.11697619618327768</c:v>
                </c:pt>
                <c:pt idx="17337" formatCode="0.0%">
                  <c:v>0.12593751367920178</c:v>
                </c:pt>
                <c:pt idx="17338" formatCode="0.0%">
                  <c:v>0.13028611682820587</c:v>
                </c:pt>
                <c:pt idx="17339" formatCode="0.0%">
                  <c:v>0.13342325081693709</c:v>
                </c:pt>
                <c:pt idx="17340" formatCode="0.0%">
                  <c:v>0.13241952619581807</c:v>
                </c:pt>
                <c:pt idx="17341" formatCode="0.0%">
                  <c:v>0.11697469629053965</c:v>
                </c:pt>
                <c:pt idx="17342" formatCode="0.0%">
                  <c:v>0.1222475761546664</c:v>
                </c:pt>
                <c:pt idx="17343" formatCode="0.0%">
                  <c:v>0.11410577943279462</c:v>
                </c:pt>
                <c:pt idx="17344" formatCode="0.0%">
                  <c:v>0.11376011825158036</c:v>
                </c:pt>
                <c:pt idx="17345" formatCode="0.0%">
                  <c:v>0.11233186585984656</c:v>
                </c:pt>
                <c:pt idx="17346" formatCode="0.0%">
                  <c:v>0.12291088545386648</c:v>
                </c:pt>
                <c:pt idx="17347" formatCode="0.0%">
                  <c:v>0.12043558530560514</c:v>
                </c:pt>
                <c:pt idx="17348" formatCode="0.0%">
                  <c:v>0.1250307934199906</c:v>
                </c:pt>
                <c:pt idx="17349" formatCode="0.0%">
                  <c:v>0.12747484786146443</c:v>
                </c:pt>
                <c:pt idx="17350" formatCode="0.0%">
                  <c:v>0.12211379905995928</c:v>
                </c:pt>
                <c:pt idx="17351" formatCode="0.0%">
                  <c:v>0.13263433798536609</c:v>
                </c:pt>
                <c:pt idx="17352" formatCode="0.0%">
                  <c:v>0.13637063672533656</c:v>
                </c:pt>
                <c:pt idx="17353" formatCode="0.0%">
                  <c:v>0.13668261364485781</c:v>
                </c:pt>
                <c:pt idx="17354" formatCode="0.0%">
                  <c:v>0.13916099711358906</c:v>
                </c:pt>
                <c:pt idx="17355" formatCode="0.0%">
                  <c:v>0.13992475388282688</c:v>
                </c:pt>
                <c:pt idx="17356" formatCode="0.0%">
                  <c:v>0.14784540515907571</c:v>
                </c:pt>
                <c:pt idx="17357" formatCode="0.0%">
                  <c:v>0.14111827904647239</c:v>
                </c:pt>
                <c:pt idx="17358" formatCode="0.0%">
                  <c:v>0.13870948715207951</c:v>
                </c:pt>
                <c:pt idx="17359" formatCode="0.0%">
                  <c:v>0.13394026504637255</c:v>
                </c:pt>
                <c:pt idx="17360" formatCode="0.0%">
                  <c:v>0.13914879326207463</c:v>
                </c:pt>
                <c:pt idx="17361" formatCode="0.0%">
                  <c:v>0.14719336763751859</c:v>
                </c:pt>
                <c:pt idx="17362" formatCode="0.0%">
                  <c:v>0.13988508289599502</c:v>
                </c:pt>
                <c:pt idx="17363" formatCode="0.0%">
                  <c:v>0.14094772727819424</c:v>
                </c:pt>
                <c:pt idx="17364" formatCode="0.0%">
                  <c:v>0.14258302801502074</c:v>
                </c:pt>
                <c:pt idx="17365" formatCode="0.0%">
                  <c:v>0.1503022159753257</c:v>
                </c:pt>
                <c:pt idx="17366" formatCode="0.0%">
                  <c:v>0.14128790394446933</c:v>
                </c:pt>
                <c:pt idx="17367" formatCode="0.0%">
                  <c:v>0.1432550019879561</c:v>
                </c:pt>
                <c:pt idx="17368" formatCode="0.0%">
                  <c:v>0.14210048317032803</c:v>
                </c:pt>
                <c:pt idx="17369" formatCode="0.0%">
                  <c:v>0.14083823812922777</c:v>
                </c:pt>
                <c:pt idx="17370" formatCode="0.0%">
                  <c:v>0.14476872732074167</c:v>
                </c:pt>
                <c:pt idx="17371" formatCode="0.0%">
                  <c:v>0.14791423994086264</c:v>
                </c:pt>
                <c:pt idx="17372" formatCode="0.0%">
                  <c:v>0.14252077961334711</c:v>
                </c:pt>
                <c:pt idx="17373" formatCode="0.0%">
                  <c:v>0.14287206257128876</c:v>
                </c:pt>
                <c:pt idx="17374" formatCode="0.0%">
                  <c:v>0.13927593186593062</c:v>
                </c:pt>
                <c:pt idx="17375" formatCode="0.0%">
                  <c:v>0.13935724474573902</c:v>
                </c:pt>
                <c:pt idx="17376" formatCode="0.0%">
                  <c:v>0.13429128856449618</c:v>
                </c:pt>
                <c:pt idx="17377" formatCode="0.0%">
                  <c:v>0.13474755244278136</c:v>
                </c:pt>
                <c:pt idx="17378" formatCode="0.0%">
                  <c:v>0.13268293309759968</c:v>
                </c:pt>
                <c:pt idx="17379" formatCode="0.0%">
                  <c:v>0.13209312649500524</c:v>
                </c:pt>
                <c:pt idx="17380" formatCode="0.0%">
                  <c:v>0.13025167435257479</c:v>
                </c:pt>
                <c:pt idx="17381" formatCode="0.0%">
                  <c:v>0.14275574930956816</c:v>
                </c:pt>
                <c:pt idx="17382" formatCode="0.0%">
                  <c:v>0.15994598247927636</c:v>
                </c:pt>
                <c:pt idx="17383" formatCode="0.0%">
                  <c:v>0.1586358098061102</c:v>
                </c:pt>
                <c:pt idx="17384" formatCode="0.0%">
                  <c:v>0.1625145590969507</c:v>
                </c:pt>
                <c:pt idx="17385" formatCode="0.0%">
                  <c:v>0.15095154038759717</c:v>
                </c:pt>
                <c:pt idx="17386" formatCode="0.0%">
                  <c:v>0.15815458174966401</c:v>
                </c:pt>
                <c:pt idx="17387" formatCode="0.0%">
                  <c:v>0.15621676422652131</c:v>
                </c:pt>
                <c:pt idx="17388" formatCode="0.0%">
                  <c:v>0.15106402816226414</c:v>
                </c:pt>
                <c:pt idx="17389" formatCode="0.0%">
                  <c:v>0.15180113104368456</c:v>
                </c:pt>
                <c:pt idx="17390" formatCode="0.0%">
                  <c:v>0.15038546009891682</c:v>
                </c:pt>
                <c:pt idx="17391" formatCode="0.0%">
                  <c:v>0.16576099788580134</c:v>
                </c:pt>
                <c:pt idx="17392" formatCode="0.0%">
                  <c:v>0.16856605886548862</c:v>
                </c:pt>
                <c:pt idx="17393" formatCode="0.0%">
                  <c:v>0.17895461572615823</c:v>
                </c:pt>
                <c:pt idx="17394" formatCode="0.0%">
                  <c:v>0.18477713694414355</c:v>
                </c:pt>
                <c:pt idx="17395" formatCode="0.0%">
                  <c:v>0.18439791214711701</c:v>
                </c:pt>
                <c:pt idx="17396" formatCode="0.0%">
                  <c:v>0.18604065587319382</c:v>
                </c:pt>
                <c:pt idx="17397" formatCode="0.0%">
                  <c:v>0.18720239878319561</c:v>
                </c:pt>
                <c:pt idx="17398" formatCode="0.0%">
                  <c:v>0.19739355732911434</c:v>
                </c:pt>
                <c:pt idx="17399" formatCode="0.0%">
                  <c:v>0.19733955329921418</c:v>
                </c:pt>
                <c:pt idx="17400" formatCode="0.0%">
                  <c:v>0.19719674465212239</c:v>
                </c:pt>
                <c:pt idx="17401" formatCode="0.0%">
                  <c:v>0.18434081230754701</c:v>
                </c:pt>
                <c:pt idx="17402" formatCode="0.0%">
                  <c:v>0.16944481842772799</c:v>
                </c:pt>
                <c:pt idx="17403" formatCode="0.0%">
                  <c:v>0.1927663694532212</c:v>
                </c:pt>
                <c:pt idx="17404" formatCode="0.0%">
                  <c:v>0.1859025382937074</c:v>
                </c:pt>
                <c:pt idx="17405" formatCode="0.0%">
                  <c:v>0.18720355095412752</c:v>
                </c:pt>
                <c:pt idx="17406" formatCode="0.0%">
                  <c:v>0.1930646868510898</c:v>
                </c:pt>
                <c:pt idx="17407" formatCode="0.0%">
                  <c:v>0.20279908179495235</c:v>
                </c:pt>
                <c:pt idx="17408" formatCode="0.0%">
                  <c:v>0.20438259065553155</c:v>
                </c:pt>
                <c:pt idx="17409" formatCode="0.0%">
                  <c:v>0.21144843366028401</c:v>
                </c:pt>
                <c:pt idx="17410" formatCode="0.0%">
                  <c:v>0.21016441423590176</c:v>
                </c:pt>
                <c:pt idx="17411" formatCode="0.0%">
                  <c:v>0.17389557194106567</c:v>
                </c:pt>
                <c:pt idx="17412" formatCode="0.0%">
                  <c:v>0.17724666536819736</c:v>
                </c:pt>
                <c:pt idx="17413" formatCode="0.0%">
                  <c:v>0.17847722036786107</c:v>
                </c:pt>
                <c:pt idx="17414" formatCode="0.0%">
                  <c:v>0.17677554490371458</c:v>
                </c:pt>
                <c:pt idx="17415" formatCode="0.0%">
                  <c:v>0.17506959981246709</c:v>
                </c:pt>
                <c:pt idx="17416" formatCode="0.0%">
                  <c:v>0.18816992976271882</c:v>
                </c:pt>
                <c:pt idx="17417" formatCode="0.0%">
                  <c:v>0.18293997109706617</c:v>
                </c:pt>
                <c:pt idx="17418" formatCode="0.0%">
                  <c:v>0.17669274290932704</c:v>
                </c:pt>
                <c:pt idx="17419" formatCode="0.0%">
                  <c:v>0.1773776890977409</c:v>
                </c:pt>
                <c:pt idx="17420" formatCode="0.0%">
                  <c:v>0.17809217986244608</c:v>
                </c:pt>
                <c:pt idx="17421" formatCode="0.0%">
                  <c:v>0.17561690268936422</c:v>
                </c:pt>
                <c:pt idx="17422" formatCode="0.0%">
                  <c:v>0.1747980493985177</c:v>
                </c:pt>
                <c:pt idx="17423" formatCode="0.0%">
                  <c:v>0.15561781359460505</c:v>
                </c:pt>
                <c:pt idx="17424" formatCode="0.0%">
                  <c:v>0.15583687706322422</c:v>
                </c:pt>
                <c:pt idx="17425" formatCode="0.0%">
                  <c:v>0.15432566060615957</c:v>
                </c:pt>
                <c:pt idx="17426" formatCode="0.0%">
                  <c:v>0.14481901528330843</c:v>
                </c:pt>
                <c:pt idx="17427" formatCode="0.0%">
                  <c:v>0.12641730933612613</c:v>
                </c:pt>
                <c:pt idx="17428" formatCode="0.0%">
                  <c:v>0.12835524727439909</c:v>
                </c:pt>
                <c:pt idx="17429" formatCode="0.0%">
                  <c:v>0.11483077858686694</c:v>
                </c:pt>
                <c:pt idx="17430" formatCode="0.0%">
                  <c:v>0.12672071115823791</c:v>
                </c:pt>
                <c:pt idx="17431" formatCode="0.0%">
                  <c:v>0.12679037702346832</c:v>
                </c:pt>
                <c:pt idx="17432" formatCode="0.0%">
                  <c:v>0.11682094361435318</c:v>
                </c:pt>
                <c:pt idx="17433" formatCode="0.0%">
                  <c:v>0.11430295520698983</c:v>
                </c:pt>
                <c:pt idx="17434" formatCode="0.0%">
                  <c:v>0.12425570525669916</c:v>
                </c:pt>
                <c:pt idx="17435" formatCode="0.0%">
                  <c:v>0.12688373872619363</c:v>
                </c:pt>
                <c:pt idx="17436" formatCode="0.0%">
                  <c:v>0.10937537526893111</c:v>
                </c:pt>
                <c:pt idx="17437" formatCode="0.0%">
                  <c:v>0.10991638656821781</c:v>
                </c:pt>
                <c:pt idx="17438" formatCode="0.0%">
                  <c:v>0.11209268230297362</c:v>
                </c:pt>
                <c:pt idx="17439" formatCode="0.0%">
                  <c:v>0.11294124589740719</c:v>
                </c:pt>
                <c:pt idx="17440" formatCode="0.0%">
                  <c:v>0.10965041747134327</c:v>
                </c:pt>
                <c:pt idx="17441" formatCode="0.0%">
                  <c:v>0.13781052228755383</c:v>
                </c:pt>
                <c:pt idx="17442" formatCode="0.0%">
                  <c:v>0.15213043540116902</c:v>
                </c:pt>
                <c:pt idx="17443" formatCode="0.0%">
                  <c:v>0.15583264676283118</c:v>
                </c:pt>
                <c:pt idx="17444" formatCode="0.0%">
                  <c:v>0.15722868162086118</c:v>
                </c:pt>
                <c:pt idx="17445" formatCode="0.0%">
                  <c:v>0.1570620579949554</c:v>
                </c:pt>
                <c:pt idx="17446" formatCode="0.0%">
                  <c:v>0.15712854650922209</c:v>
                </c:pt>
                <c:pt idx="17447" formatCode="0.0%">
                  <c:v>0.15736419232180562</c:v>
                </c:pt>
                <c:pt idx="17448" formatCode="0.0%">
                  <c:v>0.15895802878025481</c:v>
                </c:pt>
                <c:pt idx="17449" formatCode="0.0%">
                  <c:v>0.16327052972358108</c:v>
                </c:pt>
                <c:pt idx="17450" formatCode="0.0%">
                  <c:v>0.15892063379296648</c:v>
                </c:pt>
                <c:pt idx="17451" formatCode="0.0%">
                  <c:v>0.15932542964533272</c:v>
                </c:pt>
                <c:pt idx="17452" formatCode="0.0%">
                  <c:v>0.16847342006481705</c:v>
                </c:pt>
                <c:pt idx="17453" formatCode="0.0%">
                  <c:v>0.16899066612731478</c:v>
                </c:pt>
                <c:pt idx="17454" formatCode="0.0%">
                  <c:v>0.16149020704115241</c:v>
                </c:pt>
                <c:pt idx="17455" formatCode="0.0%">
                  <c:v>0.15781848171917723</c:v>
                </c:pt>
                <c:pt idx="17456" formatCode="0.0%">
                  <c:v>0.15951812210999081</c:v>
                </c:pt>
                <c:pt idx="17457" formatCode="0.0%">
                  <c:v>0.16322220060677281</c:v>
                </c:pt>
                <c:pt idx="17458" formatCode="0.0%">
                  <c:v>0.16278042071132984</c:v>
                </c:pt>
                <c:pt idx="17459" formatCode="0.0%">
                  <c:v>0.17469361303033171</c:v>
                </c:pt>
                <c:pt idx="17460" formatCode="0.0%">
                  <c:v>0.17514516075617229</c:v>
                </c:pt>
                <c:pt idx="17461" formatCode="0.0%">
                  <c:v>0.16875135555958681</c:v>
                </c:pt>
                <c:pt idx="17462" formatCode="0.0%">
                  <c:v>0.15648719993163657</c:v>
                </c:pt>
                <c:pt idx="17463" formatCode="0.0%">
                  <c:v>0.15162235803146068</c:v>
                </c:pt>
                <c:pt idx="17464" formatCode="0.0%">
                  <c:v>0.14902534899098288</c:v>
                </c:pt>
                <c:pt idx="17465" formatCode="0.0%">
                  <c:v>0.15022990311352291</c:v>
                </c:pt>
                <c:pt idx="17466" formatCode="0.0%">
                  <c:v>0.14944685980486166</c:v>
                </c:pt>
                <c:pt idx="17467" formatCode="0.0%">
                  <c:v>0.15130480549924</c:v>
                </c:pt>
                <c:pt idx="17468" formatCode="0.0%">
                  <c:v>0.1454631350518831</c:v>
                </c:pt>
                <c:pt idx="17469" formatCode="0.0%">
                  <c:v>0.14316154524770952</c:v>
                </c:pt>
                <c:pt idx="17470" formatCode="0.0%">
                  <c:v>0.14098250611503804</c:v>
                </c:pt>
                <c:pt idx="17471" formatCode="0.0%">
                  <c:v>0.13969136315818123</c:v>
                </c:pt>
                <c:pt idx="17472" formatCode="0.0%">
                  <c:v>0.13102965874111649</c:v>
                </c:pt>
                <c:pt idx="17473" formatCode="0.0%">
                  <c:v>0.13714171011902493</c:v>
                </c:pt>
                <c:pt idx="17474" formatCode="0.0%">
                  <c:v>0.15548294656400355</c:v>
                </c:pt>
                <c:pt idx="17475" formatCode="0.0%">
                  <c:v>0.1557691765394951</c:v>
                </c:pt>
                <c:pt idx="17476" formatCode="0.0%">
                  <c:v>0.15923508059650626</c:v>
                </c:pt>
                <c:pt idx="17477" formatCode="0.0%">
                  <c:v>0.15399650395723025</c:v>
                </c:pt>
                <c:pt idx="17478" formatCode="0.0%">
                  <c:v>0.1535662136399924</c:v>
                </c:pt>
                <c:pt idx="17479" formatCode="0.0%">
                  <c:v>0.16867656231318293</c:v>
                </c:pt>
                <c:pt idx="17480" formatCode="0.0%">
                  <c:v>0.17530920247666601</c:v>
                </c:pt>
                <c:pt idx="17481" formatCode="0.0%">
                  <c:v>0.16330438924243634</c:v>
                </c:pt>
                <c:pt idx="17482" formatCode="0.0%">
                  <c:v>0.1712413420548384</c:v>
                </c:pt>
                <c:pt idx="17483" formatCode="0.0%">
                  <c:v>0.17906052772598036</c:v>
                </c:pt>
                <c:pt idx="17484" formatCode="0.0%">
                  <c:v>0.17906145396735743</c:v>
                </c:pt>
                <c:pt idx="17485" formatCode="0.0%">
                  <c:v>0.179257291314558</c:v>
                </c:pt>
                <c:pt idx="17486" formatCode="0.0%">
                  <c:v>0.17879948728484063</c:v>
                </c:pt>
                <c:pt idx="17487" formatCode="0.0%">
                  <c:v>0.17327451232379854</c:v>
                </c:pt>
                <c:pt idx="17488" formatCode="0.0%">
                  <c:v>0.17534675220090321</c:v>
                </c:pt>
                <c:pt idx="17489" formatCode="0.0%">
                  <c:v>0.17460130236211097</c:v>
                </c:pt>
                <c:pt idx="17490" formatCode="0.0%">
                  <c:v>0.21042540830232725</c:v>
                </c:pt>
                <c:pt idx="17491" formatCode="0.0%">
                  <c:v>0.21013040827577742</c:v>
                </c:pt>
                <c:pt idx="17492" formatCode="0.0%">
                  <c:v>0.20780957530334959</c:v>
                </c:pt>
                <c:pt idx="17493" formatCode="0.0%">
                  <c:v>0.20567162143371703</c:v>
                </c:pt>
                <c:pt idx="17494" formatCode="0.0%">
                  <c:v>0.19514721881801744</c:v>
                </c:pt>
                <c:pt idx="17495" formatCode="0.0%">
                  <c:v>0.19489940159038083</c:v>
                </c:pt>
                <c:pt idx="17496" formatCode="0.0%">
                  <c:v>0.1989128735062029</c:v>
                </c:pt>
                <c:pt idx="17497" formatCode="0.0%">
                  <c:v>0.19970008577703702</c:v>
                </c:pt>
                <c:pt idx="17498" formatCode="0.0%">
                  <c:v>0.20456713598830145</c:v>
                </c:pt>
                <c:pt idx="17499" formatCode="0.0%">
                  <c:v>0.18079946688702933</c:v>
                </c:pt>
                <c:pt idx="17500" formatCode="0.0%">
                  <c:v>0.20033801730411974</c:v>
                </c:pt>
                <c:pt idx="17501" formatCode="0.0%">
                  <c:v>0.19492336983757996</c:v>
                </c:pt>
                <c:pt idx="17502" formatCode="0.0%">
                  <c:v>0.18901650271387069</c:v>
                </c:pt>
                <c:pt idx="17503" formatCode="0.0%">
                  <c:v>0.17976906277011623</c:v>
                </c:pt>
                <c:pt idx="17504" formatCode="0.0%">
                  <c:v>0.17989057571240641</c:v>
                </c:pt>
                <c:pt idx="17505" formatCode="0.0%">
                  <c:v>0.17988765583345714</c:v>
                </c:pt>
                <c:pt idx="17506" formatCode="0.0%">
                  <c:v>0.17993481926855592</c:v>
                </c:pt>
                <c:pt idx="17507" formatCode="0.0%">
                  <c:v>0.18254585617739202</c:v>
                </c:pt>
                <c:pt idx="17508" formatCode="0.0%">
                  <c:v>0.17781982725132572</c:v>
                </c:pt>
                <c:pt idx="17509" formatCode="0.0%">
                  <c:v>0.17719758063178112</c:v>
                </c:pt>
                <c:pt idx="17510" formatCode="0.0%">
                  <c:v>0.14604412676348102</c:v>
                </c:pt>
                <c:pt idx="17511" formatCode="0.0%">
                  <c:v>0.1483962498246118</c:v>
                </c:pt>
                <c:pt idx="17512" formatCode="0.0%">
                  <c:v>0.14889354623478909</c:v>
                </c:pt>
                <c:pt idx="17513" formatCode="0.0%">
                  <c:v>0.14869195691694426</c:v>
                </c:pt>
                <c:pt idx="17514" formatCode="0.0%">
                  <c:v>0.15021580113225963</c:v>
                </c:pt>
                <c:pt idx="17515" formatCode="0.0%">
                  <c:v>0.15321375172162197</c:v>
                </c:pt>
                <c:pt idx="17516" formatCode="0.0%">
                  <c:v>0.14464315376418269</c:v>
                </c:pt>
                <c:pt idx="17517" formatCode="0.0%">
                  <c:v>0.14183184445688965</c:v>
                </c:pt>
                <c:pt idx="17518" formatCode="0.0%">
                  <c:v>0.13939662016277399</c:v>
                </c:pt>
                <c:pt idx="17519" formatCode="0.0%">
                  <c:v>0.13718298322618785</c:v>
                </c:pt>
                <c:pt idx="17520" formatCode="0.0%">
                  <c:v>9.9909258341990548E-2</c:v>
                </c:pt>
                <c:pt idx="17521" formatCode="0.0%">
                  <c:v>0.10117029042448075</c:v>
                </c:pt>
                <c:pt idx="17522" formatCode="0.0%">
                  <c:v>0.10896767464854862</c:v>
                </c:pt>
                <c:pt idx="17523" formatCode="0.0%">
                  <c:v>0.11636044167657543</c:v>
                </c:pt>
                <c:pt idx="17524" formatCode="0.0%">
                  <c:v>0.12305770104600781</c:v>
                </c:pt>
                <c:pt idx="17525" formatCode="0.0%">
                  <c:v>0.13650869833914936</c:v>
                </c:pt>
                <c:pt idx="17526" formatCode="0.0%">
                  <c:v>0.13377956614297154</c:v>
                </c:pt>
                <c:pt idx="17527" formatCode="0.0%">
                  <c:v>0.14869795676920802</c:v>
                </c:pt>
                <c:pt idx="17528" formatCode="0.0%">
                  <c:v>0.15045597710345976</c:v>
                </c:pt>
                <c:pt idx="17529" formatCode="0.0%">
                  <c:v>0.29009458795846371</c:v>
                </c:pt>
                <c:pt idx="17530" formatCode="0.0%">
                  <c:v>0.34749619061488723</c:v>
                </c:pt>
                <c:pt idx="17531" formatCode="0.0%">
                  <c:v>0.34553887478903106</c:v>
                </c:pt>
                <c:pt idx="17532" formatCode="0.0%">
                  <c:v>0.34840268831360982</c:v>
                </c:pt>
                <c:pt idx="17533" formatCode="0.0%">
                  <c:v>0.35151075141158877</c:v>
                </c:pt>
                <c:pt idx="17534" formatCode="0.0%">
                  <c:v>0.36467295349564227</c:v>
                </c:pt>
                <c:pt idx="17535" formatCode="0.0%">
                  <c:v>0.36202586191713243</c:v>
                </c:pt>
                <c:pt idx="17536" formatCode="0.0%">
                  <c:v>0.36127309141955299</c:v>
                </c:pt>
                <c:pt idx="17537" formatCode="0.0%">
                  <c:v>0.36143111101532926</c:v>
                </c:pt>
                <c:pt idx="17538" formatCode="0.0%">
                  <c:v>0.36297947918094342</c:v>
                </c:pt>
                <c:pt idx="17539" formatCode="0.0%">
                  <c:v>0.36315237388381788</c:v>
                </c:pt>
                <c:pt idx="17540" formatCode="0.0%">
                  <c:v>0.36326694069411997</c:v>
                </c:pt>
                <c:pt idx="17541" formatCode="0.0%">
                  <c:v>0.36823135313710126</c:v>
                </c:pt>
                <c:pt idx="17542" formatCode="0.0%">
                  <c:v>0.37070232269112868</c:v>
                </c:pt>
                <c:pt idx="17543" formatCode="0.0%">
                  <c:v>0.37240482955325505</c:v>
                </c:pt>
                <c:pt idx="17544" formatCode="0.0%">
                  <c:v>0.37642144806948308</c:v>
                </c:pt>
                <c:pt idx="17545" formatCode="0.0%">
                  <c:v>0.37134557938457463</c:v>
                </c:pt>
                <c:pt idx="17546" formatCode="0.0%">
                  <c:v>0.3724637999037036</c:v>
                </c:pt>
                <c:pt idx="17547" formatCode="0.0%">
                  <c:v>0.37089249716546235</c:v>
                </c:pt>
                <c:pt idx="17548" formatCode="0.0%">
                  <c:v>0.36919363650292364</c:v>
                </c:pt>
                <c:pt idx="17549" formatCode="0.0%">
                  <c:v>0.26379204096679992</c:v>
                </c:pt>
                <c:pt idx="17550" formatCode="0.0%">
                  <c:v>0.20018339428437762</c:v>
                </c:pt>
                <c:pt idx="17551" formatCode="0.0%">
                  <c:v>0.199512348628229</c:v>
                </c:pt>
                <c:pt idx="17552" formatCode="0.0%">
                  <c:v>0.18689781746718889</c:v>
                </c:pt>
                <c:pt idx="17553" formatCode="0.0%">
                  <c:v>0.19422129347311093</c:v>
                </c:pt>
                <c:pt idx="17554" formatCode="0.0%">
                  <c:v>0.17492764830471547</c:v>
                </c:pt>
                <c:pt idx="17555" formatCode="0.0%">
                  <c:v>0.17537281105313599</c:v>
                </c:pt>
                <c:pt idx="17556" formatCode="0.0%">
                  <c:v>0.17650525327260583</c:v>
                </c:pt>
                <c:pt idx="17557" formatCode="0.0%">
                  <c:v>0.17765876948320874</c:v>
                </c:pt>
                <c:pt idx="17558" formatCode="0.0%">
                  <c:v>0.17093229483476421</c:v>
                </c:pt>
                <c:pt idx="17559" formatCode="0.0%">
                  <c:v>0.17080322111135091</c:v>
                </c:pt>
                <c:pt idx="17560" formatCode="0.0%">
                  <c:v>0.17379126030963316</c:v>
                </c:pt>
                <c:pt idx="17561" formatCode="0.0%">
                  <c:v>0.16750350686698537</c:v>
                </c:pt>
                <c:pt idx="17562" formatCode="0.0%">
                  <c:v>0.16455659727038147</c:v>
                </c:pt>
                <c:pt idx="17563" formatCode="0.0%">
                  <c:v>0.16280761673083435</c:v>
                </c:pt>
                <c:pt idx="17564" formatCode="0.0%">
                  <c:v>0.15022655191438131</c:v>
                </c:pt>
                <c:pt idx="17565" formatCode="0.0%">
                  <c:v>0.14665290900276631</c:v>
                </c:pt>
                <c:pt idx="17566" formatCode="0.0%">
                  <c:v>0.15123206768692082</c:v>
                </c:pt>
                <c:pt idx="17567" formatCode="0.0%">
                  <c:v>0.14449688110289277</c:v>
                </c:pt>
                <c:pt idx="17568" formatCode="0.0%">
                  <c:v>0.14623683009666305</c:v>
                </c:pt>
                <c:pt idx="17569" formatCode="0.0%">
                  <c:v>0.14362425081683106</c:v>
                </c:pt>
                <c:pt idx="17570" formatCode="0.0%">
                  <c:v>0.14421192482178591</c:v>
                </c:pt>
                <c:pt idx="17571" formatCode="0.0%">
                  <c:v>0.14517557755189089</c:v>
                </c:pt>
                <c:pt idx="17572" formatCode="0.0%">
                  <c:v>0.15898442138979901</c:v>
                </c:pt>
                <c:pt idx="17573" formatCode="0.0%">
                  <c:v>0.15589408335283542</c:v>
                </c:pt>
                <c:pt idx="17574" formatCode="0.0%">
                  <c:v>0.15550094370575335</c:v>
                </c:pt>
                <c:pt idx="17575" formatCode="0.0%">
                  <c:v>0.15529135286103982</c:v>
                </c:pt>
                <c:pt idx="17576" formatCode="0.0%">
                  <c:v>0.15484160279250722</c:v>
                </c:pt>
                <c:pt idx="17577" formatCode="0.0%">
                  <c:v>0.15408607093061841</c:v>
                </c:pt>
                <c:pt idx="17578" formatCode="0.0%">
                  <c:v>0.15420713529392124</c:v>
                </c:pt>
                <c:pt idx="17579" formatCode="0.0%">
                  <c:v>0.15507447100251956</c:v>
                </c:pt>
                <c:pt idx="17580" formatCode="0.0%">
                  <c:v>0.18585548693137308</c:v>
                </c:pt>
                <c:pt idx="17581" formatCode="0.0%">
                  <c:v>0.18581584061370182</c:v>
                </c:pt>
                <c:pt idx="17582" formatCode="0.0%">
                  <c:v>0.19273359292158632</c:v>
                </c:pt>
                <c:pt idx="17583" formatCode="0.0%">
                  <c:v>0.19019628029446492</c:v>
                </c:pt>
                <c:pt idx="17584" formatCode="0.0%">
                  <c:v>0.19086540896989856</c:v>
                </c:pt>
                <c:pt idx="17585" formatCode="0.0%">
                  <c:v>0.19552814992861736</c:v>
                </c:pt>
                <c:pt idx="17586" formatCode="0.0%">
                  <c:v>0.20116365574474937</c:v>
                </c:pt>
                <c:pt idx="17587" formatCode="0.0%">
                  <c:v>0.20054431911088599</c:v>
                </c:pt>
                <c:pt idx="17588" formatCode="0.0%">
                  <c:v>0.20180363669825116</c:v>
                </c:pt>
                <c:pt idx="17589" formatCode="0.0%">
                  <c:v>0.19447377626586607</c:v>
                </c:pt>
                <c:pt idx="17590" formatCode="0.0%">
                  <c:v>0.19239106118707491</c:v>
                </c:pt>
                <c:pt idx="17591" formatCode="0.0%">
                  <c:v>0.19633022950430543</c:v>
                </c:pt>
                <c:pt idx="17592" formatCode="0.0%">
                  <c:v>0.1888547710067853</c:v>
                </c:pt>
                <c:pt idx="17593" formatCode="0.0%">
                  <c:v>0.18009831583629007</c:v>
                </c:pt>
                <c:pt idx="17594" formatCode="0.0%">
                  <c:v>0.18134725411122374</c:v>
                </c:pt>
                <c:pt idx="17595" formatCode="0.0%">
                  <c:v>0.19530104780246227</c:v>
                </c:pt>
                <c:pt idx="17596" formatCode="0.0%">
                  <c:v>0.19565892605027899</c:v>
                </c:pt>
                <c:pt idx="17597" formatCode="0.0%">
                  <c:v>0.19027534690789341</c:v>
                </c:pt>
                <c:pt idx="17598" formatCode="0.0%">
                  <c:v>0.19051023893408961</c:v>
                </c:pt>
                <c:pt idx="17599" formatCode="0.0%">
                  <c:v>0.18792375653345231</c:v>
                </c:pt>
                <c:pt idx="17600" formatCode="0.0%">
                  <c:v>0.14363634857858462</c:v>
                </c:pt>
                <c:pt idx="17601" formatCode="0.0%">
                  <c:v>0.14126962950109132</c:v>
                </c:pt>
                <c:pt idx="17602" formatCode="0.0%">
                  <c:v>0.13697421429454457</c:v>
                </c:pt>
                <c:pt idx="17603" formatCode="0.0%">
                  <c:v>0.13664080322151168</c:v>
                </c:pt>
                <c:pt idx="17604" formatCode="0.0%">
                  <c:v>0.13339764545236035</c:v>
                </c:pt>
                <c:pt idx="17605" formatCode="0.0%">
                  <c:v>0.13022535201964611</c:v>
                </c:pt>
                <c:pt idx="17606" formatCode="0.0%">
                  <c:v>0.1207676923290962</c:v>
                </c:pt>
                <c:pt idx="17607" formatCode="0.0%">
                  <c:v>0.1166281408400065</c:v>
                </c:pt>
                <c:pt idx="17608" formatCode="0.0%">
                  <c:v>0.10957459466144873</c:v>
                </c:pt>
                <c:pt idx="17609" formatCode="0.0%">
                  <c:v>0.10399721356562533</c:v>
                </c:pt>
                <c:pt idx="17610" formatCode="0.0%">
                  <c:v>0.11047971074535351</c:v>
                </c:pt>
                <c:pt idx="17611" formatCode="0.0%">
                  <c:v>0.10983156091650016</c:v>
                </c:pt>
                <c:pt idx="17612" formatCode="0.0%">
                  <c:v>0.10849005793788051</c:v>
                </c:pt>
                <c:pt idx="17613" formatCode="0.0%">
                  <c:v>0.10748702502281564</c:v>
                </c:pt>
                <c:pt idx="17614" formatCode="0.0%">
                  <c:v>0.10436886852739263</c:v>
                </c:pt>
                <c:pt idx="17615" formatCode="0.0%">
                  <c:v>8.0479406493675923E-2</c:v>
                </c:pt>
                <c:pt idx="17616" formatCode="0.0%">
                  <c:v>8.3625856328114839E-2</c:v>
                </c:pt>
                <c:pt idx="17617" formatCode="0.0%">
                  <c:v>9.6945704520113266E-2</c:v>
                </c:pt>
                <c:pt idx="17618" formatCode="0.0%">
                  <c:v>0.11499231673474139</c:v>
                </c:pt>
                <c:pt idx="17619" formatCode="0.0%">
                  <c:v>0.11416954168284282</c:v>
                </c:pt>
                <c:pt idx="17620" formatCode="0.0%">
                  <c:v>0.11793289772594186</c:v>
                </c:pt>
                <c:pt idx="17621" formatCode="0.0%">
                  <c:v>0.11623380037082033</c:v>
                </c:pt>
                <c:pt idx="17622" formatCode="0.0%">
                  <c:v>0.11618194241471573</c:v>
                </c:pt>
                <c:pt idx="17623" formatCode="0.0%">
                  <c:v>0.11669125968778472</c:v>
                </c:pt>
                <c:pt idx="17624" formatCode="0.0%">
                  <c:v>0.11749262873901192</c:v>
                </c:pt>
                <c:pt idx="17625" formatCode="0.0%">
                  <c:v>0.1176519363309312</c:v>
                </c:pt>
                <c:pt idx="17626" formatCode="0.0%">
                  <c:v>0.11553334757760157</c:v>
                </c:pt>
                <c:pt idx="17627" formatCode="0.0%">
                  <c:v>0.11323603662870158</c:v>
                </c:pt>
                <c:pt idx="17628" formatCode="0.0%">
                  <c:v>0.11463434320046476</c:v>
                </c:pt>
                <c:pt idx="17629" formatCode="0.0%">
                  <c:v>0.11675900030044994</c:v>
                </c:pt>
                <c:pt idx="17630" formatCode="0.0%">
                  <c:v>0.11259827427962531</c:v>
                </c:pt>
                <c:pt idx="17631" formatCode="0.0%">
                  <c:v>0.11054363510195887</c:v>
                </c:pt>
                <c:pt idx="17632" formatCode="0.0%">
                  <c:v>0.11081306923390652</c:v>
                </c:pt>
                <c:pt idx="17633" formatCode="0.0%">
                  <c:v>0.11368855590478424</c:v>
                </c:pt>
                <c:pt idx="17634" formatCode="0.0%">
                  <c:v>0.11376049885499435</c:v>
                </c:pt>
                <c:pt idx="17635" formatCode="0.0%">
                  <c:v>0.11514765684719561</c:v>
                </c:pt>
                <c:pt idx="17636" formatCode="0.0%">
                  <c:v>0.11287524540678606</c:v>
                </c:pt>
                <c:pt idx="17637" formatCode="0.0%">
                  <c:v>0.10190671872331204</c:v>
                </c:pt>
                <c:pt idx="17638" formatCode="0.0%">
                  <c:v>8.3101880781645751E-2</c:v>
                </c:pt>
                <c:pt idx="17639" formatCode="0.0%">
                  <c:v>8.1359814636408137E-2</c:v>
                </c:pt>
                <c:pt idx="17640" formatCode="0.0%">
                  <c:v>8.9183713618994173E-2</c:v>
                </c:pt>
                <c:pt idx="17641" formatCode="0.0%">
                  <c:v>9.4620772111740623E-2</c:v>
                </c:pt>
                <c:pt idx="17642" formatCode="0.0%">
                  <c:v>9.7489635860202581E-2</c:v>
                </c:pt>
                <c:pt idx="17643" formatCode="0.0%">
                  <c:v>9.7352984279828803E-2</c:v>
                </c:pt>
                <c:pt idx="17644" formatCode="0.0%">
                  <c:v>9.3675108089807141E-2</c:v>
                </c:pt>
                <c:pt idx="17645" formatCode="0.0%">
                  <c:v>9.3802683681541044E-2</c:v>
                </c:pt>
                <c:pt idx="17646" formatCode="0.0%">
                  <c:v>0.10189790652955893</c:v>
                </c:pt>
                <c:pt idx="17647" formatCode="0.0%">
                  <c:v>0.11015258224567925</c:v>
                </c:pt>
                <c:pt idx="17648" formatCode="0.0%">
                  <c:v>0.10689998326454378</c:v>
                </c:pt>
                <c:pt idx="17649" formatCode="0.0%">
                  <c:v>0.10574194131469754</c:v>
                </c:pt>
                <c:pt idx="17650" formatCode="0.0%">
                  <c:v>0.10203907945913741</c:v>
                </c:pt>
                <c:pt idx="17651" formatCode="0.0%">
                  <c:v>0.10807977649041375</c:v>
                </c:pt>
                <c:pt idx="17652" formatCode="0.0%">
                  <c:v>0.11517829627047667</c:v>
                </c:pt>
                <c:pt idx="17653" formatCode="0.0%">
                  <c:v>0.13401529464971004</c:v>
                </c:pt>
                <c:pt idx="17654" formatCode="0.0%">
                  <c:v>0.13396968469714088</c:v>
                </c:pt>
                <c:pt idx="17655" formatCode="0.0%">
                  <c:v>0.13502443819239374</c:v>
                </c:pt>
                <c:pt idx="17656" formatCode="0.0%">
                  <c:v>0.1449199867878925</c:v>
                </c:pt>
                <c:pt idx="17657" formatCode="0.0%">
                  <c:v>0.14288359394951289</c:v>
                </c:pt>
                <c:pt idx="17658" formatCode="0.0%">
                  <c:v>0.1426596566358774</c:v>
                </c:pt>
                <c:pt idx="17659" formatCode="0.0%">
                  <c:v>0.1441273444375647</c:v>
                </c:pt>
                <c:pt idx="17660" formatCode="0.0%">
                  <c:v>0.14314207211909213</c:v>
                </c:pt>
                <c:pt idx="17661" formatCode="0.0%">
                  <c:v>0.14439809492123257</c:v>
                </c:pt>
                <c:pt idx="17662" formatCode="0.0%">
                  <c:v>0.14776916340684546</c:v>
                </c:pt>
                <c:pt idx="17663" formatCode="0.0%">
                  <c:v>0.14781119985381913</c:v>
                </c:pt>
                <c:pt idx="17664" formatCode="0.0%">
                  <c:v>0.14952949607145163</c:v>
                </c:pt>
                <c:pt idx="17665" formatCode="0.0%">
                  <c:v>0.14941130516554663</c:v>
                </c:pt>
                <c:pt idx="17666" formatCode="0.0%">
                  <c:v>0.1448196959521813</c:v>
                </c:pt>
                <c:pt idx="17667" formatCode="0.0%">
                  <c:v>0.13948554513096212</c:v>
                </c:pt>
                <c:pt idx="17668" formatCode="0.0%">
                  <c:v>0.139546879260768</c:v>
                </c:pt>
                <c:pt idx="17669" formatCode="0.0%">
                  <c:v>0.13978343102452254</c:v>
                </c:pt>
                <c:pt idx="17670" formatCode="0.0%">
                  <c:v>0.14297761538873646</c:v>
                </c:pt>
                <c:pt idx="17671" formatCode="0.0%">
                  <c:v>0.1394551507769036</c:v>
                </c:pt>
                <c:pt idx="17672" formatCode="0.0%">
                  <c:v>0.13485084812616457</c:v>
                </c:pt>
                <c:pt idx="17673" formatCode="0.0%">
                  <c:v>0.12682473664668303</c:v>
                </c:pt>
                <c:pt idx="17674" formatCode="0.0%">
                  <c:v>0.12688547128021899</c:v>
                </c:pt>
                <c:pt idx="17675" formatCode="0.0%">
                  <c:v>0.12421940773134579</c:v>
                </c:pt>
                <c:pt idx="17676" formatCode="0.0%">
                  <c:v>0.11185143333781938</c:v>
                </c:pt>
                <c:pt idx="17677" formatCode="0.0%">
                  <c:v>0.10654274530986552</c:v>
                </c:pt>
                <c:pt idx="17678" formatCode="0.0%">
                  <c:v>0.10692885758450774</c:v>
                </c:pt>
                <c:pt idx="17679" formatCode="0.0%">
                  <c:v>0.10986244080510735</c:v>
                </c:pt>
                <c:pt idx="17680" formatCode="0.0%">
                  <c:v>0.11418026490952092</c:v>
                </c:pt>
                <c:pt idx="17681" formatCode="0.0%">
                  <c:v>0.12566860549776748</c:v>
                </c:pt>
                <c:pt idx="17682" formatCode="0.0%">
                  <c:v>0.11892108136550318</c:v>
                </c:pt>
                <c:pt idx="17683" formatCode="0.0%">
                  <c:v>0.11895962540032193</c:v>
                </c:pt>
                <c:pt idx="17684" formatCode="0.0%">
                  <c:v>0.11713405662171572</c:v>
                </c:pt>
                <c:pt idx="17685" formatCode="0.0%">
                  <c:v>0.12930786547566606</c:v>
                </c:pt>
                <c:pt idx="17686" formatCode="0.0%">
                  <c:v>0.13050228373496722</c:v>
                </c:pt>
                <c:pt idx="17687" formatCode="0.0%">
                  <c:v>0.14559847485718908</c:v>
                </c:pt>
                <c:pt idx="17688" formatCode="0.0%">
                  <c:v>0.15083185944110594</c:v>
                </c:pt>
                <c:pt idx="17689" formatCode="0.0%">
                  <c:v>0.16425398268621383</c:v>
                </c:pt>
                <c:pt idx="17690" formatCode="0.0%">
                  <c:v>0.16102791185393259</c:v>
                </c:pt>
                <c:pt idx="17691" formatCode="0.0%">
                  <c:v>0.16142823870527892</c:v>
                </c:pt>
                <c:pt idx="17692" formatCode="0.0%">
                  <c:v>0.16131210809076157</c:v>
                </c:pt>
                <c:pt idx="17693" formatCode="0.0%">
                  <c:v>0.15997161839272642</c:v>
                </c:pt>
                <c:pt idx="17694" formatCode="0.0%">
                  <c:v>0.16400025186170289</c:v>
                </c:pt>
                <c:pt idx="17695" formatCode="0.0%">
                  <c:v>0.16449921238654788</c:v>
                </c:pt>
                <c:pt idx="17696" formatCode="0.0%">
                  <c:v>0.16212189411594036</c:v>
                </c:pt>
                <c:pt idx="17697" formatCode="0.0%">
                  <c:v>0.1622633300827564</c:v>
                </c:pt>
                <c:pt idx="17698" formatCode="0.0%">
                  <c:v>0.16376223245742505</c:v>
                </c:pt>
                <c:pt idx="17699" formatCode="0.0%">
                  <c:v>0.16237046742194775</c:v>
                </c:pt>
                <c:pt idx="17700" formatCode="0.0%">
                  <c:v>0.16023879264855884</c:v>
                </c:pt>
                <c:pt idx="17701" formatCode="0.0%">
                  <c:v>0.15284560700631267</c:v>
                </c:pt>
                <c:pt idx="17702" formatCode="0.0%">
                  <c:v>0.15358097838622251</c:v>
                </c:pt>
                <c:pt idx="17703" formatCode="0.0%">
                  <c:v>0.15644087311287161</c:v>
                </c:pt>
                <c:pt idx="17704" formatCode="0.0%">
                  <c:v>0.15729233549156249</c:v>
                </c:pt>
                <c:pt idx="17705" formatCode="0.0%">
                  <c:v>0.14222055658348712</c:v>
                </c:pt>
                <c:pt idx="17706" formatCode="0.0%">
                  <c:v>0.1424254157129714</c:v>
                </c:pt>
                <c:pt idx="17707" formatCode="0.0%">
                  <c:v>0.11585648637990989</c:v>
                </c:pt>
                <c:pt idx="17708" formatCode="0.0%">
                  <c:v>0.1164798963808545</c:v>
                </c:pt>
                <c:pt idx="17709" formatCode="0.0%">
                  <c:v>0.10550548163677861</c:v>
                </c:pt>
                <c:pt idx="17710" formatCode="0.0%">
                  <c:v>0.10452060059684812</c:v>
                </c:pt>
                <c:pt idx="17711" formatCode="0.0%">
                  <c:v>0.10175702899252625</c:v>
                </c:pt>
                <c:pt idx="17712" formatCode="0.0%">
                  <c:v>0.12382456409307503</c:v>
                </c:pt>
                <c:pt idx="17713" formatCode="0.0%">
                  <c:v>0.11600902472641278</c:v>
                </c:pt>
                <c:pt idx="17714" formatCode="0.0%">
                  <c:v>0.13596987979296107</c:v>
                </c:pt>
                <c:pt idx="17715" formatCode="0.0%">
                  <c:v>0.13535369312433318</c:v>
                </c:pt>
                <c:pt idx="17716" formatCode="0.0%">
                  <c:v>0.1362090475369935</c:v>
                </c:pt>
                <c:pt idx="17717" formatCode="0.0%">
                  <c:v>0.14593674050119088</c:v>
                </c:pt>
                <c:pt idx="17718" formatCode="0.0%">
                  <c:v>0.14606709655695915</c:v>
                </c:pt>
                <c:pt idx="17719" formatCode="0.0%">
                  <c:v>0.14965691610373943</c:v>
                </c:pt>
                <c:pt idx="17720" formatCode="0.0%">
                  <c:v>0.16481706408825836</c:v>
                </c:pt>
                <c:pt idx="17721" formatCode="0.0%">
                  <c:v>0.16124459556282628</c:v>
                </c:pt>
                <c:pt idx="17722" formatCode="0.0%">
                  <c:v>0.20345913532947954</c:v>
                </c:pt>
                <c:pt idx="17723" formatCode="0.0%">
                  <c:v>0.20221306476166012</c:v>
                </c:pt>
                <c:pt idx="17724" formatCode="0.0%">
                  <c:v>0.20577617912860818</c:v>
                </c:pt>
                <c:pt idx="17725" formatCode="0.0%">
                  <c:v>0.20391608162861585</c:v>
                </c:pt>
                <c:pt idx="17726" formatCode="0.0%">
                  <c:v>0.20351022955910303</c:v>
                </c:pt>
                <c:pt idx="17727" formatCode="0.0%">
                  <c:v>0.19888893106188005</c:v>
                </c:pt>
                <c:pt idx="17728" formatCode="0.0%">
                  <c:v>0.2099502586254384</c:v>
                </c:pt>
                <c:pt idx="17729" formatCode="0.0%">
                  <c:v>0.20575995888335116</c:v>
                </c:pt>
                <c:pt idx="17730" formatCode="0.0%">
                  <c:v>0.20518406357379909</c:v>
                </c:pt>
                <c:pt idx="17731" formatCode="0.0%">
                  <c:v>0.2234761022851986</c:v>
                </c:pt>
                <c:pt idx="17732" formatCode="0.0%">
                  <c:v>0.23016641798697282</c:v>
                </c:pt>
                <c:pt idx="17733" formatCode="0.0%">
                  <c:v>0.23004893628237616</c:v>
                </c:pt>
                <c:pt idx="17734" formatCode="0.0%">
                  <c:v>0.22020917265483048</c:v>
                </c:pt>
                <c:pt idx="17735" formatCode="0.0%">
                  <c:v>0.2213950217522061</c:v>
                </c:pt>
                <c:pt idx="17736" formatCode="0.0%">
                  <c:v>0.22176140878451472</c:v>
                </c:pt>
                <c:pt idx="17737" formatCode="0.0%">
                  <c:v>0.21809514330149735</c:v>
                </c:pt>
                <c:pt idx="17738" formatCode="0.0%">
                  <c:v>0.21903664166075851</c:v>
                </c:pt>
                <c:pt idx="17739" formatCode="0.0%">
                  <c:v>0.24565773046765627</c:v>
                </c:pt>
                <c:pt idx="17740" formatCode="0.0%">
                  <c:v>0.24234036834726841</c:v>
                </c:pt>
                <c:pt idx="17741" formatCode="0.0%">
                  <c:v>0.33746927727165371</c:v>
                </c:pt>
                <c:pt idx="17742" formatCode="0.0%">
                  <c:v>0.35504544502495838</c:v>
                </c:pt>
                <c:pt idx="17743" formatCode="0.0%">
                  <c:v>0.35200803322910301</c:v>
                </c:pt>
                <c:pt idx="17744" formatCode="0.0%">
                  <c:v>0.34936275871594569</c:v>
                </c:pt>
                <c:pt idx="17745" formatCode="0.0%">
                  <c:v>0.34903276431713764</c:v>
                </c:pt>
                <c:pt idx="17746" formatCode="0.0%">
                  <c:v>0.40034258739419182</c:v>
                </c:pt>
                <c:pt idx="17747" formatCode="0.0%">
                  <c:v>0.40188934365782092</c:v>
                </c:pt>
                <c:pt idx="17748" formatCode="0.0%">
                  <c:v>0.40451981407912291</c:v>
                </c:pt>
                <c:pt idx="17749" formatCode="0.0%">
                  <c:v>0.42180909608629352</c:v>
                </c:pt>
                <c:pt idx="17750" formatCode="0.0%">
                  <c:v>0.42853662523235647</c:v>
                </c:pt>
                <c:pt idx="17751" formatCode="0.0%">
                  <c:v>0.42285230968158299</c:v>
                </c:pt>
                <c:pt idx="17752" formatCode="0.0%">
                  <c:v>0.41903660053420433</c:v>
                </c:pt>
                <c:pt idx="17753" formatCode="0.0%">
                  <c:v>0.42705056873187619</c:v>
                </c:pt>
                <c:pt idx="17754" formatCode="0.0%">
                  <c:v>0.42731790346492882</c:v>
                </c:pt>
                <c:pt idx="17755" formatCode="0.0%">
                  <c:v>0.42737856122821594</c:v>
                </c:pt>
                <c:pt idx="17756" formatCode="0.0%">
                  <c:v>0.42716989947608919</c:v>
                </c:pt>
                <c:pt idx="17757" formatCode="0.0%">
                  <c:v>0.44710795535430675</c:v>
                </c:pt>
                <c:pt idx="17758" formatCode="0.0%">
                  <c:v>0.45274825944888192</c:v>
                </c:pt>
                <c:pt idx="17759" formatCode="0.0%">
                  <c:v>0.43096873528265861</c:v>
                </c:pt>
                <c:pt idx="17760" formatCode="0.0%">
                  <c:v>0.42741383063510446</c:v>
                </c:pt>
                <c:pt idx="17761" formatCode="0.0%">
                  <c:v>0.33408264645256575</c:v>
                </c:pt>
                <c:pt idx="17762" formatCode="0.0%">
                  <c:v>0.33242876995571441</c:v>
                </c:pt>
                <c:pt idx="17763" formatCode="0.0%">
                  <c:v>0.35076863885364623</c:v>
                </c:pt>
                <c:pt idx="17764" formatCode="0.0%">
                  <c:v>0.35408529535574107</c:v>
                </c:pt>
                <c:pt idx="17765" formatCode="0.0%">
                  <c:v>0.35661356581676723</c:v>
                </c:pt>
                <c:pt idx="17766" formatCode="0.0%">
                  <c:v>0.30635284889441733</c:v>
                </c:pt>
                <c:pt idx="17767" formatCode="0.0%">
                  <c:v>0.30469338776263882</c:v>
                </c:pt>
                <c:pt idx="17768" formatCode="0.0%">
                  <c:v>0.29341609832888965</c:v>
                </c:pt>
                <c:pt idx="17769" formatCode="0.0%">
                  <c:v>0.28906014346286718</c:v>
                </c:pt>
                <c:pt idx="17770" formatCode="0.0%">
                  <c:v>0.28328153121227662</c:v>
                </c:pt>
                <c:pt idx="17771" formatCode="0.0%">
                  <c:v>0.28116794888739027</c:v>
                </c:pt>
                <c:pt idx="17772" formatCode="0.0%">
                  <c:v>0.28286487838494379</c:v>
                </c:pt>
                <c:pt idx="17773" formatCode="0.0%">
                  <c:v>0.30636811777003309</c:v>
                </c:pt>
                <c:pt idx="17774" formatCode="0.0%">
                  <c:v>0.30740041140752983</c:v>
                </c:pt>
                <c:pt idx="17775" formatCode="0.0%">
                  <c:v>0.30763845261929068</c:v>
                </c:pt>
                <c:pt idx="17776" formatCode="0.0%">
                  <c:v>0.3073208978929125</c:v>
                </c:pt>
                <c:pt idx="17777" formatCode="0.0%">
                  <c:v>0.28197025987871727</c:v>
                </c:pt>
                <c:pt idx="17778" formatCode="0.0%">
                  <c:v>0.2703477185596147</c:v>
                </c:pt>
                <c:pt idx="17779" formatCode="0.0%">
                  <c:v>0.27220227461786795</c:v>
                </c:pt>
                <c:pt idx="17780" formatCode="0.0%">
                  <c:v>0.27204158226103936</c:v>
                </c:pt>
                <c:pt idx="17781" formatCode="0.0%">
                  <c:v>0.27339016561140489</c:v>
                </c:pt>
                <c:pt idx="17782" formatCode="0.0%">
                  <c:v>0.24628964109859228</c:v>
                </c:pt>
                <c:pt idx="17783" formatCode="0.0%">
                  <c:v>0.21763692811730154</c:v>
                </c:pt>
                <c:pt idx="17784" formatCode="0.0%">
                  <c:v>0.2149957480233064</c:v>
                </c:pt>
                <c:pt idx="17785" formatCode="0.0%">
                  <c:v>0.20451890277133308</c:v>
                </c:pt>
                <c:pt idx="17786" formatCode="0.0%">
                  <c:v>0.20271248114565393</c:v>
                </c:pt>
                <c:pt idx="17787" formatCode="0.0%">
                  <c:v>0.18804614562635824</c:v>
                </c:pt>
                <c:pt idx="17788" formatCode="0.0%">
                  <c:v>0.17556852332867043</c:v>
                </c:pt>
                <c:pt idx="17789" formatCode="0.0%">
                  <c:v>0.16325481823612445</c:v>
                </c:pt>
                <c:pt idx="17790" formatCode="0.0%">
                  <c:v>0.172059804918167</c:v>
                </c:pt>
                <c:pt idx="17791" formatCode="0.0%">
                  <c:v>0.17126197592230918</c:v>
                </c:pt>
                <c:pt idx="17792" formatCode="0.0%">
                  <c:v>0.17617788106202573</c:v>
                </c:pt>
                <c:pt idx="17793" formatCode="0.0%">
                  <c:v>0.11843804999930135</c:v>
                </c:pt>
                <c:pt idx="17794" formatCode="0.0%">
                  <c:v>0.11774875356446463</c:v>
                </c:pt>
                <c:pt idx="17795" formatCode="0.0%">
                  <c:v>0.11926129853346119</c:v>
                </c:pt>
                <c:pt idx="17796" formatCode="0.0%">
                  <c:v>0.11905977472940336</c:v>
                </c:pt>
                <c:pt idx="17797" formatCode="0.0%">
                  <c:v>0.11885569849896579</c:v>
                </c:pt>
                <c:pt idx="17798" formatCode="0.0%">
                  <c:v>0.11843997338176866</c:v>
                </c:pt>
                <c:pt idx="17799" formatCode="0.0%">
                  <c:v>0.11336682470318502</c:v>
                </c:pt>
                <c:pt idx="17800" formatCode="0.0%">
                  <c:v>0.1275134206563921</c:v>
                </c:pt>
                <c:pt idx="17801" formatCode="0.0%">
                  <c:v>0.12513404944183859</c:v>
                </c:pt>
                <c:pt idx="17802" formatCode="0.0%">
                  <c:v>0.12496202946754735</c:v>
                </c:pt>
                <c:pt idx="17803" formatCode="0.0%">
                  <c:v>0.11762356641748777</c:v>
                </c:pt>
                <c:pt idx="17804" formatCode="0.0%">
                  <c:v>0.15333123129653695</c:v>
                </c:pt>
                <c:pt idx="17805" formatCode="0.0%">
                  <c:v>0.15212338460032568</c:v>
                </c:pt>
                <c:pt idx="17806" formatCode="0.0%">
                  <c:v>0.15326458500992313</c:v>
                </c:pt>
                <c:pt idx="17807" formatCode="0.0%">
                  <c:v>0.16903356338391493</c:v>
                </c:pt>
                <c:pt idx="17808" formatCode="0.0%">
                  <c:v>0.18081119511483024</c:v>
                </c:pt>
                <c:pt idx="17809" formatCode="0.0%">
                  <c:v>0.18208414069549875</c:v>
                </c:pt>
                <c:pt idx="17810" formatCode="0.0%">
                  <c:v>0.1791540965938416</c:v>
                </c:pt>
                <c:pt idx="17811" formatCode="0.0%">
                  <c:v>0.17856485436518818</c:v>
                </c:pt>
                <c:pt idx="17812" formatCode="0.0%">
                  <c:v>0.18745411145313792</c:v>
                </c:pt>
                <c:pt idx="17813" formatCode="0.0%">
                  <c:v>0.18660368622071771</c:v>
                </c:pt>
                <c:pt idx="17814" formatCode="0.0%">
                  <c:v>0.20392247295784188</c:v>
                </c:pt>
                <c:pt idx="17815" formatCode="0.0%">
                  <c:v>0.21201531898819789</c:v>
                </c:pt>
                <c:pt idx="17816" formatCode="0.0%">
                  <c:v>0.21200210860340868</c:v>
                </c:pt>
                <c:pt idx="17817" formatCode="0.0%">
                  <c:v>0.21785246520386828</c:v>
                </c:pt>
                <c:pt idx="17818" formatCode="0.0%">
                  <c:v>0.2177602222963872</c:v>
                </c:pt>
                <c:pt idx="17819" formatCode="0.0%">
                  <c:v>0.21942596889507154</c:v>
                </c:pt>
                <c:pt idx="17820" formatCode="0.0%">
                  <c:v>0.2072220867703993</c:v>
                </c:pt>
                <c:pt idx="17821" formatCode="0.0%">
                  <c:v>0.21780543078352871</c:v>
                </c:pt>
                <c:pt idx="17822" formatCode="0.0%">
                  <c:v>0.21813232140547614</c:v>
                </c:pt>
                <c:pt idx="17823" formatCode="0.0%">
                  <c:v>0.21798148073300522</c:v>
                </c:pt>
                <c:pt idx="17824" formatCode="0.0%">
                  <c:v>0.19914424344438056</c:v>
                </c:pt>
                <c:pt idx="17825" formatCode="0.0%">
                  <c:v>0.20130294760294418</c:v>
                </c:pt>
                <c:pt idx="17826" formatCode="0.0%">
                  <c:v>0.20087745530855319</c:v>
                </c:pt>
                <c:pt idx="17827" formatCode="0.0%">
                  <c:v>0.18620201527128816</c:v>
                </c:pt>
                <c:pt idx="17828" formatCode="0.0%">
                  <c:v>0.17580815021026533</c:v>
                </c:pt>
                <c:pt idx="17829" formatCode="0.0%">
                  <c:v>0.18730153521151924</c:v>
                </c:pt>
                <c:pt idx="17830" formatCode="0.0%">
                  <c:v>0.18561637382244872</c:v>
                </c:pt>
                <c:pt idx="17831" formatCode="0.0%">
                  <c:v>0.18550039436086907</c:v>
                </c:pt>
                <c:pt idx="17832" formatCode="0.0%">
                  <c:v>0.17733974488395182</c:v>
                </c:pt>
                <c:pt idx="17833" formatCode="0.0%">
                  <c:v>0.19598338913015922</c:v>
                </c:pt>
                <c:pt idx="17834" formatCode="0.0%">
                  <c:v>0.17503844172190103</c:v>
                </c:pt>
                <c:pt idx="17835" formatCode="0.0%">
                  <c:v>0.18241631749161055</c:v>
                </c:pt>
                <c:pt idx="17836" formatCode="0.0%">
                  <c:v>0.19968633441030817</c:v>
                </c:pt>
                <c:pt idx="17837" formatCode="0.0%">
                  <c:v>0.19515205824632734</c:v>
                </c:pt>
                <c:pt idx="17838" formatCode="0.0%">
                  <c:v>0.19465236307820485</c:v>
                </c:pt>
                <c:pt idx="17839" formatCode="0.0%">
                  <c:v>0.2034995722500382</c:v>
                </c:pt>
                <c:pt idx="17840" formatCode="0.0%">
                  <c:v>0.20623870386762147</c:v>
                </c:pt>
                <c:pt idx="17841" formatCode="0.0%">
                  <c:v>0.19446580667845043</c:v>
                </c:pt>
                <c:pt idx="17842" formatCode="0.0%">
                  <c:v>0.20093626018234359</c:v>
                </c:pt>
                <c:pt idx="17843" formatCode="0.0%">
                  <c:v>0.203072539332144</c:v>
                </c:pt>
                <c:pt idx="17844" formatCode="0.0%">
                  <c:v>0.207302345791751</c:v>
                </c:pt>
                <c:pt idx="17845" formatCode="0.0%">
                  <c:v>0.20753975338442937</c:v>
                </c:pt>
                <c:pt idx="17846" formatCode="0.0%">
                  <c:v>0.20859885921735988</c:v>
                </c:pt>
                <c:pt idx="17847" formatCode="0.0%">
                  <c:v>0.21171550438455453</c:v>
                </c:pt>
                <c:pt idx="17848" formatCode="0.0%">
                  <c:v>0.20839530655170757</c:v>
                </c:pt>
                <c:pt idx="17849" formatCode="0.0%">
                  <c:v>0.20441577648166215</c:v>
                </c:pt>
                <c:pt idx="17850" formatCode="0.0%">
                  <c:v>0.20564033560524592</c:v>
                </c:pt>
                <c:pt idx="17851" formatCode="0.0%">
                  <c:v>0.20541267450148037</c:v>
                </c:pt>
                <c:pt idx="17852" formatCode="0.0%">
                  <c:v>0.21744156984051735</c:v>
                </c:pt>
                <c:pt idx="17853" formatCode="0.0%">
                  <c:v>0.20883999521684665</c:v>
                </c:pt>
                <c:pt idx="17854" formatCode="0.0%">
                  <c:v>0.22664799817484446</c:v>
                </c:pt>
                <c:pt idx="17855" formatCode="0.0%">
                  <c:v>0.22789087057608307</c:v>
                </c:pt>
                <c:pt idx="17856" formatCode="0.0%">
                  <c:v>0.2116080334698591</c:v>
                </c:pt>
                <c:pt idx="17857" formatCode="0.0%">
                  <c:v>0.21579223892514596</c:v>
                </c:pt>
                <c:pt idx="17858" formatCode="0.0%">
                  <c:v>0.21932359625788159</c:v>
                </c:pt>
                <c:pt idx="17859" formatCode="0.0%">
                  <c:v>0.21060050358931348</c:v>
                </c:pt>
                <c:pt idx="17860" formatCode="0.0%">
                  <c:v>0.22730572658129622</c:v>
                </c:pt>
                <c:pt idx="17861" formatCode="0.0%">
                  <c:v>0.22660629289830833</c:v>
                </c:pt>
                <c:pt idx="17862" formatCode="0.0%">
                  <c:v>0.22733187122601037</c:v>
                </c:pt>
                <c:pt idx="17863" formatCode="0.0%">
                  <c:v>0.22708016456758859</c:v>
                </c:pt>
                <c:pt idx="17864" formatCode="0.0%">
                  <c:v>0.21791568676215986</c:v>
                </c:pt>
                <c:pt idx="17865" formatCode="0.0%">
                  <c:v>0.21301885565610532</c:v>
                </c:pt>
                <c:pt idx="17866" formatCode="0.0%">
                  <c:v>0.21411781487283171</c:v>
                </c:pt>
                <c:pt idx="17867" formatCode="0.0%">
                  <c:v>0.2129414812925175</c:v>
                </c:pt>
                <c:pt idx="17868" formatCode="0.0%">
                  <c:v>0.21873737083403058</c:v>
                </c:pt>
                <c:pt idx="17869" formatCode="0.0%">
                  <c:v>0.22383654173533662</c:v>
                </c:pt>
                <c:pt idx="17870" formatCode="0.0%">
                  <c:v>0.22213036178018547</c:v>
                </c:pt>
                <c:pt idx="17871" formatCode="0.0%">
                  <c:v>0.22245485653039732</c:v>
                </c:pt>
                <c:pt idx="17872" formatCode="0.0%">
                  <c:v>0.20398896404246955</c:v>
                </c:pt>
                <c:pt idx="17873" formatCode="0.0%">
                  <c:v>0.20464210345671177</c:v>
                </c:pt>
                <c:pt idx="17874" formatCode="0.0%">
                  <c:v>0.1885239670203149</c:v>
                </c:pt>
                <c:pt idx="17875" formatCode="0.0%">
                  <c:v>0.17350314417293652</c:v>
                </c:pt>
                <c:pt idx="17876" formatCode="0.0%">
                  <c:v>0.17223405560022148</c:v>
                </c:pt>
                <c:pt idx="17877" formatCode="0.0%">
                  <c:v>0.16397928537069639</c:v>
                </c:pt>
                <c:pt idx="17878" formatCode="0.0%">
                  <c:v>0.16670285302371024</c:v>
                </c:pt>
                <c:pt idx="17879" formatCode="0.0%">
                  <c:v>0.17646113405578043</c:v>
                </c:pt>
                <c:pt idx="17880" formatCode="0.0%">
                  <c:v>0.1526422229593028</c:v>
                </c:pt>
                <c:pt idx="17881" formatCode="0.0%">
                  <c:v>0.18264099629182245</c:v>
                </c:pt>
                <c:pt idx="17882" formatCode="0.0%">
                  <c:v>0.17610078343897784</c:v>
                </c:pt>
                <c:pt idx="17883" formatCode="0.0%">
                  <c:v>0.1827181981133337</c:v>
                </c:pt>
                <c:pt idx="17884" formatCode="0.0%">
                  <c:v>0.18282425939652158</c:v>
                </c:pt>
                <c:pt idx="17885" formatCode="0.0%">
                  <c:v>0.19462438717260533</c:v>
                </c:pt>
                <c:pt idx="17886" formatCode="0.0%">
                  <c:v>0.19354985239215203</c:v>
                </c:pt>
                <c:pt idx="17887" formatCode="0.0%">
                  <c:v>0.19991956201577823</c:v>
                </c:pt>
                <c:pt idx="17888" formatCode="0.0%">
                  <c:v>0.19448296302301749</c:v>
                </c:pt>
                <c:pt idx="17889" formatCode="0.0%">
                  <c:v>0.19185366400736845</c:v>
                </c:pt>
                <c:pt idx="17890" formatCode="0.0%">
                  <c:v>0.19182061932998709</c:v>
                </c:pt>
                <c:pt idx="17891" formatCode="0.0%">
                  <c:v>0.1922565493631542</c:v>
                </c:pt>
                <c:pt idx="17892" formatCode="0.0%">
                  <c:v>0.19583870642954471</c:v>
                </c:pt>
                <c:pt idx="17893" formatCode="0.0%">
                  <c:v>0.19452008544107011</c:v>
                </c:pt>
                <c:pt idx="17894" formatCode="0.0%">
                  <c:v>0.194822480425353</c:v>
                </c:pt>
                <c:pt idx="17895" formatCode="0.0%">
                  <c:v>0.19525905693431053</c:v>
                </c:pt>
                <c:pt idx="17896" formatCode="0.0%">
                  <c:v>0.20492861550816088</c:v>
                </c:pt>
                <c:pt idx="17897" formatCode="0.0%">
                  <c:v>0.2039639676906326</c:v>
                </c:pt>
                <c:pt idx="17898" formatCode="0.0%">
                  <c:v>0.19806905252676937</c:v>
                </c:pt>
                <c:pt idx="17899" formatCode="0.0%">
                  <c:v>0.20899980407366392</c:v>
                </c:pt>
                <c:pt idx="17900" formatCode="0.0%">
                  <c:v>0.21409988402733457</c:v>
                </c:pt>
                <c:pt idx="17901" formatCode="0.0%">
                  <c:v>0.20170731888484819</c:v>
                </c:pt>
                <c:pt idx="17902" formatCode="0.0%">
                  <c:v>0.20766871901927597</c:v>
                </c:pt>
                <c:pt idx="17903" formatCode="0.0%">
                  <c:v>0.20218852791867772</c:v>
                </c:pt>
                <c:pt idx="17904" formatCode="0.0%">
                  <c:v>0.19991307235427719</c:v>
                </c:pt>
                <c:pt idx="17905" formatCode="0.0%">
                  <c:v>0.18800726369211471</c:v>
                </c:pt>
                <c:pt idx="17906" formatCode="0.0%">
                  <c:v>0.18908683873449356</c:v>
                </c:pt>
                <c:pt idx="17907" formatCode="0.0%">
                  <c:v>0.1852508880973856</c:v>
                </c:pt>
                <c:pt idx="17908" formatCode="0.0%">
                  <c:v>0.18677262883169174</c:v>
                </c:pt>
                <c:pt idx="17909" formatCode="0.0%">
                  <c:v>0.17909817829702182</c:v>
                </c:pt>
                <c:pt idx="17910" formatCode="0.0%">
                  <c:v>0.19000480289560218</c:v>
                </c:pt>
                <c:pt idx="17911" formatCode="0.0%">
                  <c:v>0.19271819553393069</c:v>
                </c:pt>
                <c:pt idx="17912" formatCode="0.0%">
                  <c:v>0.19180979741713203</c:v>
                </c:pt>
                <c:pt idx="17913" formatCode="0.0%">
                  <c:v>0.19478533556559649</c:v>
                </c:pt>
                <c:pt idx="17914" formatCode="0.0%">
                  <c:v>0.19292191367995917</c:v>
                </c:pt>
                <c:pt idx="17915" formatCode="0.0%">
                  <c:v>0.19615714470426873</c:v>
                </c:pt>
                <c:pt idx="17916" formatCode="0.0%">
                  <c:v>0.18748601528121719</c:v>
                </c:pt>
                <c:pt idx="17917" formatCode="0.0%">
                  <c:v>0.18637734497325215</c:v>
                </c:pt>
                <c:pt idx="17918" formatCode="0.0%">
                  <c:v>0.20406650270356483</c:v>
                </c:pt>
                <c:pt idx="17919" formatCode="0.0%">
                  <c:v>0.18450419025527809</c:v>
                </c:pt>
                <c:pt idx="17920" formatCode="0.0%">
                  <c:v>0.18113651895913815</c:v>
                </c:pt>
                <c:pt idx="17921" formatCode="0.0%">
                  <c:v>0.16471462297610504</c:v>
                </c:pt>
                <c:pt idx="17922" formatCode="0.0%">
                  <c:v>0.15316708859088629</c:v>
                </c:pt>
                <c:pt idx="17923" formatCode="0.0%">
                  <c:v>0.1544727991358146</c:v>
                </c:pt>
                <c:pt idx="17924" formatCode="0.0%">
                  <c:v>0.16507081527346187</c:v>
                </c:pt>
                <c:pt idx="17925" formatCode="0.0%">
                  <c:v>0.17274762899719334</c:v>
                </c:pt>
                <c:pt idx="17926" formatCode="0.0%">
                  <c:v>0.18338686521756664</c:v>
                </c:pt>
                <c:pt idx="17927" formatCode="0.0%">
                  <c:v>0.19190120906265018</c:v>
                </c:pt>
                <c:pt idx="17928" formatCode="0.0%">
                  <c:v>0.20184426066666233</c:v>
                </c:pt>
                <c:pt idx="17929" formatCode="0.0%">
                  <c:v>0.193558970653706</c:v>
                </c:pt>
                <c:pt idx="17930" formatCode="0.0%">
                  <c:v>0.1858755358397004</c:v>
                </c:pt>
                <c:pt idx="17931" formatCode="0.0%">
                  <c:v>0.18072446683138441</c:v>
                </c:pt>
                <c:pt idx="17932" formatCode="0.0%">
                  <c:v>0.19471665149754508</c:v>
                </c:pt>
                <c:pt idx="17933" formatCode="0.0%">
                  <c:v>0.19230839077028722</c:v>
                </c:pt>
                <c:pt idx="17934" formatCode="0.0%">
                  <c:v>0.19720985414265724</c:v>
                </c:pt>
                <c:pt idx="17935" formatCode="0.0%">
                  <c:v>0.19205455234991936</c:v>
                </c:pt>
                <c:pt idx="17936" formatCode="0.0%">
                  <c:v>0.1934493624737039</c:v>
                </c:pt>
                <c:pt idx="17937" formatCode="0.0%">
                  <c:v>0.19324744558505924</c:v>
                </c:pt>
                <c:pt idx="17938" formatCode="0.0%">
                  <c:v>0.17954979652226186</c:v>
                </c:pt>
                <c:pt idx="17939" formatCode="0.0%">
                  <c:v>0.18109859879558315</c:v>
                </c:pt>
                <c:pt idx="17940" formatCode="0.0%">
                  <c:v>0.19905948945773833</c:v>
                </c:pt>
                <c:pt idx="17941" formatCode="0.0%">
                  <c:v>0.19852001016782325</c:v>
                </c:pt>
                <c:pt idx="17942" formatCode="0.0%">
                  <c:v>0.19814131931135784</c:v>
                </c:pt>
                <c:pt idx="17943" formatCode="0.0%">
                  <c:v>0.19715797481930264</c:v>
                </c:pt>
                <c:pt idx="17944" formatCode="0.0%">
                  <c:v>0.18888842335085015</c:v>
                </c:pt>
                <c:pt idx="17945" formatCode="0.0%">
                  <c:v>0.17672953059602631</c:v>
                </c:pt>
                <c:pt idx="17946" formatCode="0.0%">
                  <c:v>0.1762968530188439</c:v>
                </c:pt>
                <c:pt idx="17947" formatCode="0.0%">
                  <c:v>0.16233299147238323</c:v>
                </c:pt>
                <c:pt idx="17948" formatCode="0.0%">
                  <c:v>0.15843354358861558</c:v>
                </c:pt>
                <c:pt idx="17949" formatCode="0.0%">
                  <c:v>0.16346359268177535</c:v>
                </c:pt>
                <c:pt idx="17950" formatCode="0.0%">
                  <c:v>0.170075415324002</c:v>
                </c:pt>
                <c:pt idx="17951" formatCode="0.0%">
                  <c:v>0.17041155273071709</c:v>
                </c:pt>
                <c:pt idx="17952" formatCode="0.0%">
                  <c:v>0.15701229817093534</c:v>
                </c:pt>
                <c:pt idx="17953" formatCode="0.0%">
                  <c:v>0.15745930031980038</c:v>
                </c:pt>
                <c:pt idx="17954" formatCode="0.0%">
                  <c:v>0.14757729433948244</c:v>
                </c:pt>
                <c:pt idx="17955" formatCode="0.0%">
                  <c:v>0.14809781850109952</c:v>
                </c:pt>
                <c:pt idx="17956" formatCode="0.0%">
                  <c:v>0.13763850778699588</c:v>
                </c:pt>
                <c:pt idx="17957" formatCode="0.0%">
                  <c:v>0.13410956518821338</c:v>
                </c:pt>
                <c:pt idx="17958" formatCode="0.0%">
                  <c:v>0.13646425568574047</c:v>
                </c:pt>
                <c:pt idx="17959" formatCode="0.0%">
                  <c:v>0.13630062434657395</c:v>
                </c:pt>
                <c:pt idx="17960" formatCode="0.0%">
                  <c:v>0.11881177589033715</c:v>
                </c:pt>
                <c:pt idx="17961" formatCode="0.0%">
                  <c:v>0.11853572946305617</c:v>
                </c:pt>
                <c:pt idx="17962" formatCode="0.0%">
                  <c:v>0.12452414777344223</c:v>
                </c:pt>
                <c:pt idx="17963" formatCode="0.0%">
                  <c:v>0.15101445499355146</c:v>
                </c:pt>
                <c:pt idx="17964" formatCode="0.0%">
                  <c:v>0.14551866491363669</c:v>
                </c:pt>
                <c:pt idx="17965" formatCode="0.0%">
                  <c:v>0.1545354375272712</c:v>
                </c:pt>
                <c:pt idx="17966" formatCode="0.0%">
                  <c:v>0.14627205006540128</c:v>
                </c:pt>
                <c:pt idx="17967" formatCode="0.0%">
                  <c:v>0.14913177365928593</c:v>
                </c:pt>
                <c:pt idx="17968" formatCode="0.0%">
                  <c:v>0.14820658642578047</c:v>
                </c:pt>
                <c:pt idx="17969" formatCode="0.0%">
                  <c:v>0.13901901198510619</c:v>
                </c:pt>
                <c:pt idx="17970" formatCode="0.0%">
                  <c:v>0.14179245323546688</c:v>
                </c:pt>
                <c:pt idx="17971" formatCode="0.0%">
                  <c:v>0.14188797773840695</c:v>
                </c:pt>
                <c:pt idx="17972" formatCode="0.0%">
                  <c:v>0.13770625451000554</c:v>
                </c:pt>
                <c:pt idx="17973" formatCode="0.0%">
                  <c:v>0.13790770817164247</c:v>
                </c:pt>
                <c:pt idx="17974" formatCode="0.0%">
                  <c:v>0.13920961238334784</c:v>
                </c:pt>
                <c:pt idx="17975" formatCode="0.0%">
                  <c:v>0.14329211009782114</c:v>
                </c:pt>
                <c:pt idx="17976" formatCode="0.0%">
                  <c:v>0.14107887847353917</c:v>
                </c:pt>
                <c:pt idx="17977" formatCode="0.0%">
                  <c:v>0.14121261405519736</c:v>
                </c:pt>
                <c:pt idx="17978" formatCode="0.0%">
                  <c:v>0.14473769276909407</c:v>
                </c:pt>
                <c:pt idx="17979" formatCode="0.0%">
                  <c:v>0.15949552431184555</c:v>
                </c:pt>
                <c:pt idx="17980" formatCode="0.0%">
                  <c:v>0.1534317284751055</c:v>
                </c:pt>
                <c:pt idx="17981" formatCode="0.0%">
                  <c:v>0.17683169490543513</c:v>
                </c:pt>
                <c:pt idx="17982" formatCode="0.0%">
                  <c:v>0.1770516596641542</c:v>
                </c:pt>
                <c:pt idx="17983" formatCode="0.0%">
                  <c:v>0.16731516950492772</c:v>
                </c:pt>
                <c:pt idx="17984" formatCode="0.0%">
                  <c:v>0.16887866582324845</c:v>
                </c:pt>
                <c:pt idx="17985" formatCode="0.0%">
                  <c:v>0.16448664121024892</c:v>
                </c:pt>
                <c:pt idx="17986" formatCode="0.0%">
                  <c:v>0.16903651184237969</c:v>
                </c:pt>
                <c:pt idx="17987" formatCode="0.0%">
                  <c:v>0.17923050370724972</c:v>
                </c:pt>
                <c:pt idx="17988" formatCode="0.0%">
                  <c:v>0.17496988087518628</c:v>
                </c:pt>
                <c:pt idx="17989" formatCode="0.0%">
                  <c:v>0.18118601810293172</c:v>
                </c:pt>
                <c:pt idx="17990" formatCode="0.0%">
                  <c:v>0.17668734331347635</c:v>
                </c:pt>
                <c:pt idx="17991" formatCode="0.0%">
                  <c:v>0.17740438375031833</c:v>
                </c:pt>
                <c:pt idx="17992" formatCode="0.0%">
                  <c:v>0.18966640727250184</c:v>
                </c:pt>
                <c:pt idx="17993" formatCode="0.0%">
                  <c:v>0.18925349038688985</c:v>
                </c:pt>
                <c:pt idx="17994" formatCode="0.0%">
                  <c:v>0.18504285317933009</c:v>
                </c:pt>
                <c:pt idx="17995" formatCode="0.0%">
                  <c:v>0.18713611726557094</c:v>
                </c:pt>
                <c:pt idx="17996" formatCode="0.0%">
                  <c:v>0.20780799124455759</c:v>
                </c:pt>
                <c:pt idx="17997" formatCode="0.0%">
                  <c:v>0.20889913266054447</c:v>
                </c:pt>
                <c:pt idx="17998" formatCode="0.0%">
                  <c:v>0.20328839054546902</c:v>
                </c:pt>
                <c:pt idx="17999" formatCode="0.0%">
                  <c:v>0.19697568555604519</c:v>
                </c:pt>
                <c:pt idx="18000" formatCode="0.0%">
                  <c:v>0.1962475605574098</c:v>
                </c:pt>
                <c:pt idx="18001" formatCode="0.0%">
                  <c:v>0.18221540777222836</c:v>
                </c:pt>
                <c:pt idx="18002" formatCode="0.0%">
                  <c:v>0.18350435320355449</c:v>
                </c:pt>
                <c:pt idx="18003" formatCode="0.0%">
                  <c:v>0.18608206498377303</c:v>
                </c:pt>
                <c:pt idx="18004" formatCode="0.0%">
                  <c:v>0.18400761732214738</c:v>
                </c:pt>
                <c:pt idx="18005" formatCode="0.0%">
                  <c:v>0.18815536875964822</c:v>
                </c:pt>
                <c:pt idx="18006" formatCode="0.0%">
                  <c:v>0.18488839314449843</c:v>
                </c:pt>
                <c:pt idx="18007" formatCode="0.0%">
                  <c:v>0.18713004726907245</c:v>
                </c:pt>
                <c:pt idx="18008" formatCode="0.0%">
                  <c:v>0.18707815624293442</c:v>
                </c:pt>
                <c:pt idx="18009" formatCode="0.0%">
                  <c:v>0.19234275939029558</c:v>
                </c:pt>
                <c:pt idx="18010" formatCode="0.0%">
                  <c:v>0.18823942419871006</c:v>
                </c:pt>
                <c:pt idx="18011" formatCode="0.0%">
                  <c:v>0.18833590239082143</c:v>
                </c:pt>
                <c:pt idx="18012" formatCode="0.0%">
                  <c:v>0.17901167693078282</c:v>
                </c:pt>
                <c:pt idx="18013" formatCode="0.0%">
                  <c:v>0.18198100319651914</c:v>
                </c:pt>
                <c:pt idx="18014" formatCode="0.0%">
                  <c:v>0.18466146493514948</c:v>
                </c:pt>
                <c:pt idx="18015" formatCode="0.0%">
                  <c:v>0.18278766825067955</c:v>
                </c:pt>
                <c:pt idx="18016" formatCode="0.0%">
                  <c:v>0.16088159904028643</c:v>
                </c:pt>
                <c:pt idx="18017" formatCode="0.0%">
                  <c:v>0.16049871934565704</c:v>
                </c:pt>
                <c:pt idx="18018" formatCode="0.0%">
                  <c:v>0.17520322468773569</c:v>
                </c:pt>
                <c:pt idx="18019" formatCode="0.0%">
                  <c:v>0.17566333828582709</c:v>
                </c:pt>
                <c:pt idx="18020" formatCode="0.0%">
                  <c:v>0.18312024666823618</c:v>
                </c:pt>
                <c:pt idx="18021" formatCode="0.0%">
                  <c:v>0.1821658555598307</c:v>
                </c:pt>
                <c:pt idx="18022" formatCode="0.0%">
                  <c:v>0.19045705628973089</c:v>
                </c:pt>
                <c:pt idx="18023" formatCode="0.0%">
                  <c:v>0.19868819360997228</c:v>
                </c:pt>
                <c:pt idx="18024" formatCode="0.0%">
                  <c:v>0.1985979679416694</c:v>
                </c:pt>
                <c:pt idx="18025" formatCode="0.0%">
                  <c:v>0.21312175682204956</c:v>
                </c:pt>
                <c:pt idx="18026" formatCode="0.0%">
                  <c:v>0.21508941678009433</c:v>
                </c:pt>
                <c:pt idx="18027" formatCode="0.0%">
                  <c:v>0.20621862410617309</c:v>
                </c:pt>
                <c:pt idx="18028" formatCode="0.0%">
                  <c:v>0.22268644983076072</c:v>
                </c:pt>
                <c:pt idx="18029" formatCode="0.0%">
                  <c:v>0.20705068241426425</c:v>
                </c:pt>
                <c:pt idx="18030" formatCode="0.0%">
                  <c:v>0.21247759426445276</c:v>
                </c:pt>
                <c:pt idx="18031" formatCode="0.0%">
                  <c:v>0.2134471565756518</c:v>
                </c:pt>
                <c:pt idx="18032" formatCode="0.0%">
                  <c:v>0.21608064814444569</c:v>
                </c:pt>
                <c:pt idx="18033" formatCode="0.0%">
                  <c:v>0.21576582205142705</c:v>
                </c:pt>
                <c:pt idx="18034" formatCode="0.0%">
                  <c:v>0.24445969414915841</c:v>
                </c:pt>
                <c:pt idx="18035" formatCode="0.0%">
                  <c:v>0.24848241528689441</c:v>
                </c:pt>
                <c:pt idx="18036" formatCode="0.0%">
                  <c:v>0.24505532141315911</c:v>
                </c:pt>
                <c:pt idx="18037" formatCode="0.0%">
                  <c:v>0.24570760741122158</c:v>
                </c:pt>
                <c:pt idx="18038" formatCode="0.0%">
                  <c:v>0.23831016760416746</c:v>
                </c:pt>
                <c:pt idx="18039" formatCode="0.0%">
                  <c:v>0.23735117121950361</c:v>
                </c:pt>
                <c:pt idx="18040" formatCode="0.0%">
                  <c:v>0.23350275358509945</c:v>
                </c:pt>
                <c:pt idx="18041" formatCode="0.0%">
                  <c:v>0.23374250545028447</c:v>
                </c:pt>
                <c:pt idx="18042" formatCode="0.0%">
                  <c:v>0.2269553430528243</c:v>
                </c:pt>
                <c:pt idx="18043" formatCode="0.0%">
                  <c:v>0.21012432741908557</c:v>
                </c:pt>
                <c:pt idx="18044" formatCode="0.0%">
                  <c:v>0.20945444649686995</c:v>
                </c:pt>
                <c:pt idx="18045" formatCode="0.0%">
                  <c:v>0.17257711076634105</c:v>
                </c:pt>
                <c:pt idx="18046" formatCode="0.0%">
                  <c:v>0.17427387107680423</c:v>
                </c:pt>
                <c:pt idx="18047" formatCode="0.0%">
                  <c:v>0.18024604690739696</c:v>
                </c:pt>
                <c:pt idx="18048" formatCode="0.0%">
                  <c:v>0.17488840200318723</c:v>
                </c:pt>
                <c:pt idx="18049" formatCode="0.0%">
                  <c:v>0.17255138285299285</c:v>
                </c:pt>
                <c:pt idx="18050" formatCode="0.0%">
                  <c:v>0.17116241578016253</c:v>
                </c:pt>
                <c:pt idx="18051" formatCode="0.0%">
                  <c:v>0.16775070036973783</c:v>
                </c:pt>
                <c:pt idx="18052" formatCode="0.0%">
                  <c:v>0.17060672454383657</c:v>
                </c:pt>
                <c:pt idx="18053" formatCode="0.0%">
                  <c:v>0.16943494174560858</c:v>
                </c:pt>
                <c:pt idx="18054" formatCode="0.0%">
                  <c:v>0.12682595421300147</c:v>
                </c:pt>
                <c:pt idx="18055" formatCode="0.0%">
                  <c:v>0.12156059192724405</c:v>
                </c:pt>
                <c:pt idx="18056" formatCode="0.0%">
                  <c:v>0.13006614439812481</c:v>
                </c:pt>
                <c:pt idx="18057" formatCode="0.0%">
                  <c:v>0.12922504823963926</c:v>
                </c:pt>
                <c:pt idx="18058" formatCode="0.0%">
                  <c:v>0.13057184025819679</c:v>
                </c:pt>
                <c:pt idx="18059" formatCode="0.0%">
                  <c:v>0.14074447735012466</c:v>
                </c:pt>
                <c:pt idx="18060" formatCode="0.0%">
                  <c:v>0.14416076820001314</c:v>
                </c:pt>
                <c:pt idx="18061" formatCode="0.0%">
                  <c:v>0.1496337375596615</c:v>
                </c:pt>
                <c:pt idx="18062" formatCode="0.0%">
                  <c:v>0.14644162017739878</c:v>
                </c:pt>
                <c:pt idx="18063" formatCode="0.0%">
                  <c:v>0.14558754200463156</c:v>
                </c:pt>
                <c:pt idx="18064" formatCode="0.0%">
                  <c:v>0.1458124233467224</c:v>
                </c:pt>
                <c:pt idx="18065" formatCode="0.0%">
                  <c:v>0.14185512157399149</c:v>
                </c:pt>
                <c:pt idx="18066" formatCode="0.0%">
                  <c:v>0.14550177912799864</c:v>
                </c:pt>
                <c:pt idx="18067" formatCode="0.0%">
                  <c:v>0.13211289406528356</c:v>
                </c:pt>
                <c:pt idx="18068" formatCode="0.0%">
                  <c:v>0.13063097184017211</c:v>
                </c:pt>
                <c:pt idx="18069" formatCode="0.0%">
                  <c:v>0.12561165445157721</c:v>
                </c:pt>
                <c:pt idx="18070" formatCode="0.0%">
                  <c:v>0.1256128141638706</c:v>
                </c:pt>
                <c:pt idx="18071" formatCode="0.0%">
                  <c:v>0.13138040516544994</c:v>
                </c:pt>
                <c:pt idx="18072" formatCode="0.0%">
                  <c:v>0.12355993733166275</c:v>
                </c:pt>
                <c:pt idx="18073" formatCode="0.0%">
                  <c:v>0.13091761775300981</c:v>
                </c:pt>
                <c:pt idx="18074" formatCode="0.0%">
                  <c:v>0.13102465461787874</c:v>
                </c:pt>
                <c:pt idx="18075" formatCode="0.0%">
                  <c:v>0.12798312150932395</c:v>
                </c:pt>
                <c:pt idx="18076" formatCode="0.0%">
                  <c:v>0.11467460800260677</c:v>
                </c:pt>
                <c:pt idx="18077" formatCode="0.0%">
                  <c:v>0.11399952460881248</c:v>
                </c:pt>
                <c:pt idx="18078" formatCode="0.0%">
                  <c:v>0.11205313167639964</c:v>
                </c:pt>
                <c:pt idx="18079" formatCode="0.0%">
                  <c:v>0.10449988796964144</c:v>
                </c:pt>
                <c:pt idx="18080" formatCode="0.0%">
                  <c:v>0.1746781830650809</c:v>
                </c:pt>
                <c:pt idx="18081" formatCode="0.0%">
                  <c:v>0.17149085494515195</c:v>
                </c:pt>
                <c:pt idx="18082" formatCode="0.0%">
                  <c:v>0.17102710139736152</c:v>
                </c:pt>
                <c:pt idx="18083" formatCode="0.0%">
                  <c:v>0.19555838618423699</c:v>
                </c:pt>
                <c:pt idx="18084" formatCode="0.0%">
                  <c:v>0.19796666551264253</c:v>
                </c:pt>
                <c:pt idx="18085" formatCode="0.0%">
                  <c:v>0.20448137087953772</c:v>
                </c:pt>
                <c:pt idx="18086" formatCode="0.0%">
                  <c:v>0.20247848723421505</c:v>
                </c:pt>
                <c:pt idx="18087" formatCode="0.0%">
                  <c:v>0.20518362188820735</c:v>
                </c:pt>
                <c:pt idx="18088" formatCode="0.0%">
                  <c:v>0.20770058790411039</c:v>
                </c:pt>
                <c:pt idx="18089" formatCode="0.0%">
                  <c:v>0.20986267639296205</c:v>
                </c:pt>
                <c:pt idx="18090" formatCode="0.0%">
                  <c:v>0.20953048945419089</c:v>
                </c:pt>
                <c:pt idx="18091" formatCode="0.0%">
                  <c:v>0.20845174093384283</c:v>
                </c:pt>
                <c:pt idx="18092" formatCode="0.0%">
                  <c:v>0.20870167043907886</c:v>
                </c:pt>
                <c:pt idx="18093" formatCode="0.0%">
                  <c:v>0.22318034869827441</c:v>
                </c:pt>
                <c:pt idx="18094" formatCode="0.0%">
                  <c:v>0.22498156606689365</c:v>
                </c:pt>
                <c:pt idx="18095" formatCode="0.0%">
                  <c:v>0.22502545551473119</c:v>
                </c:pt>
                <c:pt idx="18096" formatCode="0.0%">
                  <c:v>0.22405154410891473</c:v>
                </c:pt>
                <c:pt idx="18097" formatCode="0.0%">
                  <c:v>0.241281799614355</c:v>
                </c:pt>
                <c:pt idx="18098" formatCode="0.0%">
                  <c:v>0.26098517454764286</c:v>
                </c:pt>
                <c:pt idx="18099" formatCode="0.0%">
                  <c:v>0.26363273027277989</c:v>
                </c:pt>
                <c:pt idx="18100" formatCode="0.0%">
                  <c:v>0.223331802112888</c:v>
                </c:pt>
                <c:pt idx="18101" formatCode="0.0%">
                  <c:v>0.2265960266304736</c:v>
                </c:pt>
                <c:pt idx="18102" formatCode="0.0%">
                  <c:v>0.22663688215292191</c:v>
                </c:pt>
                <c:pt idx="18103" formatCode="0.0%">
                  <c:v>0.20478595677942593</c:v>
                </c:pt>
                <c:pt idx="18104" formatCode="0.0%">
                  <c:v>0.20563281334675662</c:v>
                </c:pt>
                <c:pt idx="18105" formatCode="0.0%">
                  <c:v>0.21379524389741875</c:v>
                </c:pt>
                <c:pt idx="18106" formatCode="0.0%">
                  <c:v>0.21397310732188948</c:v>
                </c:pt>
                <c:pt idx="18107" formatCode="0.0%">
                  <c:v>0.22042627910825688</c:v>
                </c:pt>
                <c:pt idx="18108" formatCode="0.0%">
                  <c:v>0.21586327741177178</c:v>
                </c:pt>
                <c:pt idx="18109" formatCode="0.0%">
                  <c:v>0.21885434576155097</c:v>
                </c:pt>
                <c:pt idx="18110" formatCode="0.0%">
                  <c:v>0.22066154710718941</c:v>
                </c:pt>
                <c:pt idx="18111" formatCode="0.0%">
                  <c:v>0.22014550820596498</c:v>
                </c:pt>
                <c:pt idx="18112" formatCode="0.0%">
                  <c:v>0.24280812072610708</c:v>
                </c:pt>
                <c:pt idx="18113" formatCode="0.0%">
                  <c:v>0.22596156975258927</c:v>
                </c:pt>
                <c:pt idx="18114" formatCode="0.0%">
                  <c:v>0.22607108666855688</c:v>
                </c:pt>
                <c:pt idx="18115" formatCode="0.0%">
                  <c:v>0.22626802247357694</c:v>
                </c:pt>
                <c:pt idx="18116" formatCode="0.0%">
                  <c:v>0.23094393025899967</c:v>
                </c:pt>
                <c:pt idx="18117" formatCode="0.0%">
                  <c:v>0.21472181472339605</c:v>
                </c:pt>
                <c:pt idx="18118" formatCode="0.0%">
                  <c:v>0.20022018860843338</c:v>
                </c:pt>
                <c:pt idx="18119" formatCode="0.0%">
                  <c:v>0.19929431510239007</c:v>
                </c:pt>
                <c:pt idx="18120" formatCode="0.0%">
                  <c:v>0.19954441870714856</c:v>
                </c:pt>
                <c:pt idx="18121" formatCode="0.0%">
                  <c:v>0.20844318810657647</c:v>
                </c:pt>
                <c:pt idx="18122" formatCode="0.0%">
                  <c:v>0.2129022896140968</c:v>
                </c:pt>
                <c:pt idx="18123" formatCode="0.0%">
                  <c:v>0.23025775995717107</c:v>
                </c:pt>
                <c:pt idx="18124" formatCode="0.0%">
                  <c:v>0.22726012079949942</c:v>
                </c:pt>
                <c:pt idx="18125" formatCode="0.0%">
                  <c:v>0.23687681608607764</c:v>
                </c:pt>
                <c:pt idx="18126" formatCode="0.0%">
                  <c:v>0.23687144588234657</c:v>
                </c:pt>
                <c:pt idx="18127" formatCode="0.0%">
                  <c:v>0.22628932510593891</c:v>
                </c:pt>
                <c:pt idx="18128" formatCode="0.0%">
                  <c:v>0.23462009375127379</c:v>
                </c:pt>
                <c:pt idx="18129" formatCode="0.0%">
                  <c:v>0.24895996252885905</c:v>
                </c:pt>
                <c:pt idx="18130" formatCode="0.0%">
                  <c:v>0.2961224414937621</c:v>
                </c:pt>
                <c:pt idx="18131" formatCode="0.0%">
                  <c:v>0.29607053964106311</c:v>
                </c:pt>
                <c:pt idx="18132" formatCode="0.0%">
                  <c:v>0.27052349809521109</c:v>
                </c:pt>
                <c:pt idx="18133" formatCode="0.0%">
                  <c:v>0.28090938424528888</c:v>
                </c:pt>
                <c:pt idx="18134" formatCode="0.0%">
                  <c:v>0.28087096252142318</c:v>
                </c:pt>
                <c:pt idx="18135" formatCode="0.0%">
                  <c:v>0.2816045671493933</c:v>
                </c:pt>
                <c:pt idx="18136" formatCode="0.0%">
                  <c:v>0.27163265829298122</c:v>
                </c:pt>
                <c:pt idx="18137" formatCode="0.0%">
                  <c:v>0.27303584604694731</c:v>
                </c:pt>
                <c:pt idx="18138" formatCode="0.0%">
                  <c:v>0.27778394241979648</c:v>
                </c:pt>
                <c:pt idx="18139" formatCode="0.0%">
                  <c:v>0.27769510655454049</c:v>
                </c:pt>
                <c:pt idx="18140" formatCode="0.0%">
                  <c:v>0.28507966531907136</c:v>
                </c:pt>
                <c:pt idx="18141" formatCode="0.0%">
                  <c:v>0.27920024517321196</c:v>
                </c:pt>
                <c:pt idx="18142" formatCode="0.0%">
                  <c:v>0.27286829284428826</c:v>
                </c:pt>
                <c:pt idx="18143" formatCode="0.0%">
                  <c:v>0.25316465584087811</c:v>
                </c:pt>
                <c:pt idx="18144" formatCode="0.0%">
                  <c:v>0.2551812566990167</c:v>
                </c:pt>
                <c:pt idx="18145" formatCode="0.0%">
                  <c:v>0.243762543001698</c:v>
                </c:pt>
                <c:pt idx="18146" formatCode="0.0%">
                  <c:v>0.24280682672195025</c:v>
                </c:pt>
                <c:pt idx="18147" formatCode="0.0%">
                  <c:v>0.2425599480028251</c:v>
                </c:pt>
                <c:pt idx="18148" formatCode="0.0%">
                  <c:v>0.22989165029574352</c:v>
                </c:pt>
                <c:pt idx="18149" formatCode="0.0%">
                  <c:v>0.23794512264663101</c:v>
                </c:pt>
                <c:pt idx="18150" formatCode="0.0%">
                  <c:v>0.18460021367828977</c:v>
                </c:pt>
                <c:pt idx="18151" formatCode="0.0%">
                  <c:v>0.27908704005536483</c:v>
                </c:pt>
                <c:pt idx="18152" formatCode="0.0%">
                  <c:v>0.30733367996991434</c:v>
                </c:pt>
                <c:pt idx="18153" formatCode="0.0%">
                  <c:v>0.31103465243918066</c:v>
                </c:pt>
                <c:pt idx="18154" formatCode="0.0%">
                  <c:v>0.3113580340733913</c:v>
                </c:pt>
                <c:pt idx="18155" formatCode="0.0%">
                  <c:v>0.30362834057037419</c:v>
                </c:pt>
                <c:pt idx="18156" formatCode="0.0%">
                  <c:v>0.3033918908701439</c:v>
                </c:pt>
                <c:pt idx="18157" formatCode="0.0%">
                  <c:v>0.32930442118135922</c:v>
                </c:pt>
                <c:pt idx="18158" formatCode="0.0%">
                  <c:v>0.32951361624758296</c:v>
                </c:pt>
                <c:pt idx="18159" formatCode="0.0%">
                  <c:v>0.32978556247309487</c:v>
                </c:pt>
                <c:pt idx="18160" formatCode="0.0%">
                  <c:v>0.32773063242084127</c:v>
                </c:pt>
                <c:pt idx="18161" formatCode="0.0%">
                  <c:v>0.32923732946712336</c:v>
                </c:pt>
                <c:pt idx="18162" formatCode="0.0%">
                  <c:v>0.33208610495643687</c:v>
                </c:pt>
                <c:pt idx="18163" formatCode="0.0%">
                  <c:v>0.33902445864172492</c:v>
                </c:pt>
                <c:pt idx="18164" formatCode="0.0%">
                  <c:v>0.3389560120579313</c:v>
                </c:pt>
                <c:pt idx="18165" formatCode="0.0%">
                  <c:v>0.34304998028261841</c:v>
                </c:pt>
                <c:pt idx="18166" formatCode="0.0%">
                  <c:v>0.3401217816669812</c:v>
                </c:pt>
                <c:pt idx="18167" formatCode="0.0%">
                  <c:v>0.34024148118478414</c:v>
                </c:pt>
                <c:pt idx="18168" formatCode="0.0%">
                  <c:v>0.34593377988403101</c:v>
                </c:pt>
                <c:pt idx="18169" formatCode="0.0%">
                  <c:v>0.34698544966810013</c:v>
                </c:pt>
                <c:pt idx="18170" formatCode="0.0%">
                  <c:v>0.34364585002741876</c:v>
                </c:pt>
                <c:pt idx="18171" formatCode="0.0%">
                  <c:v>0.27137686225961205</c:v>
                </c:pt>
                <c:pt idx="18172" formatCode="0.0%">
                  <c:v>0.25000300341651693</c:v>
                </c:pt>
                <c:pt idx="18173" formatCode="0.0%">
                  <c:v>0.23520729684624339</c:v>
                </c:pt>
                <c:pt idx="18174" formatCode="0.0%">
                  <c:v>0.23394484942374186</c:v>
                </c:pt>
                <c:pt idx="18175" formatCode="0.0%">
                  <c:v>0.24534219244064751</c:v>
                </c:pt>
                <c:pt idx="18176" formatCode="0.0%">
                  <c:v>0.24552257103018302</c:v>
                </c:pt>
                <c:pt idx="18177" formatCode="0.0%">
                  <c:v>0.21867574050131763</c:v>
                </c:pt>
                <c:pt idx="18178" formatCode="0.0%">
                  <c:v>0.22976925240108795</c:v>
                </c:pt>
                <c:pt idx="18179" formatCode="0.0%">
                  <c:v>0.23188988210381525</c:v>
                </c:pt>
                <c:pt idx="18180" formatCode="0.0%">
                  <c:v>0.23093338207088768</c:v>
                </c:pt>
                <c:pt idx="18181" formatCode="0.0%">
                  <c:v>0.25748326389190351</c:v>
                </c:pt>
                <c:pt idx="18182" formatCode="0.0%">
                  <c:v>0.25250966432662242</c:v>
                </c:pt>
                <c:pt idx="18183" formatCode="0.0%">
                  <c:v>0.24986128412027256</c:v>
                </c:pt>
                <c:pt idx="18184" formatCode="0.0%">
                  <c:v>0.25719951057379881</c:v>
                </c:pt>
                <c:pt idx="18185" formatCode="0.0%">
                  <c:v>0.25357251385437896</c:v>
                </c:pt>
                <c:pt idx="18186" formatCode="0.0%">
                  <c:v>0.25387430653980309</c:v>
                </c:pt>
                <c:pt idx="18187" formatCode="0.0%">
                  <c:v>0.25272693100869575</c:v>
                </c:pt>
                <c:pt idx="18188" formatCode="0.0%">
                  <c:v>0.24040692733326013</c:v>
                </c:pt>
                <c:pt idx="18189" formatCode="0.0%">
                  <c:v>0.23453100663350432</c:v>
                </c:pt>
                <c:pt idx="18190" formatCode="0.0%">
                  <c:v>0.23492859312896183</c:v>
                </c:pt>
                <c:pt idx="18191" formatCode="0.0%">
                  <c:v>0.22890262584871338</c:v>
                </c:pt>
                <c:pt idx="18192" formatCode="0.0%">
                  <c:v>0.22654477335131956</c:v>
                </c:pt>
                <c:pt idx="18193" formatCode="0.0%">
                  <c:v>0.22217705801690663</c:v>
                </c:pt>
                <c:pt idx="18194" formatCode="0.0%">
                  <c:v>0.22351138080867952</c:v>
                </c:pt>
                <c:pt idx="18195" formatCode="0.0%">
                  <c:v>0.21220656320194189</c:v>
                </c:pt>
                <c:pt idx="18196" formatCode="0.0%">
                  <c:v>0.21341928460931145</c:v>
                </c:pt>
                <c:pt idx="18197" formatCode="0.0%">
                  <c:v>0.19707163486386087</c:v>
                </c:pt>
                <c:pt idx="18198" formatCode="0.0%">
                  <c:v>0.20405128911972109</c:v>
                </c:pt>
                <c:pt idx="18199" formatCode="0.0%">
                  <c:v>0.19994469311094268</c:v>
                </c:pt>
                <c:pt idx="18200" formatCode="0.0%">
                  <c:v>0.20080824501320174</c:v>
                </c:pt>
                <c:pt idx="18201" formatCode="0.0%">
                  <c:v>0.16979873391215641</c:v>
                </c:pt>
                <c:pt idx="18202" formatCode="0.0%">
                  <c:v>0.16971088274920776</c:v>
                </c:pt>
                <c:pt idx="18203" formatCode="0.0%">
                  <c:v>0.15815464321706016</c:v>
                </c:pt>
                <c:pt idx="18204" formatCode="0.0%">
                  <c:v>0.1442021604690811</c:v>
                </c:pt>
                <c:pt idx="18205" formatCode="0.0%">
                  <c:v>0.14754386478391235</c:v>
                </c:pt>
                <c:pt idx="18206" formatCode="0.0%">
                  <c:v>0.15660329909968224</c:v>
                </c:pt>
                <c:pt idx="18207" formatCode="0.0%">
                  <c:v>0.15510055276502929</c:v>
                </c:pt>
                <c:pt idx="18208" formatCode="0.0%">
                  <c:v>0.16277353657293617</c:v>
                </c:pt>
                <c:pt idx="18209" formatCode="0.0%">
                  <c:v>0.16249742972129877</c:v>
                </c:pt>
                <c:pt idx="18210" formatCode="0.0%">
                  <c:v>0.15984134212880327</c:v>
                </c:pt>
                <c:pt idx="18211" formatCode="0.0%">
                  <c:v>0.15231377581146893</c:v>
                </c:pt>
                <c:pt idx="18212" formatCode="0.0%">
                  <c:v>0.15236923908246169</c:v>
                </c:pt>
                <c:pt idx="18213" formatCode="0.0%">
                  <c:v>0.15454532008101821</c:v>
                </c:pt>
                <c:pt idx="18214" formatCode="0.0%">
                  <c:v>0.14931004572960374</c:v>
                </c:pt>
                <c:pt idx="18215" formatCode="0.0%">
                  <c:v>0.1474186110902882</c:v>
                </c:pt>
                <c:pt idx="18216" formatCode="0.0%">
                  <c:v>0.14818851876412026</c:v>
                </c:pt>
                <c:pt idx="18217" formatCode="0.0%">
                  <c:v>0.15144894278086313</c:v>
                </c:pt>
                <c:pt idx="18218" formatCode="0.0%">
                  <c:v>0.14038641295842813</c:v>
                </c:pt>
                <c:pt idx="18219" formatCode="0.0%">
                  <c:v>0.14355668215880854</c:v>
                </c:pt>
                <c:pt idx="18220" formatCode="0.0%">
                  <c:v>0.14172465691439784</c:v>
                </c:pt>
                <c:pt idx="18221" formatCode="0.0%">
                  <c:v>0.15187821490550671</c:v>
                </c:pt>
                <c:pt idx="18222" formatCode="0.0%">
                  <c:v>0.1516389921660421</c:v>
                </c:pt>
                <c:pt idx="18223" formatCode="0.0%">
                  <c:v>0.16600499767290011</c:v>
                </c:pt>
                <c:pt idx="18224" formatCode="0.0%">
                  <c:v>0.16547041586605049</c:v>
                </c:pt>
                <c:pt idx="18225" formatCode="0.0%">
                  <c:v>0.16188294428355693</c:v>
                </c:pt>
                <c:pt idx="18226" formatCode="0.0%">
                  <c:v>0.15201868311596262</c:v>
                </c:pt>
                <c:pt idx="18227" formatCode="0.0%">
                  <c:v>0.15380323999166143</c:v>
                </c:pt>
                <c:pt idx="18228" formatCode="0.0%">
                  <c:v>0.14564112628802361</c:v>
                </c:pt>
                <c:pt idx="18229" formatCode="0.0%">
                  <c:v>0.15121603252033927</c:v>
                </c:pt>
                <c:pt idx="18230" formatCode="0.0%">
                  <c:v>0.15091266064961922</c:v>
                </c:pt>
                <c:pt idx="18231" formatCode="0.0%">
                  <c:v>0.14961177786830568</c:v>
                </c:pt>
                <c:pt idx="18232" formatCode="0.0%">
                  <c:v>0.15182845351419844</c:v>
                </c:pt>
                <c:pt idx="18233" formatCode="0.0%">
                  <c:v>0.15052334276243504</c:v>
                </c:pt>
                <c:pt idx="18234" formatCode="0.0%">
                  <c:v>0.15916563672913073</c:v>
                </c:pt>
                <c:pt idx="18235" formatCode="0.0%">
                  <c:v>0.15514044349480105</c:v>
                </c:pt>
                <c:pt idx="18236" formatCode="0.0%">
                  <c:v>0.15293252063632493</c:v>
                </c:pt>
                <c:pt idx="18237" formatCode="0.0%">
                  <c:v>0.1544579007190193</c:v>
                </c:pt>
                <c:pt idx="18238" formatCode="0.0%">
                  <c:v>0.15004214606534486</c:v>
                </c:pt>
                <c:pt idx="18239" formatCode="0.0%">
                  <c:v>0.14487452920708221</c:v>
                </c:pt>
                <c:pt idx="18240" formatCode="0.0%">
                  <c:v>0.14341797099022663</c:v>
                </c:pt>
                <c:pt idx="18241" formatCode="0.0%">
                  <c:v>0.13121611217700388</c:v>
                </c:pt>
                <c:pt idx="18242" formatCode="0.0%">
                  <c:v>0.13047984236614288</c:v>
                </c:pt>
                <c:pt idx="18243" formatCode="0.0%">
                  <c:v>0.10036054815926304</c:v>
                </c:pt>
                <c:pt idx="18244" formatCode="0.0%">
                  <c:v>9.9152123579059948E-2</c:v>
                </c:pt>
                <c:pt idx="18245" formatCode="0.0%">
                  <c:v>0.10072314724726869</c:v>
                </c:pt>
                <c:pt idx="18246" formatCode="0.0%">
                  <c:v>0.10377720764867704</c:v>
                </c:pt>
                <c:pt idx="18247" formatCode="0.0%">
                  <c:v>0.1041702085071954</c:v>
                </c:pt>
                <c:pt idx="18248" formatCode="0.0%">
                  <c:v>0.10253522253813781</c:v>
                </c:pt>
                <c:pt idx="18249" formatCode="0.0%">
                  <c:v>0.10353536835417351</c:v>
                </c:pt>
                <c:pt idx="18250" formatCode="0.0%">
                  <c:v>0.1102080870673363</c:v>
                </c:pt>
                <c:pt idx="18251" formatCode="0.0%">
                  <c:v>0.10923924988708467</c:v>
                </c:pt>
                <c:pt idx="18252" formatCode="0.0%">
                  <c:v>0.10600400935373885</c:v>
                </c:pt>
                <c:pt idx="18253" formatCode="0.0%">
                  <c:v>0.10409693224408592</c:v>
                </c:pt>
                <c:pt idx="18254" formatCode="0.0%">
                  <c:v>9.4173974808295341E-2</c:v>
                </c:pt>
                <c:pt idx="18255" formatCode="0.0%">
                  <c:v>9.2967771840125349E-2</c:v>
                </c:pt>
                <c:pt idx="18256" formatCode="0.0%">
                  <c:v>9.281463924680125E-2</c:v>
                </c:pt>
                <c:pt idx="18257" formatCode="0.0%">
                  <c:v>9.0264647034014447E-2</c:v>
                </c:pt>
                <c:pt idx="18258" formatCode="0.0%">
                  <c:v>0.10231382294156752</c:v>
                </c:pt>
                <c:pt idx="18259" formatCode="0.0%">
                  <c:v>0.10868303223698045</c:v>
                </c:pt>
                <c:pt idx="18260" formatCode="0.0%">
                  <c:v>0.10984889204718094</c:v>
                </c:pt>
                <c:pt idx="18261" formatCode="0.0%">
                  <c:v>0.10687256302191861</c:v>
                </c:pt>
                <c:pt idx="18262" formatCode="0.0%">
                  <c:v>0.10628912759818808</c:v>
                </c:pt>
                <c:pt idx="18263" formatCode="0.0%">
                  <c:v>0.10752592899297338</c:v>
                </c:pt>
                <c:pt idx="18264" formatCode="0.0%">
                  <c:v>0.10582609520881836</c:v>
                </c:pt>
                <c:pt idx="18265" formatCode="0.0%">
                  <c:v>0.10620023059362604</c:v>
                </c:pt>
                <c:pt idx="18266" formatCode="0.0%">
                  <c:v>0.13757193356196185</c:v>
                </c:pt>
                <c:pt idx="18267" formatCode="0.0%">
                  <c:v>0.13854714722158418</c:v>
                </c:pt>
                <c:pt idx="18268" formatCode="0.0%">
                  <c:v>0.13775036475062793</c:v>
                </c:pt>
                <c:pt idx="18269" formatCode="0.0%">
                  <c:v>0.13665092699412551</c:v>
                </c:pt>
                <c:pt idx="18270" formatCode="0.0%">
                  <c:v>0.13690056203022652</c:v>
                </c:pt>
                <c:pt idx="18271" formatCode="0.0%">
                  <c:v>0.13355042383121965</c:v>
                </c:pt>
                <c:pt idx="18272" formatCode="0.0%">
                  <c:v>0.1462299800153479</c:v>
                </c:pt>
                <c:pt idx="18273" formatCode="0.0%">
                  <c:v>0.14639313495959549</c:v>
                </c:pt>
                <c:pt idx="18274" formatCode="0.0%">
                  <c:v>0.14885286712492588</c:v>
                </c:pt>
                <c:pt idx="18275" formatCode="0.0%">
                  <c:v>0.15428806300558984</c:v>
                </c:pt>
                <c:pt idx="18276" formatCode="0.0%">
                  <c:v>0.17209741401390144</c:v>
                </c:pt>
                <c:pt idx="18277" formatCode="0.0%">
                  <c:v>0.21782739756366046</c:v>
                </c:pt>
                <c:pt idx="18278" formatCode="0.0%">
                  <c:v>0.21387197943634842</c:v>
                </c:pt>
                <c:pt idx="18279" formatCode="0.0%">
                  <c:v>0.21485129063981015</c:v>
                </c:pt>
                <c:pt idx="18280" formatCode="0.0%">
                  <c:v>0.21484456027627458</c:v>
                </c:pt>
                <c:pt idx="18281" formatCode="0.0%">
                  <c:v>0.25388325968376318</c:v>
                </c:pt>
                <c:pt idx="18282" formatCode="0.0%">
                  <c:v>0.25540397786901281</c:v>
                </c:pt>
                <c:pt idx="18283" formatCode="0.0%">
                  <c:v>0.25476283706281017</c:v>
                </c:pt>
                <c:pt idx="18284" formatCode="0.0%">
                  <c:v>0.25372408420514764</c:v>
                </c:pt>
                <c:pt idx="18285" formatCode="0.0%">
                  <c:v>0.26652105883515814</c:v>
                </c:pt>
                <c:pt idx="18286" formatCode="0.0%">
                  <c:v>0.25096051417620374</c:v>
                </c:pt>
                <c:pt idx="18287" formatCode="0.0%">
                  <c:v>0.25187893450014648</c:v>
                </c:pt>
                <c:pt idx="18288" formatCode="0.0%">
                  <c:v>0.2579984961239275</c:v>
                </c:pt>
                <c:pt idx="18289" formatCode="0.0%">
                  <c:v>0.2695867766787215</c:v>
                </c:pt>
                <c:pt idx="18290" formatCode="0.0%">
                  <c:v>0.26955590260220658</c:v>
                </c:pt>
                <c:pt idx="18291" formatCode="0.0%">
                  <c:v>0.27018578981421992</c:v>
                </c:pt>
                <c:pt idx="18292" formatCode="0.0%">
                  <c:v>0.26087152760984661</c:v>
                </c:pt>
                <c:pt idx="18293" formatCode="0.0%">
                  <c:v>0.26024607745430028</c:v>
                </c:pt>
                <c:pt idx="18294" formatCode="0.0%">
                  <c:v>0.25655576894049248</c:v>
                </c:pt>
                <c:pt idx="18295" formatCode="0.0%">
                  <c:v>0.25618830958298577</c:v>
                </c:pt>
                <c:pt idx="18296" formatCode="0.0%">
                  <c:v>0.23719933737569437</c:v>
                </c:pt>
                <c:pt idx="18297" formatCode="0.0%">
                  <c:v>0.22758245464593937</c:v>
                </c:pt>
                <c:pt idx="18298" formatCode="0.0%">
                  <c:v>0.23060395030695061</c:v>
                </c:pt>
                <c:pt idx="18299" formatCode="0.0%">
                  <c:v>0.23615940603535465</c:v>
                </c:pt>
                <c:pt idx="18300" formatCode="0.0%">
                  <c:v>0.23499838048674171</c:v>
                </c:pt>
                <c:pt idx="18301" formatCode="0.0%">
                  <c:v>0.2063848901349363</c:v>
                </c:pt>
                <c:pt idx="18302" formatCode="0.0%">
                  <c:v>0.20514827523401119</c:v>
                </c:pt>
                <c:pt idx="18303" formatCode="0.0%">
                  <c:v>0.21429711755767536</c:v>
                </c:pt>
                <c:pt idx="18304" formatCode="0.0%">
                  <c:v>0.21480690247421097</c:v>
                </c:pt>
                <c:pt idx="18305" formatCode="0.0%">
                  <c:v>0.20822891202350874</c:v>
                </c:pt>
                <c:pt idx="18306" formatCode="0.0%">
                  <c:v>0.21599227469628232</c:v>
                </c:pt>
                <c:pt idx="18307" formatCode="0.0%">
                  <c:v>0.21276686748703866</c:v>
                </c:pt>
                <c:pt idx="18308" formatCode="0.0%">
                  <c:v>0.20720285512126849</c:v>
                </c:pt>
                <c:pt idx="18309" formatCode="0.0%">
                  <c:v>0.18883465637912367</c:v>
                </c:pt>
                <c:pt idx="18310" formatCode="0.0%">
                  <c:v>0.19830499199841461</c:v>
                </c:pt>
                <c:pt idx="18311" formatCode="0.0%">
                  <c:v>0.19618690229417862</c:v>
                </c:pt>
                <c:pt idx="18312" formatCode="0.0%">
                  <c:v>0.2001949915479663</c:v>
                </c:pt>
                <c:pt idx="18313" formatCode="0.0%">
                  <c:v>0.24860715647376699</c:v>
                </c:pt>
                <c:pt idx="18314" formatCode="0.0%">
                  <c:v>0.25517759662885858</c:v>
                </c:pt>
                <c:pt idx="18315" formatCode="0.0%">
                  <c:v>0.25084031710173293</c:v>
                </c:pt>
                <c:pt idx="18316" formatCode="0.0%">
                  <c:v>0.26183078071574734</c:v>
                </c:pt>
                <c:pt idx="18317" formatCode="0.0%">
                  <c:v>0.24790009380106534</c:v>
                </c:pt>
                <c:pt idx="18318" formatCode="0.0%">
                  <c:v>0.24575760865147342</c:v>
                </c:pt>
                <c:pt idx="18319" formatCode="0.0%">
                  <c:v>0.23262891544756209</c:v>
                </c:pt>
                <c:pt idx="18320" formatCode="0.0%">
                  <c:v>0.23615526242639706</c:v>
                </c:pt>
                <c:pt idx="18321" formatCode="0.0%">
                  <c:v>0.24372629182390282</c:v>
                </c:pt>
                <c:pt idx="18322" formatCode="0.0%">
                  <c:v>0.24637680439841761</c:v>
                </c:pt>
                <c:pt idx="18323" formatCode="0.0%">
                  <c:v>0.24213763519681683</c:v>
                </c:pt>
                <c:pt idx="18324" formatCode="0.0%">
                  <c:v>0.26408156320295512</c:v>
                </c:pt>
                <c:pt idx="18325" formatCode="0.0%">
                  <c:v>0.26019273483122696</c:v>
                </c:pt>
                <c:pt idx="18326" formatCode="0.0%">
                  <c:v>0.27017787115108249</c:v>
                </c:pt>
                <c:pt idx="18327" formatCode="0.0%">
                  <c:v>0.27079723426335151</c:v>
                </c:pt>
                <c:pt idx="18328" formatCode="0.0%">
                  <c:v>0.27193417203315107</c:v>
                </c:pt>
                <c:pt idx="18329" formatCode="0.0%">
                  <c:v>0.27185481572922698</c:v>
                </c:pt>
                <c:pt idx="18330" formatCode="0.0%">
                  <c:v>0.26441651966955487</c:v>
                </c:pt>
                <c:pt idx="18331" formatCode="0.0%">
                  <c:v>0.2832788881253539</c:v>
                </c:pt>
                <c:pt idx="18332" formatCode="0.0%">
                  <c:v>0.3338127966118995</c:v>
                </c:pt>
                <c:pt idx="18333" formatCode="0.0%">
                  <c:v>0.30512572063421345</c:v>
                </c:pt>
                <c:pt idx="18334" formatCode="0.0%">
                  <c:v>0.31241823101752331</c:v>
                </c:pt>
                <c:pt idx="18335" formatCode="0.0%">
                  <c:v>0.31208446241329335</c:v>
                </c:pt>
                <c:pt idx="18336" formatCode="0.0%">
                  <c:v>0.30278603381242425</c:v>
                </c:pt>
                <c:pt idx="18337" formatCode="0.0%">
                  <c:v>0.30377371425667615</c:v>
                </c:pt>
                <c:pt idx="18338" formatCode="0.0%">
                  <c:v>0.30663849423942174</c:v>
                </c:pt>
                <c:pt idx="18339" formatCode="0.0%">
                  <c:v>0.30620163143601575</c:v>
                </c:pt>
                <c:pt idx="18340" formatCode="0.0%">
                  <c:v>0.30366061419681573</c:v>
                </c:pt>
                <c:pt idx="18341" formatCode="0.0%">
                  <c:v>0.2932373424100535</c:v>
                </c:pt>
                <c:pt idx="18342" formatCode="0.0%">
                  <c:v>0.29587391301819121</c:v>
                </c:pt>
                <c:pt idx="18343" formatCode="0.0%">
                  <c:v>0.29192769250046313</c:v>
                </c:pt>
                <c:pt idx="18344" formatCode="0.0%">
                  <c:v>0.26447194618215858</c:v>
                </c:pt>
                <c:pt idx="18345" formatCode="0.0%">
                  <c:v>0.2662968355348167</c:v>
                </c:pt>
                <c:pt idx="18346" formatCode="0.0%">
                  <c:v>0.25464454526206215</c:v>
                </c:pt>
                <c:pt idx="18347" formatCode="0.0%">
                  <c:v>0.25518339264251433</c:v>
                </c:pt>
                <c:pt idx="18348" formatCode="0.0%">
                  <c:v>0.25328035632990775</c:v>
                </c:pt>
                <c:pt idx="18349" formatCode="0.0%">
                  <c:v>0.25391636261450062</c:v>
                </c:pt>
                <c:pt idx="18350" formatCode="0.0%">
                  <c:v>0.25087767472339983</c:v>
                </c:pt>
                <c:pt idx="18351" formatCode="0.0%">
                  <c:v>0.22604065440172275</c:v>
                </c:pt>
                <c:pt idx="18352" formatCode="0.0%">
                  <c:v>0.1488018067289463</c:v>
                </c:pt>
                <c:pt idx="18353" formatCode="0.0%">
                  <c:v>0.15784701251866595</c:v>
                </c:pt>
                <c:pt idx="18354" formatCode="0.0%">
                  <c:v>0.1209184919812724</c:v>
                </c:pt>
                <c:pt idx="18355" formatCode="0.0%">
                  <c:v>0.12074798123210304</c:v>
                </c:pt>
                <c:pt idx="18356" formatCode="0.0%">
                  <c:v>0.12619936987927033</c:v>
                </c:pt>
                <c:pt idx="18357" formatCode="0.0%">
                  <c:v>0.12533244308947333</c:v>
                </c:pt>
                <c:pt idx="18358" formatCode="0.0%">
                  <c:v>0.12956274380547692</c:v>
                </c:pt>
                <c:pt idx="18359" formatCode="0.0%">
                  <c:v>0.13443658038063816</c:v>
                </c:pt>
                <c:pt idx="18360" formatCode="0.0%">
                  <c:v>0.13630669749327939</c:v>
                </c:pt>
                <c:pt idx="18361" formatCode="0.0%">
                  <c:v>0.13615016034604893</c:v>
                </c:pt>
                <c:pt idx="18362" formatCode="0.0%">
                  <c:v>0.12950885434990198</c:v>
                </c:pt>
                <c:pt idx="18363" formatCode="0.0%">
                  <c:v>0.14463407654145155</c:v>
                </c:pt>
                <c:pt idx="18364" formatCode="0.0%">
                  <c:v>0.15505806785423523</c:v>
                </c:pt>
                <c:pt idx="18365" formatCode="0.0%">
                  <c:v>0.15407044295529429</c:v>
                </c:pt>
                <c:pt idx="18366" formatCode="0.0%">
                  <c:v>0.15215278815805913</c:v>
                </c:pt>
                <c:pt idx="18367" formatCode="0.0%">
                  <c:v>0.15220365085149459</c:v>
                </c:pt>
                <c:pt idx="18368" formatCode="0.0%">
                  <c:v>0.1704390377207525</c:v>
                </c:pt>
                <c:pt idx="18369" formatCode="0.0%">
                  <c:v>0.16675297932504832</c:v>
                </c:pt>
                <c:pt idx="18370" formatCode="0.0%">
                  <c:v>0.16525902658207448</c:v>
                </c:pt>
                <c:pt idx="18371" formatCode="0.0%">
                  <c:v>0.16667726420212151</c:v>
                </c:pt>
                <c:pt idx="18372" formatCode="0.0%">
                  <c:v>0.16223518869231152</c:v>
                </c:pt>
                <c:pt idx="18373" formatCode="0.0%">
                  <c:v>0.16004505815685235</c:v>
                </c:pt>
                <c:pt idx="18374" formatCode="0.0%">
                  <c:v>0.1656164880511824</c:v>
                </c:pt>
                <c:pt idx="18375" formatCode="0.0%">
                  <c:v>0.16946354977540376</c:v>
                </c:pt>
                <c:pt idx="18376" formatCode="0.0%">
                  <c:v>0.16954474279758081</c:v>
                </c:pt>
                <c:pt idx="18377" formatCode="0.0%">
                  <c:v>0.18674038702335549</c:v>
                </c:pt>
                <c:pt idx="18378" formatCode="0.0%">
                  <c:v>0.23355776131998407</c:v>
                </c:pt>
                <c:pt idx="18379" formatCode="0.0%">
                  <c:v>0.23665962470503393</c:v>
                </c:pt>
                <c:pt idx="18380" formatCode="0.0%">
                  <c:v>0.24790743969679285</c:v>
                </c:pt>
                <c:pt idx="18381" formatCode="0.0%">
                  <c:v>0.25122312275145198</c:v>
                </c:pt>
                <c:pt idx="18382" formatCode="0.0%">
                  <c:v>0.25039917466680661</c:v>
                </c:pt>
                <c:pt idx="18383" formatCode="0.0%">
                  <c:v>0.26064578126519194</c:v>
                </c:pt>
                <c:pt idx="18384" formatCode="0.0%">
                  <c:v>0.26599580004128281</c:v>
                </c:pt>
                <c:pt idx="18385" formatCode="0.0%">
                  <c:v>0.26561711226252221</c:v>
                </c:pt>
                <c:pt idx="18386" formatCode="0.0%">
                  <c:v>0.26533711272360094</c:v>
                </c:pt>
                <c:pt idx="18387" formatCode="0.0%">
                  <c:v>0.28027364598871923</c:v>
                </c:pt>
                <c:pt idx="18388" formatCode="0.0%">
                  <c:v>0.27475201053261183</c:v>
                </c:pt>
                <c:pt idx="18389" formatCode="0.0%">
                  <c:v>0.29427342461999384</c:v>
                </c:pt>
                <c:pt idx="18390" formatCode="0.0%">
                  <c:v>0.30171872839463509</c:v>
                </c:pt>
                <c:pt idx="18391" formatCode="0.0%">
                  <c:v>0.30122796234561044</c:v>
                </c:pt>
                <c:pt idx="18392" formatCode="0.0%">
                  <c:v>0.30554360458853225</c:v>
                </c:pt>
                <c:pt idx="18393" formatCode="0.0%">
                  <c:v>0.30538794403546371</c:v>
                </c:pt>
                <c:pt idx="18394" formatCode="0.0%">
                  <c:v>0.31951318411515051</c:v>
                </c:pt>
                <c:pt idx="18395" formatCode="0.0%">
                  <c:v>0.31630053301728611</c:v>
                </c:pt>
                <c:pt idx="18396" formatCode="0.0%">
                  <c:v>0.36103981260393886</c:v>
                </c:pt>
                <c:pt idx="18397" formatCode="0.0%">
                  <c:v>0.35778092037006326</c:v>
                </c:pt>
                <c:pt idx="18398" formatCode="0.0%">
                  <c:v>0.32769737424525147</c:v>
                </c:pt>
                <c:pt idx="18399" formatCode="0.0%">
                  <c:v>0.33831967945331071</c:v>
                </c:pt>
                <c:pt idx="18400" formatCode="0.0%">
                  <c:v>0.32532257870807041</c:v>
                </c:pt>
                <c:pt idx="18401" formatCode="0.0%">
                  <c:v>0.32911122588639224</c:v>
                </c:pt>
                <c:pt idx="18402" formatCode="0.0%">
                  <c:v>0.32074146798318981</c:v>
                </c:pt>
                <c:pt idx="18403" formatCode="0.0%">
                  <c:v>0.3168900538208746</c:v>
                </c:pt>
                <c:pt idx="18404" formatCode="0.0%">
                  <c:v>0.32830030850598901</c:v>
                </c:pt>
                <c:pt idx="18405" formatCode="0.0%">
                  <c:v>0.31879749552559272</c:v>
                </c:pt>
                <c:pt idx="18406" formatCode="0.0%">
                  <c:v>0.3209991314042494</c:v>
                </c:pt>
                <c:pt idx="18407" formatCode="0.0%">
                  <c:v>0.32405808317696211</c:v>
                </c:pt>
                <c:pt idx="18408" formatCode="0.0%">
                  <c:v>0.32739981068425977</c:v>
                </c:pt>
                <c:pt idx="18409" formatCode="0.0%">
                  <c:v>0.32030061219494527</c:v>
                </c:pt>
                <c:pt idx="18410" formatCode="0.0%">
                  <c:v>0.30444780214450001</c:v>
                </c:pt>
                <c:pt idx="18411" formatCode="0.0%">
                  <c:v>0.30549897162235379</c:v>
                </c:pt>
                <c:pt idx="18412" formatCode="0.0%">
                  <c:v>0.30556475165850261</c:v>
                </c:pt>
                <c:pt idx="18413" formatCode="0.0%">
                  <c:v>0.30115644226105803</c:v>
                </c:pt>
                <c:pt idx="18414" formatCode="0.0%">
                  <c:v>0.2624132219392854</c:v>
                </c:pt>
                <c:pt idx="18415" formatCode="0.0%">
                  <c:v>0.27167252006486242</c:v>
                </c:pt>
                <c:pt idx="18416" formatCode="0.0%">
                  <c:v>0.23752466400826083</c:v>
                </c:pt>
                <c:pt idx="18417" formatCode="0.0%">
                  <c:v>0.22054960142219823</c:v>
                </c:pt>
                <c:pt idx="18418" formatCode="0.0%">
                  <c:v>0.22190369712250796</c:v>
                </c:pt>
                <c:pt idx="18419" formatCode="0.0%">
                  <c:v>0.20898180129678776</c:v>
                </c:pt>
                <c:pt idx="18420" formatCode="0.0%">
                  <c:v>0.20841218063287911</c:v>
                </c:pt>
                <c:pt idx="18421" formatCode="0.0%">
                  <c:v>0.20759349554088874</c:v>
                </c:pt>
                <c:pt idx="18422" formatCode="0.0%">
                  <c:v>0.20646407582425194</c:v>
                </c:pt>
                <c:pt idx="18423" formatCode="0.0%">
                  <c:v>0.2047442651499978</c:v>
                </c:pt>
                <c:pt idx="18424" formatCode="0.0%">
                  <c:v>0.1833516252871403</c:v>
                </c:pt>
                <c:pt idx="18425" formatCode="0.0%">
                  <c:v>0.17908024563588143</c:v>
                </c:pt>
                <c:pt idx="18426" formatCode="0.0%">
                  <c:v>0.17519662959923724</c:v>
                </c:pt>
                <c:pt idx="18427" formatCode="0.0%">
                  <c:v>0.16982608885975903</c:v>
                </c:pt>
                <c:pt idx="18428" formatCode="0.0%">
                  <c:v>0.16123602394516698</c:v>
                </c:pt>
                <c:pt idx="18429" formatCode="0.0%">
                  <c:v>0.16906541260493949</c:v>
                </c:pt>
                <c:pt idx="18430" formatCode="0.0%">
                  <c:v>0.16888016903474629</c:v>
                </c:pt>
                <c:pt idx="18431" formatCode="0.0%">
                  <c:v>0.16918505794686228</c:v>
                </c:pt>
                <c:pt idx="18432" formatCode="0.0%">
                  <c:v>0.17157846776511285</c:v>
                </c:pt>
                <c:pt idx="18433" formatCode="0.0%">
                  <c:v>0.17414435978488071</c:v>
                </c:pt>
                <c:pt idx="18434" formatCode="0.0%">
                  <c:v>0.17581344149400863</c:v>
                </c:pt>
                <c:pt idx="18435" formatCode="0.0%">
                  <c:v>0.16770220724491339</c:v>
                </c:pt>
                <c:pt idx="18436" formatCode="0.0%">
                  <c:v>0.16063490333591043</c:v>
                </c:pt>
                <c:pt idx="18437" formatCode="0.0%">
                  <c:v>0.16663989119257658</c:v>
                </c:pt>
                <c:pt idx="18438" formatCode="0.0%">
                  <c:v>0.17131339867685647</c:v>
                </c:pt>
                <c:pt idx="18439" formatCode="0.0%">
                  <c:v>0.17121686196223618</c:v>
                </c:pt>
                <c:pt idx="18440" formatCode="0.0%">
                  <c:v>0.17506088848771093</c:v>
                </c:pt>
                <c:pt idx="18441" formatCode="0.0%">
                  <c:v>0.17555819733343719</c:v>
                </c:pt>
                <c:pt idx="18442" formatCode="0.0%">
                  <c:v>0.1753868426768905</c:v>
                </c:pt>
                <c:pt idx="18443" formatCode="0.0%">
                  <c:v>0.18022074058032866</c:v>
                </c:pt>
                <c:pt idx="18444" formatCode="0.0%">
                  <c:v>0.15622879750085705</c:v>
                </c:pt>
                <c:pt idx="18445" formatCode="0.0%">
                  <c:v>0.15506905724504588</c:v>
                </c:pt>
                <c:pt idx="18446" formatCode="0.0%">
                  <c:v>0.15373379765927242</c:v>
                </c:pt>
                <c:pt idx="18447" formatCode="0.0%">
                  <c:v>0.13842777326150374</c:v>
                </c:pt>
                <c:pt idx="18448" formatCode="0.0%">
                  <c:v>0.14551176731383136</c:v>
                </c:pt>
                <c:pt idx="18449" formatCode="0.0%">
                  <c:v>0.1468780564286804</c:v>
                </c:pt>
                <c:pt idx="18450" formatCode="0.0%">
                  <c:v>0.14776384424177122</c:v>
                </c:pt>
                <c:pt idx="18451" formatCode="0.0%">
                  <c:v>0.14419682727616778</c:v>
                </c:pt>
                <c:pt idx="18452" formatCode="0.0%">
                  <c:v>0.14276679709120071</c:v>
                </c:pt>
                <c:pt idx="18453" formatCode="0.0%">
                  <c:v>0.13377541493985509</c:v>
                </c:pt>
                <c:pt idx="18454" formatCode="0.0%">
                  <c:v>0.14020173178356074</c:v>
                </c:pt>
                <c:pt idx="18455" formatCode="0.0%">
                  <c:v>0.13892717283001924</c:v>
                </c:pt>
                <c:pt idx="18456" formatCode="0.0%">
                  <c:v>0.14301331069842851</c:v>
                </c:pt>
                <c:pt idx="18457" formatCode="0.0%">
                  <c:v>0.13292558351114572</c:v>
                </c:pt>
                <c:pt idx="18458" formatCode="0.0%">
                  <c:v>0.13461547419146866</c:v>
                </c:pt>
                <c:pt idx="18459" formatCode="0.0%">
                  <c:v>0.15192097341734684</c:v>
                </c:pt>
                <c:pt idx="18460" formatCode="0.0%">
                  <c:v>0.15446223985907917</c:v>
                </c:pt>
                <c:pt idx="18461" formatCode="0.0%">
                  <c:v>0.15891495206574111</c:v>
                </c:pt>
                <c:pt idx="18462" formatCode="0.0%">
                  <c:v>0.15832619345913754</c:v>
                </c:pt>
                <c:pt idx="18463" formatCode="0.0%">
                  <c:v>0.18077025779031666</c:v>
                </c:pt>
                <c:pt idx="18464" formatCode="0.0%">
                  <c:v>0.17188225164835788</c:v>
                </c:pt>
                <c:pt idx="18465" formatCode="0.0%">
                  <c:v>0.17550842657453219</c:v>
                </c:pt>
                <c:pt idx="18466" formatCode="0.0%">
                  <c:v>0.17843533319263838</c:v>
                </c:pt>
                <c:pt idx="18467" formatCode="0.0%">
                  <c:v>0.17916037850922667</c:v>
                </c:pt>
                <c:pt idx="18468" formatCode="0.0%">
                  <c:v>0.17766692934173023</c:v>
                </c:pt>
                <c:pt idx="18469" formatCode="0.0%">
                  <c:v>0.17249478728029241</c:v>
                </c:pt>
                <c:pt idx="18470" formatCode="0.0%">
                  <c:v>0.17871741987769094</c:v>
                </c:pt>
                <c:pt idx="18471" formatCode="0.0%">
                  <c:v>0.18605465136896493</c:v>
                </c:pt>
                <c:pt idx="18472" formatCode="0.0%">
                  <c:v>0.19664393662383686</c:v>
                </c:pt>
                <c:pt idx="18473" formatCode="0.0%">
                  <c:v>0.20024094539438744</c:v>
                </c:pt>
                <c:pt idx="18474" formatCode="0.0%">
                  <c:v>0.19486451137570046</c:v>
                </c:pt>
                <c:pt idx="18475" formatCode="0.0%">
                  <c:v>0.19485338580107062</c:v>
                </c:pt>
                <c:pt idx="18476" formatCode="0.0%">
                  <c:v>0.19221038513910438</c:v>
                </c:pt>
                <c:pt idx="18477" formatCode="0.0%">
                  <c:v>0.19296442895716659</c:v>
                </c:pt>
                <c:pt idx="18478" formatCode="0.0%">
                  <c:v>0.18855968271485815</c:v>
                </c:pt>
                <c:pt idx="18479" formatCode="0.0%">
                  <c:v>0.16782115859584043</c:v>
                </c:pt>
                <c:pt idx="18480" formatCode="0.0%">
                  <c:v>0.17189664950552933</c:v>
                </c:pt>
                <c:pt idx="18481" formatCode="0.0%">
                  <c:v>0.16327035074880505</c:v>
                </c:pt>
                <c:pt idx="18482" formatCode="0.0%">
                  <c:v>0.17587303368850019</c:v>
                </c:pt>
                <c:pt idx="18483" formatCode="0.0%">
                  <c:v>0.15291125345118542</c:v>
                </c:pt>
                <c:pt idx="18484" formatCode="0.0%">
                  <c:v>0.15257675428438136</c:v>
                </c:pt>
                <c:pt idx="18485" formatCode="0.0%">
                  <c:v>0.14813627184363945</c:v>
                </c:pt>
                <c:pt idx="18486" formatCode="0.0%">
                  <c:v>0.14331121755014764</c:v>
                </c:pt>
                <c:pt idx="18487" formatCode="0.0%">
                  <c:v>0.14418981277116574</c:v>
                </c:pt>
                <c:pt idx="18488" formatCode="0.0%">
                  <c:v>0.14258619025989566</c:v>
                </c:pt>
                <c:pt idx="18489" formatCode="0.0%">
                  <c:v>0.15266623561360509</c:v>
                </c:pt>
                <c:pt idx="18490" formatCode="0.0%">
                  <c:v>0.14664798610216778</c:v>
                </c:pt>
                <c:pt idx="18491" formatCode="0.0%">
                  <c:v>0.14133858782467709</c:v>
                </c:pt>
                <c:pt idx="18492" formatCode="0.0%">
                  <c:v>0.13052629857259843</c:v>
                </c:pt>
                <c:pt idx="18493" formatCode="0.0%">
                  <c:v>0.12335857404317288</c:v>
                </c:pt>
                <c:pt idx="18494" formatCode="0.0%">
                  <c:v>0.14406280808847449</c:v>
                </c:pt>
                <c:pt idx="18495" formatCode="0.0%">
                  <c:v>0.14475044103909615</c:v>
                </c:pt>
                <c:pt idx="18496" formatCode="0.0%">
                  <c:v>0.15070182005338606</c:v>
                </c:pt>
                <c:pt idx="18497" formatCode="0.0%">
                  <c:v>0.15225686739187627</c:v>
                </c:pt>
                <c:pt idx="18498" formatCode="0.0%">
                  <c:v>0.15810684732946462</c:v>
                </c:pt>
                <c:pt idx="18499" formatCode="0.0%">
                  <c:v>0.16046788906911857</c:v>
                </c:pt>
                <c:pt idx="18500" formatCode="0.0%">
                  <c:v>0.15786682266644711</c:v>
                </c:pt>
                <c:pt idx="18501" formatCode="0.0%">
                  <c:v>0.15637049319259055</c:v>
                </c:pt>
                <c:pt idx="18502" formatCode="0.0%">
                  <c:v>0.16357376743562207</c:v>
                </c:pt>
                <c:pt idx="18503" formatCode="0.0%">
                  <c:v>0.17188334179815432</c:v>
                </c:pt>
                <c:pt idx="18504" formatCode="0.0%">
                  <c:v>0.17230589424905993</c:v>
                </c:pt>
                <c:pt idx="18505" formatCode="0.0%">
                  <c:v>0.23636690258355261</c:v>
                </c:pt>
                <c:pt idx="18506" formatCode="0.0%">
                  <c:v>0.23613589719333516</c:v>
                </c:pt>
                <c:pt idx="18507" formatCode="0.0%">
                  <c:v>0.23843519005629196</c:v>
                </c:pt>
                <c:pt idx="18508" formatCode="0.0%">
                  <c:v>0.24968147020018816</c:v>
                </c:pt>
                <c:pt idx="18509" formatCode="0.0%">
                  <c:v>0.25081075942756492</c:v>
                </c:pt>
                <c:pt idx="18510" formatCode="0.0%">
                  <c:v>0.29703013552257124</c:v>
                </c:pt>
                <c:pt idx="18511" formatCode="0.0%">
                  <c:v>0.30213389917849065</c:v>
                </c:pt>
                <c:pt idx="18512" formatCode="0.0%">
                  <c:v>0.29791909932569821</c:v>
                </c:pt>
                <c:pt idx="18513" formatCode="0.0%">
                  <c:v>0.30495721755890315</c:v>
                </c:pt>
                <c:pt idx="18514" formatCode="0.0%">
                  <c:v>0.30756527932538541</c:v>
                </c:pt>
                <c:pt idx="18515" formatCode="0.0%">
                  <c:v>0.30787685524767838</c:v>
                </c:pt>
                <c:pt idx="18516" formatCode="0.0%">
                  <c:v>0.31281073224941508</c:v>
                </c:pt>
                <c:pt idx="18517" formatCode="0.0%">
                  <c:v>0.32374277617772573</c:v>
                </c:pt>
                <c:pt idx="18518" formatCode="0.0%">
                  <c:v>0.31964303774117414</c:v>
                </c:pt>
                <c:pt idx="18519" formatCode="0.0%">
                  <c:v>0.31908882458779825</c:v>
                </c:pt>
                <c:pt idx="18520" formatCode="0.0%">
                  <c:v>0.31956110232724066</c:v>
                </c:pt>
                <c:pt idx="18521" formatCode="0.0%">
                  <c:v>0.31954226809513558</c:v>
                </c:pt>
                <c:pt idx="18522" formatCode="0.0%">
                  <c:v>0.32386248223146502</c:v>
                </c:pt>
                <c:pt idx="18523" formatCode="0.0%">
                  <c:v>0.32170927374610359</c:v>
                </c:pt>
                <c:pt idx="18524" formatCode="0.0%">
                  <c:v>0.32160672620633113</c:v>
                </c:pt>
                <c:pt idx="18525" formatCode="0.0%">
                  <c:v>0.26104651831261327</c:v>
                </c:pt>
                <c:pt idx="18526" formatCode="0.0%">
                  <c:v>0.25963267594440192</c:v>
                </c:pt>
                <c:pt idx="18527" formatCode="0.0%">
                  <c:v>0.26230531726852957</c:v>
                </c:pt>
                <c:pt idx="18528" formatCode="0.0%">
                  <c:v>0.23287174924228612</c:v>
                </c:pt>
                <c:pt idx="18529" formatCode="0.0%">
                  <c:v>0.21598117823370264</c:v>
                </c:pt>
                <c:pt idx="18530" formatCode="0.0%">
                  <c:v>0.18217435996760487</c:v>
                </c:pt>
                <c:pt idx="18531" formatCode="0.0%">
                  <c:v>0.18390490275641391</c:v>
                </c:pt>
                <c:pt idx="18532" formatCode="0.0%">
                  <c:v>0.1814820795140453</c:v>
                </c:pt>
                <c:pt idx="18533" formatCode="0.0%">
                  <c:v>0.18288339126128511</c:v>
                </c:pt>
                <c:pt idx="18534" formatCode="0.0%">
                  <c:v>0.17035864910223825</c:v>
                </c:pt>
                <c:pt idx="18535" formatCode="0.0%">
                  <c:v>0.19509325461564705</c:v>
                </c:pt>
                <c:pt idx="18536" formatCode="0.0%">
                  <c:v>0.20235305719932281</c:v>
                </c:pt>
                <c:pt idx="18537" formatCode="0.0%">
                  <c:v>0.18903588387743195</c:v>
                </c:pt>
                <c:pt idx="18538" formatCode="0.0%">
                  <c:v>0.20603988579453397</c:v>
                </c:pt>
                <c:pt idx="18539" formatCode="0.0%">
                  <c:v>0.20616107285406049</c:v>
                </c:pt>
                <c:pt idx="18540" formatCode="0.0%">
                  <c:v>0.20855628198487783</c:v>
                </c:pt>
                <c:pt idx="18541" formatCode="0.0%">
                  <c:v>0.21126369734791348</c:v>
                </c:pt>
                <c:pt idx="18542" formatCode="0.0%">
                  <c:v>0.19851181709069401</c:v>
                </c:pt>
                <c:pt idx="18543" formatCode="0.0%">
                  <c:v>0.19206899266238706</c:v>
                </c:pt>
                <c:pt idx="18544" formatCode="0.0%">
                  <c:v>0.19065456528183702</c:v>
                </c:pt>
                <c:pt idx="18545" formatCode="0.0%">
                  <c:v>0.19070322507789769</c:v>
                </c:pt>
                <c:pt idx="18546" formatCode="0.0%">
                  <c:v>0.1993557187317023</c:v>
                </c:pt>
                <c:pt idx="18547" formatCode="0.0%">
                  <c:v>0.18383363530823213</c:v>
                </c:pt>
                <c:pt idx="18548" formatCode="0.0%">
                  <c:v>0.17958318802690637</c:v>
                </c:pt>
                <c:pt idx="18549" formatCode="0.0%">
                  <c:v>0.18096438290273384</c:v>
                </c:pt>
                <c:pt idx="18550" formatCode="0.0%">
                  <c:v>0.17769920830467423</c:v>
                </c:pt>
                <c:pt idx="18551" formatCode="0.0%">
                  <c:v>0.17938596860279818</c:v>
                </c:pt>
                <c:pt idx="18552" formatCode="0.0%">
                  <c:v>0.18124381636773845</c:v>
                </c:pt>
                <c:pt idx="18553" formatCode="0.0%">
                  <c:v>0.17973050148560843</c:v>
                </c:pt>
                <c:pt idx="18554" formatCode="0.0%">
                  <c:v>0.18015568007181099</c:v>
                </c:pt>
                <c:pt idx="18555" formatCode="0.0%">
                  <c:v>0.15527010124906898</c:v>
                </c:pt>
                <c:pt idx="18556" formatCode="0.0%">
                  <c:v>0.1572433500782022</c:v>
                </c:pt>
                <c:pt idx="18557" formatCode="0.0%">
                  <c:v>0.15875228568417046</c:v>
                </c:pt>
                <c:pt idx="18558" formatCode="0.0%">
                  <c:v>0.14242118733774617</c:v>
                </c:pt>
                <c:pt idx="18559" formatCode="0.0%">
                  <c:v>0.14756486535604377</c:v>
                </c:pt>
                <c:pt idx="18560" formatCode="0.0%">
                  <c:v>0.14630609239318479</c:v>
                </c:pt>
                <c:pt idx="18561" formatCode="0.0%">
                  <c:v>0.15713425141491583</c:v>
                </c:pt>
                <c:pt idx="18562" formatCode="0.0%">
                  <c:v>0.15715206298943193</c:v>
                </c:pt>
                <c:pt idx="18563" formatCode="0.0%">
                  <c:v>0.16095178544539612</c:v>
                </c:pt>
                <c:pt idx="18564" formatCode="0.0%">
                  <c:v>0.17284455266495441</c:v>
                </c:pt>
                <c:pt idx="18565" formatCode="0.0%">
                  <c:v>0.17308754223467007</c:v>
                </c:pt>
                <c:pt idx="18566" formatCode="0.0%">
                  <c:v>0.16015093242262934</c:v>
                </c:pt>
                <c:pt idx="18567" formatCode="0.0%">
                  <c:v>0.16916858063325474</c:v>
                </c:pt>
                <c:pt idx="18568" formatCode="0.0%">
                  <c:v>0.16973578550831528</c:v>
                </c:pt>
                <c:pt idx="18569" formatCode="0.0%">
                  <c:v>0.17372742403596794</c:v>
                </c:pt>
                <c:pt idx="18570" formatCode="0.0%">
                  <c:v>0.17131372221791286</c:v>
                </c:pt>
                <c:pt idx="18571" formatCode="0.0%">
                  <c:v>0.17056174649012024</c:v>
                </c:pt>
                <c:pt idx="18572" formatCode="0.0%">
                  <c:v>0.17241253614141341</c:v>
                </c:pt>
                <c:pt idx="18573" formatCode="0.0%">
                  <c:v>0.16783640222005092</c:v>
                </c:pt>
                <c:pt idx="18574" formatCode="0.0%">
                  <c:v>0.1661434088010233</c:v>
                </c:pt>
                <c:pt idx="18575" formatCode="0.0%">
                  <c:v>0.165180306361497</c:v>
                </c:pt>
                <c:pt idx="18576" formatCode="0.0%">
                  <c:v>0.15155608395253337</c:v>
                </c:pt>
                <c:pt idx="18577" formatCode="0.0%">
                  <c:v>0.14802358789466896</c:v>
                </c:pt>
                <c:pt idx="18578" formatCode="0.0%">
                  <c:v>0.15411268953272431</c:v>
                </c:pt>
                <c:pt idx="18579" formatCode="0.0%">
                  <c:v>0.15156376609503711</c:v>
                </c:pt>
                <c:pt idx="18580" formatCode="0.0%">
                  <c:v>0.1480078683894778</c:v>
                </c:pt>
                <c:pt idx="18581" formatCode="0.0%">
                  <c:v>0.12711895424390704</c:v>
                </c:pt>
                <c:pt idx="18582" formatCode="0.0%">
                  <c:v>0.12892003546095182</c:v>
                </c:pt>
                <c:pt idx="18583" formatCode="0.0%">
                  <c:v>0.12662256065881247</c:v>
                </c:pt>
                <c:pt idx="18584" formatCode="0.0%">
                  <c:v>0.11328362553864685</c:v>
                </c:pt>
                <c:pt idx="18585" formatCode="0.0%">
                  <c:v>0.11255677475078621</c:v>
                </c:pt>
                <c:pt idx="18586" formatCode="0.0%">
                  <c:v>0.11844324201337861</c:v>
                </c:pt>
                <c:pt idx="18587" formatCode="0.0%">
                  <c:v>0.10555706004296343</c:v>
                </c:pt>
                <c:pt idx="18588" formatCode="0.0%">
                  <c:v>0.10735872250154528</c:v>
                </c:pt>
                <c:pt idx="18589" formatCode="0.0%">
                  <c:v>0.11837446741646009</c:v>
                </c:pt>
                <c:pt idx="18590" formatCode="0.0%">
                  <c:v>0.12082898603028711</c:v>
                </c:pt>
                <c:pt idx="18591" formatCode="0.0%">
                  <c:v>0.12342815671203969</c:v>
                </c:pt>
                <c:pt idx="18592" formatCode="0.0%">
                  <c:v>0.12264091404662571</c:v>
                </c:pt>
                <c:pt idx="18593" formatCode="0.0%">
                  <c:v>0.12528678683035779</c:v>
                </c:pt>
                <c:pt idx="18594" formatCode="0.0%">
                  <c:v>0.12618720335240555</c:v>
                </c:pt>
                <c:pt idx="18595" formatCode="0.0%">
                  <c:v>0.12513835911491494</c:v>
                </c:pt>
                <c:pt idx="18596" formatCode="0.0%">
                  <c:v>0.12205883281751621</c:v>
                </c:pt>
                <c:pt idx="18597" formatCode="0.0%">
                  <c:v>0.15597420846954674</c:v>
                </c:pt>
                <c:pt idx="18598" formatCode="0.0%">
                  <c:v>0.16045200925019054</c:v>
                </c:pt>
                <c:pt idx="18599" formatCode="0.0%">
                  <c:v>0.16894358013105756</c:v>
                </c:pt>
                <c:pt idx="18600" formatCode="0.0%">
                  <c:v>0.1657367948566893</c:v>
                </c:pt>
                <c:pt idx="18601" formatCode="0.0%">
                  <c:v>0.18186108484650032</c:v>
                </c:pt>
                <c:pt idx="18602" formatCode="0.0%">
                  <c:v>0.18151802858868737</c:v>
                </c:pt>
                <c:pt idx="18603" formatCode="0.0%">
                  <c:v>0.18176485264439518</c:v>
                </c:pt>
                <c:pt idx="18604" formatCode="0.0%">
                  <c:v>0.18169561430374798</c:v>
                </c:pt>
                <c:pt idx="18605" formatCode="0.0%">
                  <c:v>0.19225414120951492</c:v>
                </c:pt>
                <c:pt idx="18606" formatCode="0.0%">
                  <c:v>0.19940861280209118</c:v>
                </c:pt>
                <c:pt idx="18607" formatCode="0.0%">
                  <c:v>0.19884077445558759</c:v>
                </c:pt>
                <c:pt idx="18608" formatCode="0.0%">
                  <c:v>0.20081456844408815</c:v>
                </c:pt>
                <c:pt idx="18609" formatCode="0.0%">
                  <c:v>0.19272741357536144</c:v>
                </c:pt>
                <c:pt idx="18610" formatCode="0.0%">
                  <c:v>0.19204227225145096</c:v>
                </c:pt>
                <c:pt idx="18611" formatCode="0.0%">
                  <c:v>0.19987324362259121</c:v>
                </c:pt>
                <c:pt idx="18612" formatCode="0.0%">
                  <c:v>0.20600311950543515</c:v>
                </c:pt>
                <c:pt idx="18613" formatCode="0.0%">
                  <c:v>0.2094806583826411</c:v>
                </c:pt>
                <c:pt idx="18614" formatCode="0.0%">
                  <c:v>0.21179975673949586</c:v>
                </c:pt>
                <c:pt idx="18615" formatCode="0.0%">
                  <c:v>0.22298597618232077</c:v>
                </c:pt>
                <c:pt idx="18616" formatCode="0.0%">
                  <c:v>0.22299376893625078</c:v>
                </c:pt>
                <c:pt idx="18617" formatCode="0.0%">
                  <c:v>0.19697945882617263</c:v>
                </c:pt>
                <c:pt idx="18618" formatCode="0.0%">
                  <c:v>0.19266770330411956</c:v>
                </c:pt>
                <c:pt idx="18619" formatCode="0.0%">
                  <c:v>0.20216581856637719</c:v>
                </c:pt>
                <c:pt idx="18620" formatCode="0.0%">
                  <c:v>0.21126066680844746</c:v>
                </c:pt>
                <c:pt idx="18621" formatCode="0.0%">
                  <c:v>0.18974733987034276</c:v>
                </c:pt>
                <c:pt idx="18622" formatCode="0.0%">
                  <c:v>0.1928308198268753</c:v>
                </c:pt>
                <c:pt idx="18623" formatCode="0.0%">
                  <c:v>0.19196057488960286</c:v>
                </c:pt>
                <c:pt idx="18624" formatCode="0.0%">
                  <c:v>0.19062770259817363</c:v>
                </c:pt>
                <c:pt idx="18625" formatCode="0.0%">
                  <c:v>0.18614649853802917</c:v>
                </c:pt>
                <c:pt idx="18626" formatCode="0.0%">
                  <c:v>0.18233527159375576</c:v>
                </c:pt>
                <c:pt idx="18627" formatCode="0.0%">
                  <c:v>0.18622942284776059</c:v>
                </c:pt>
                <c:pt idx="18628" formatCode="0.0%">
                  <c:v>0.18413992321767955</c:v>
                </c:pt>
                <c:pt idx="18629" formatCode="0.0%">
                  <c:v>0.18686296086276338</c:v>
                </c:pt>
                <c:pt idx="18630" formatCode="0.0%">
                  <c:v>0.18058355916242574</c:v>
                </c:pt>
                <c:pt idx="18631" formatCode="0.0%">
                  <c:v>0.16124889174476642</c:v>
                </c:pt>
                <c:pt idx="18632" formatCode="0.0%">
                  <c:v>0.17142981082447559</c:v>
                </c:pt>
                <c:pt idx="18633" formatCode="0.0%">
                  <c:v>0.15777737966265354</c:v>
                </c:pt>
                <c:pt idx="18634" formatCode="0.0%">
                  <c:v>0.15878800601969018</c:v>
                </c:pt>
                <c:pt idx="18635" formatCode="0.0%">
                  <c:v>0.1595564289153559</c:v>
                </c:pt>
                <c:pt idx="18636" formatCode="0.0%">
                  <c:v>0.16040589987295184</c:v>
                </c:pt>
                <c:pt idx="18637" formatCode="0.0%">
                  <c:v>0.1610015320419558</c:v>
                </c:pt>
                <c:pt idx="18638" formatCode="0.0%">
                  <c:v>0.1601820539676562</c:v>
                </c:pt>
                <c:pt idx="18639" formatCode="0.0%">
                  <c:v>0.14061661323614255</c:v>
                </c:pt>
                <c:pt idx="18640" formatCode="0.0%">
                  <c:v>0.12557122168264354</c:v>
                </c:pt>
                <c:pt idx="18641" formatCode="0.0%">
                  <c:v>0.12821827524772933</c:v>
                </c:pt>
                <c:pt idx="18642" formatCode="0.0%">
                  <c:v>0.1150916614906555</c:v>
                </c:pt>
                <c:pt idx="18643" formatCode="0.0%">
                  <c:v>0.11474716184784675</c:v>
                </c:pt>
                <c:pt idx="18644" formatCode="0.0%">
                  <c:v>0.11239378268119797</c:v>
                </c:pt>
                <c:pt idx="18645" formatCode="0.0%">
                  <c:v>0.11202464454186212</c:v>
                </c:pt>
                <c:pt idx="18646" formatCode="0.0%">
                  <c:v>0.12179454867271357</c:v>
                </c:pt>
                <c:pt idx="18647" formatCode="0.0%">
                  <c:v>0.14299767193475615</c:v>
                </c:pt>
                <c:pt idx="18648" formatCode="0.0%">
                  <c:v>0.14637214400247864</c:v>
                </c:pt>
                <c:pt idx="18649" formatCode="0.0%">
                  <c:v>0.13903179021939016</c:v>
                </c:pt>
                <c:pt idx="18650" formatCode="0.0%">
                  <c:v>0.16680137532197795</c:v>
                </c:pt>
                <c:pt idx="18651" formatCode="0.0%">
                  <c:v>0.16544650665707866</c:v>
                </c:pt>
                <c:pt idx="18652" formatCode="0.0%">
                  <c:v>0.15701546862783669</c:v>
                </c:pt>
                <c:pt idx="18653" formatCode="0.0%">
                  <c:v>0.15684369510922611</c:v>
                </c:pt>
                <c:pt idx="18654" formatCode="0.0%">
                  <c:v>0.16462721173478978</c:v>
                </c:pt>
                <c:pt idx="18655" formatCode="0.0%">
                  <c:v>0.15839166462927703</c:v>
                </c:pt>
                <c:pt idx="18656" formatCode="0.0%">
                  <c:v>0.15723695560955428</c:v>
                </c:pt>
                <c:pt idx="18657" formatCode="0.0%">
                  <c:v>0.15484149836941991</c:v>
                </c:pt>
                <c:pt idx="18658" formatCode="0.0%">
                  <c:v>0.15898392033422373</c:v>
                </c:pt>
                <c:pt idx="18659" formatCode="0.0%">
                  <c:v>0.16054956068228177</c:v>
                </c:pt>
                <c:pt idx="18660" formatCode="0.0%">
                  <c:v>0.16717956144952495</c:v>
                </c:pt>
                <c:pt idx="18661" formatCode="0.0%">
                  <c:v>0.16958192499645211</c:v>
                </c:pt>
                <c:pt idx="18662" formatCode="0.0%">
                  <c:v>0.16930517622776561</c:v>
                </c:pt>
                <c:pt idx="18663" formatCode="0.0%">
                  <c:v>0.1718986305332903</c:v>
                </c:pt>
                <c:pt idx="18664" formatCode="0.0%">
                  <c:v>0.18145172548194402</c:v>
                </c:pt>
                <c:pt idx="18665" formatCode="0.0%">
                  <c:v>0.181021965182874</c:v>
                </c:pt>
                <c:pt idx="18666" formatCode="0.0%">
                  <c:v>0.22532151535714276</c:v>
                </c:pt>
                <c:pt idx="18667" formatCode="0.0%">
                  <c:v>0.21542060399950222</c:v>
                </c:pt>
                <c:pt idx="18668" formatCode="0.0%">
                  <c:v>0.21996094036828417</c:v>
                </c:pt>
                <c:pt idx="18669" formatCode="0.0%">
                  <c:v>0.23113882210923656</c:v>
                </c:pt>
                <c:pt idx="18670" formatCode="0.0%">
                  <c:v>0.22813420181367711</c:v>
                </c:pt>
                <c:pt idx="18671" formatCode="0.0%">
                  <c:v>0.22863454229825428</c:v>
                </c:pt>
                <c:pt idx="18672" formatCode="0.0%">
                  <c:v>0.23044697024245114</c:v>
                </c:pt>
                <c:pt idx="18673" formatCode="0.0%">
                  <c:v>0.23248500407838055</c:v>
                </c:pt>
                <c:pt idx="18674" formatCode="0.0%">
                  <c:v>0.23080221682128593</c:v>
                </c:pt>
                <c:pt idx="18675" formatCode="0.0%">
                  <c:v>0.23295454680141323</c:v>
                </c:pt>
                <c:pt idx="18676" formatCode="0.0%">
                  <c:v>0.23289436703648594</c:v>
                </c:pt>
                <c:pt idx="18677" formatCode="0.0%">
                  <c:v>0.23575790993968873</c:v>
                </c:pt>
                <c:pt idx="18678" formatCode="0.0%">
                  <c:v>0.23437954231223443</c:v>
                </c:pt>
                <c:pt idx="18679" formatCode="0.0%">
                  <c:v>0.23352192260156435</c:v>
                </c:pt>
                <c:pt idx="18680" formatCode="0.0%">
                  <c:v>0.23143387172139504</c:v>
                </c:pt>
                <c:pt idx="18681" formatCode="0.0%">
                  <c:v>0.22893662332780848</c:v>
                </c:pt>
                <c:pt idx="18682" formatCode="0.0%">
                  <c:v>0.22921981427518937</c:v>
                </c:pt>
                <c:pt idx="18683" formatCode="0.0%">
                  <c:v>0.24295843869661013</c:v>
                </c:pt>
                <c:pt idx="18684" formatCode="0.0%">
                  <c:v>0.23349538258721383</c:v>
                </c:pt>
                <c:pt idx="18685" formatCode="0.0%">
                  <c:v>0.23561648563121362</c:v>
                </c:pt>
                <c:pt idx="18686" formatCode="0.0%">
                  <c:v>0.20177389919914451</c:v>
                </c:pt>
                <c:pt idx="18687" formatCode="0.0%">
                  <c:v>0.19688093759445249</c:v>
                </c:pt>
                <c:pt idx="18688" formatCode="0.0%">
                  <c:v>0.18966280207874267</c:v>
                </c:pt>
                <c:pt idx="18689" formatCode="0.0%">
                  <c:v>0.18253066193980907</c:v>
                </c:pt>
                <c:pt idx="18690" formatCode="0.0%">
                  <c:v>0.16379737897252414</c:v>
                </c:pt>
                <c:pt idx="18691" formatCode="0.0%">
                  <c:v>0.16550243512035898</c:v>
                </c:pt>
                <c:pt idx="18692" formatCode="0.0%">
                  <c:v>0.16103914577727832</c:v>
                </c:pt>
                <c:pt idx="18693" formatCode="0.0%">
                  <c:v>0.19458950211025317</c:v>
                </c:pt>
                <c:pt idx="18694" formatCode="0.0%">
                  <c:v>0.19134824966240885</c:v>
                </c:pt>
                <c:pt idx="18695" formatCode="0.0%">
                  <c:v>0.1956458954743725</c:v>
                </c:pt>
                <c:pt idx="18696" formatCode="0.0%">
                  <c:v>0.19641688036560825</c:v>
                </c:pt>
                <c:pt idx="18697" formatCode="0.0%">
                  <c:v>0.19462482051881916</c:v>
                </c:pt>
                <c:pt idx="18698" formatCode="0.0%">
                  <c:v>0.19517278220926523</c:v>
                </c:pt>
                <c:pt idx="18699" formatCode="0.0%">
                  <c:v>0.1996747598035378</c:v>
                </c:pt>
                <c:pt idx="18700" formatCode="0.0%">
                  <c:v>0.19971308867285628</c:v>
                </c:pt>
                <c:pt idx="18701" formatCode="0.0%">
                  <c:v>0.2145038831150734</c:v>
                </c:pt>
                <c:pt idx="18702" formatCode="0.0%">
                  <c:v>0.21363593938676825</c:v>
                </c:pt>
                <c:pt idx="18703" formatCode="0.0%">
                  <c:v>0.20931716418456292</c:v>
                </c:pt>
                <c:pt idx="18704" formatCode="0.0%">
                  <c:v>0.21810765028469081</c:v>
                </c:pt>
                <c:pt idx="18705" formatCode="0.0%">
                  <c:v>0.21615962419881091</c:v>
                </c:pt>
                <c:pt idx="18706" formatCode="0.0%">
                  <c:v>0.25245728040408505</c:v>
                </c:pt>
                <c:pt idx="18707" formatCode="0.0%">
                  <c:v>0.2550602194508485</c:v>
                </c:pt>
                <c:pt idx="18708" formatCode="0.0%">
                  <c:v>0.26613340882917319</c:v>
                </c:pt>
                <c:pt idx="18709" formatCode="0.0%">
                  <c:v>0.28437338539472179</c:v>
                </c:pt>
                <c:pt idx="18710" formatCode="0.0%">
                  <c:v>0.28487894568333361</c:v>
                </c:pt>
                <c:pt idx="18711" formatCode="0.0%">
                  <c:v>0.28415069163227941</c:v>
                </c:pt>
                <c:pt idx="18712" formatCode="0.0%">
                  <c:v>0.28403888232046159</c:v>
                </c:pt>
                <c:pt idx="18713" formatCode="0.0%">
                  <c:v>0.25964661283019025</c:v>
                </c:pt>
                <c:pt idx="18714" formatCode="0.0%">
                  <c:v>0.26200265926570254</c:v>
                </c:pt>
                <c:pt idx="18715" formatCode="0.0%">
                  <c:v>0.27002120659615469</c:v>
                </c:pt>
                <c:pt idx="18716" formatCode="0.0%">
                  <c:v>0.29219439219044113</c:v>
                </c:pt>
                <c:pt idx="18717" formatCode="0.0%">
                  <c:v>0.30404438195961564</c:v>
                </c:pt>
                <c:pt idx="18718" formatCode="0.0%">
                  <c:v>0.30637135642285407</c:v>
                </c:pt>
                <c:pt idx="18719" formatCode="0.0%">
                  <c:v>0.38582107856163989</c:v>
                </c:pt>
                <c:pt idx="18720" formatCode="0.0%">
                  <c:v>0.38549301372986661</c:v>
                </c:pt>
                <c:pt idx="18721" formatCode="0.0%">
                  <c:v>0.38491825342207742</c:v>
                </c:pt>
                <c:pt idx="18722" formatCode="0.0%">
                  <c:v>0.44008202097537369</c:v>
                </c:pt>
                <c:pt idx="18723" formatCode="0.0%">
                  <c:v>0.43654865804806109</c:v>
                </c:pt>
                <c:pt idx="18724" formatCode="0.0%">
                  <c:v>0.43358743181992726</c:v>
                </c:pt>
                <c:pt idx="18725" formatCode="0.0%">
                  <c:v>0.44349239592622863</c:v>
                </c:pt>
                <c:pt idx="18726" formatCode="0.0%">
                  <c:v>0.42234215611083653</c:v>
                </c:pt>
                <c:pt idx="18727" formatCode="0.0%">
                  <c:v>0.43375432505969203</c:v>
                </c:pt>
                <c:pt idx="18728" formatCode="0.0%">
                  <c:v>0.44808181359329485</c:v>
                </c:pt>
                <c:pt idx="18729" formatCode="0.0%">
                  <c:v>0.44228549337324663</c:v>
                </c:pt>
                <c:pt idx="18730" formatCode="0.0%">
                  <c:v>0.45805778189033025</c:v>
                </c:pt>
                <c:pt idx="18731" formatCode="0.0%">
                  <c:v>0.45790306479014242</c:v>
                </c:pt>
                <c:pt idx="18732" formatCode="0.0%">
                  <c:v>0.45807748838538048</c:v>
                </c:pt>
                <c:pt idx="18733" formatCode="0.0%">
                  <c:v>0.45995492427526891</c:v>
                </c:pt>
                <c:pt idx="18734" formatCode="0.0%">
                  <c:v>0.48134457522697249</c:v>
                </c:pt>
                <c:pt idx="18735" formatCode="0.0%">
                  <c:v>0.47087592450738924</c:v>
                </c:pt>
                <c:pt idx="18736" formatCode="0.0%">
                  <c:v>0.44483566054833634</c:v>
                </c:pt>
                <c:pt idx="18737" formatCode="0.0%">
                  <c:v>0.42571156172163227</c:v>
                </c:pt>
                <c:pt idx="18738" formatCode="0.0%">
                  <c:v>0.41373576066293188</c:v>
                </c:pt>
                <c:pt idx="18739" formatCode="0.0%">
                  <c:v>0.37429182848215325</c:v>
                </c:pt>
                <c:pt idx="18740" formatCode="0.0%">
                  <c:v>0.37272883270482476</c:v>
                </c:pt>
                <c:pt idx="18741" formatCode="0.0%">
                  <c:v>0.3852380522800703</c:v>
                </c:pt>
                <c:pt idx="18742" formatCode="0.0%">
                  <c:v>0.34190290865592654</c:v>
                </c:pt>
                <c:pt idx="18743" formatCode="0.0%">
                  <c:v>0.34684291958660007</c:v>
                </c:pt>
                <c:pt idx="18744" formatCode="0.0%">
                  <c:v>0.35250121393543443</c:v>
                </c:pt>
                <c:pt idx="18745" formatCode="0.0%">
                  <c:v>0.33382419238362593</c:v>
                </c:pt>
                <c:pt idx="18746" formatCode="0.0%">
                  <c:v>0.32078032526716277</c:v>
                </c:pt>
                <c:pt idx="18747" formatCode="0.0%">
                  <c:v>0.33340867355332082</c:v>
                </c:pt>
                <c:pt idx="18748" formatCode="0.0%">
                  <c:v>0.32304266335162546</c:v>
                </c:pt>
                <c:pt idx="18749" formatCode="0.0%">
                  <c:v>0.32181972036396073</c:v>
                </c:pt>
                <c:pt idx="18750" formatCode="0.0%">
                  <c:v>0.30560577191162797</c:v>
                </c:pt>
                <c:pt idx="18751" formatCode="0.0%">
                  <c:v>0.30766492201230544</c:v>
                </c:pt>
                <c:pt idx="18752" formatCode="0.0%">
                  <c:v>0.3081983182439581</c:v>
                </c:pt>
                <c:pt idx="18753" formatCode="0.0%">
                  <c:v>0.29684861812785163</c:v>
                </c:pt>
                <c:pt idx="18754" formatCode="0.0%">
                  <c:v>0.27509789314310479</c:v>
                </c:pt>
                <c:pt idx="18755" formatCode="0.0%">
                  <c:v>0.27134512001141514</c:v>
                </c:pt>
                <c:pt idx="18756" formatCode="0.0%">
                  <c:v>0.27165329276171535</c:v>
                </c:pt>
                <c:pt idx="18757" formatCode="0.0%">
                  <c:v>0.26116159656528742</c:v>
                </c:pt>
                <c:pt idx="18758" formatCode="0.0%">
                  <c:v>0.25858058601466888</c:v>
                </c:pt>
                <c:pt idx="18759" formatCode="0.0%">
                  <c:v>0.2674994015989634</c:v>
                </c:pt>
                <c:pt idx="18760" formatCode="0.0%">
                  <c:v>0.25914972991006652</c:v>
                </c:pt>
                <c:pt idx="18761" formatCode="0.0%">
                  <c:v>0.25347004994917072</c:v>
                </c:pt>
                <c:pt idx="18762" formatCode="0.0%">
                  <c:v>0.25123414484220741</c:v>
                </c:pt>
                <c:pt idx="18763" formatCode="0.0%">
                  <c:v>0.27386892073123975</c:v>
                </c:pt>
                <c:pt idx="18764" formatCode="0.0%">
                  <c:v>0.28139229910451996</c:v>
                </c:pt>
                <c:pt idx="18765" formatCode="0.0%">
                  <c:v>0.29941902582771374</c:v>
                </c:pt>
                <c:pt idx="18766" formatCode="0.0%">
                  <c:v>0.30100449942800406</c:v>
                </c:pt>
                <c:pt idx="18767" formatCode="0.0%">
                  <c:v>0.30880611848451689</c:v>
                </c:pt>
                <c:pt idx="18768" formatCode="0.0%">
                  <c:v>0.30963939241492427</c:v>
                </c:pt>
                <c:pt idx="18769" formatCode="0.0%">
                  <c:v>0.30744315485113477</c:v>
                </c:pt>
                <c:pt idx="18770" formatCode="0.0%">
                  <c:v>0.30485655895072344</c:v>
                </c:pt>
                <c:pt idx="18771" formatCode="0.0%">
                  <c:v>0.30276635268418883</c:v>
                </c:pt>
                <c:pt idx="18772" formatCode="0.0%">
                  <c:v>0.31044406578447481</c:v>
                </c:pt>
                <c:pt idx="18773" formatCode="0.0%">
                  <c:v>0.31823320822903195</c:v>
                </c:pt>
                <c:pt idx="18774" formatCode="0.0%">
                  <c:v>0.34449726304040273</c:v>
                </c:pt>
                <c:pt idx="18775" formatCode="0.0%">
                  <c:v>0.37651088218496143</c:v>
                </c:pt>
                <c:pt idx="18776" formatCode="0.0%">
                  <c:v>0.37803051591582293</c:v>
                </c:pt>
                <c:pt idx="18777" formatCode="0.0%">
                  <c:v>0.41004864412979247</c:v>
                </c:pt>
                <c:pt idx="18778" formatCode="0.0%">
                  <c:v>0.41919749316849025</c:v>
                </c:pt>
                <c:pt idx="18779" formatCode="0.0%">
                  <c:v>0.41078930879963221</c:v>
                </c:pt>
                <c:pt idx="18780" formatCode="0.0%">
                  <c:v>0.41101095205037275</c:v>
                </c:pt>
                <c:pt idx="18781" formatCode="0.0%">
                  <c:v>0.40960082149205268</c:v>
                </c:pt>
                <c:pt idx="18782" formatCode="0.0%">
                  <c:v>0.40563719472215154</c:v>
                </c:pt>
                <c:pt idx="18783" formatCode="0.0%">
                  <c:v>0.3986107686188769</c:v>
                </c:pt>
                <c:pt idx="18784" formatCode="0.0%">
                  <c:v>0.39979350542182218</c:v>
                </c:pt>
                <c:pt idx="18785" formatCode="0.0%">
                  <c:v>0.38167463823574627</c:v>
                </c:pt>
                <c:pt idx="18786" formatCode="0.0%">
                  <c:v>0.37814518531715524</c:v>
                </c:pt>
                <c:pt idx="18787" formatCode="0.0%">
                  <c:v>0.35743704741091226</c:v>
                </c:pt>
                <c:pt idx="18788" formatCode="0.0%">
                  <c:v>0.34486988730266854</c:v>
                </c:pt>
                <c:pt idx="18789" formatCode="0.0%">
                  <c:v>0.34240801385503533</c:v>
                </c:pt>
                <c:pt idx="18790" formatCode="0.0%">
                  <c:v>0.33027556101503219</c:v>
                </c:pt>
                <c:pt idx="18791" formatCode="0.0%">
                  <c:v>0.31658396973377045</c:v>
                </c:pt>
                <c:pt idx="18792" formatCode="0.0%">
                  <c:v>0.31461473006798701</c:v>
                </c:pt>
                <c:pt idx="18793" formatCode="0.0%">
                  <c:v>0.28700822672025877</c:v>
                </c:pt>
                <c:pt idx="18794" formatCode="0.0%">
                  <c:v>0.29123664213248474</c:v>
                </c:pt>
                <c:pt idx="18795" formatCode="0.0%">
                  <c:v>0.26859235885752347</c:v>
                </c:pt>
                <c:pt idx="18796" formatCode="0.0%">
                  <c:v>0.28160605825773988</c:v>
                </c:pt>
                <c:pt idx="18797" formatCode="0.0%">
                  <c:v>0.22978061352751372</c:v>
                </c:pt>
                <c:pt idx="18798" formatCode="0.0%">
                  <c:v>0.21085551446432216</c:v>
                </c:pt>
                <c:pt idx="18799" formatCode="0.0%">
                  <c:v>0.21396369959967504</c:v>
                </c:pt>
                <c:pt idx="18800" formatCode="0.0%">
                  <c:v>0.21403321309008647</c:v>
                </c:pt>
                <c:pt idx="18801" formatCode="0.0%">
                  <c:v>0.20947098870740599</c:v>
                </c:pt>
                <c:pt idx="18802" formatCode="0.0%">
                  <c:v>0.20626252020124775</c:v>
                </c:pt>
                <c:pt idx="18803" formatCode="0.0%">
                  <c:v>0.2159329122085534</c:v>
                </c:pt>
                <c:pt idx="18804" formatCode="0.0%">
                  <c:v>0.21824377343941218</c:v>
                </c:pt>
                <c:pt idx="18805" formatCode="0.0%">
                  <c:v>0.21260214971641753</c:v>
                </c:pt>
                <c:pt idx="18806" formatCode="0.0%">
                  <c:v>0.20922668733582708</c:v>
                </c:pt>
                <c:pt idx="18807" formatCode="0.0%">
                  <c:v>0.22200907953038346</c:v>
                </c:pt>
                <c:pt idx="18808" formatCode="0.0%">
                  <c:v>0.23898956074709266</c:v>
                </c:pt>
                <c:pt idx="18809" formatCode="0.0%">
                  <c:v>0.23790564970838574</c:v>
                </c:pt>
                <c:pt idx="18810" formatCode="0.0%">
                  <c:v>0.23229853320612304</c:v>
                </c:pt>
                <c:pt idx="18811" formatCode="0.0%">
                  <c:v>0.23826455999574239</c:v>
                </c:pt>
                <c:pt idx="18812" formatCode="0.0%">
                  <c:v>0.23718423962493212</c:v>
                </c:pt>
                <c:pt idx="18813" formatCode="0.0%">
                  <c:v>0.23845975489444518</c:v>
                </c:pt>
                <c:pt idx="18814" formatCode="0.0%">
                  <c:v>0.22461761846757453</c:v>
                </c:pt>
                <c:pt idx="18815" formatCode="0.0%">
                  <c:v>0.23698869733248859</c:v>
                </c:pt>
                <c:pt idx="18816" formatCode="0.0%">
                  <c:v>0.22853544807113521</c:v>
                </c:pt>
                <c:pt idx="18817" formatCode="0.0%">
                  <c:v>0.22741029785243683</c:v>
                </c:pt>
                <c:pt idx="18818" formatCode="0.0%">
                  <c:v>0.22802703863305135</c:v>
                </c:pt>
                <c:pt idx="18819" formatCode="0.0%">
                  <c:v>0.21607794332012553</c:v>
                </c:pt>
                <c:pt idx="18820" formatCode="0.0%">
                  <c:v>0.23138529104185182</c:v>
                </c:pt>
                <c:pt idx="18821" formatCode="0.0%">
                  <c:v>0.23014698095793695</c:v>
                </c:pt>
                <c:pt idx="18822" formatCode="0.0%">
                  <c:v>0.23463614293795185</c:v>
                </c:pt>
                <c:pt idx="18823" formatCode="0.0%">
                  <c:v>0.22413702674115712</c:v>
                </c:pt>
                <c:pt idx="18824" formatCode="0.0%">
                  <c:v>0.21462763282369643</c:v>
                </c:pt>
                <c:pt idx="18825" formatCode="0.0%">
                  <c:v>0.21499589909131908</c:v>
                </c:pt>
                <c:pt idx="18826" formatCode="0.0%">
                  <c:v>0.21473871808687164</c:v>
                </c:pt>
                <c:pt idx="18827" formatCode="0.0%">
                  <c:v>0.20279781207803177</c:v>
                </c:pt>
                <c:pt idx="18828" formatCode="0.0%">
                  <c:v>0.17802443334923571</c:v>
                </c:pt>
                <c:pt idx="18829" formatCode="0.0%">
                  <c:v>0.18030153649967287</c:v>
                </c:pt>
                <c:pt idx="18830" formatCode="0.0%">
                  <c:v>0.18071787250544216</c:v>
                </c:pt>
                <c:pt idx="18831" formatCode="0.0%">
                  <c:v>0.21490651762366239</c:v>
                </c:pt>
                <c:pt idx="18832" formatCode="0.0%">
                  <c:v>0.21464820747361577</c:v>
                </c:pt>
                <c:pt idx="18833" formatCode="0.0%">
                  <c:v>0.22440180638846069</c:v>
                </c:pt>
                <c:pt idx="18834" formatCode="0.0%">
                  <c:v>0.22520565565574796</c:v>
                </c:pt>
                <c:pt idx="18835" formatCode="0.0%">
                  <c:v>0.21573994533788757</c:v>
                </c:pt>
                <c:pt idx="18836" formatCode="0.0%">
                  <c:v>0.22074976293933657</c:v>
                </c:pt>
                <c:pt idx="18837" formatCode="0.0%">
                  <c:v>0.22078330325607681</c:v>
                </c:pt>
                <c:pt idx="18838" formatCode="0.0%">
                  <c:v>0.22024469695286877</c:v>
                </c:pt>
                <c:pt idx="18839" formatCode="0.0%">
                  <c:v>0.2135187562925463</c:v>
                </c:pt>
                <c:pt idx="18840" formatCode="0.0%">
                  <c:v>0.20639282466125641</c:v>
                </c:pt>
                <c:pt idx="18841" formatCode="0.0%">
                  <c:v>0.20459563748694171</c:v>
                </c:pt>
                <c:pt idx="18842" formatCode="0.0%">
                  <c:v>0.20541282344166245</c:v>
                </c:pt>
                <c:pt idx="18843" formatCode="0.0%">
                  <c:v>0.21167540557940825</c:v>
                </c:pt>
                <c:pt idx="18844" formatCode="0.0%">
                  <c:v>0.20929737598895939</c:v>
                </c:pt>
                <c:pt idx="18845" formatCode="0.0%">
                  <c:v>0.21284909775443239</c:v>
                </c:pt>
                <c:pt idx="18846" formatCode="0.0%">
                  <c:v>0.236287731910657</c:v>
                </c:pt>
                <c:pt idx="18847" formatCode="0.0%">
                  <c:v>0.24184372686037472</c:v>
                </c:pt>
                <c:pt idx="18848" formatCode="0.0%">
                  <c:v>0.2420102444829344</c:v>
                </c:pt>
                <c:pt idx="18849" formatCode="0.0%">
                  <c:v>0.24280402526286834</c:v>
                </c:pt>
                <c:pt idx="18850" formatCode="0.0%">
                  <c:v>0.25520120392018669</c:v>
                </c:pt>
                <c:pt idx="18851" formatCode="0.0%">
                  <c:v>0.22785680226568333</c:v>
                </c:pt>
                <c:pt idx="18852" formatCode="0.0%">
                  <c:v>0.22966913628754293</c:v>
                </c:pt>
                <c:pt idx="18853" formatCode="0.0%">
                  <c:v>0.21295617307274886</c:v>
                </c:pt>
                <c:pt idx="18854" formatCode="0.0%">
                  <c:v>0.21285285744971413</c:v>
                </c:pt>
                <c:pt idx="18855" formatCode="0.0%">
                  <c:v>0.20993543072701742</c:v>
                </c:pt>
                <c:pt idx="18856" formatCode="0.0%">
                  <c:v>0.19176007536810197</c:v>
                </c:pt>
                <c:pt idx="18857" formatCode="0.0%">
                  <c:v>0.1964822063386843</c:v>
                </c:pt>
                <c:pt idx="18858" formatCode="0.0%">
                  <c:v>0.19621246261172401</c:v>
                </c:pt>
                <c:pt idx="18859" formatCode="0.0%">
                  <c:v>0.19301928609022181</c:v>
                </c:pt>
                <c:pt idx="18860" formatCode="0.0%">
                  <c:v>0.19130078571041934</c:v>
                </c:pt>
                <c:pt idx="18861" formatCode="0.0%">
                  <c:v>0.21404914526682331</c:v>
                </c:pt>
                <c:pt idx="18862" formatCode="0.0%">
                  <c:v>0.22676517433056925</c:v>
                </c:pt>
                <c:pt idx="18863" formatCode="0.0%">
                  <c:v>0.2222373288023842</c:v>
                </c:pt>
                <c:pt idx="18864" formatCode="0.0%">
                  <c:v>0.22181112288604146</c:v>
                </c:pt>
                <c:pt idx="18865" formatCode="0.0%">
                  <c:v>0.22427774923352425</c:v>
                </c:pt>
                <c:pt idx="18866" formatCode="0.0%">
                  <c:v>0.20922218692168951</c:v>
                </c:pt>
                <c:pt idx="18867" formatCode="0.0%">
                  <c:v>0.20403206550229683</c:v>
                </c:pt>
                <c:pt idx="18868" formatCode="0.0%">
                  <c:v>0.20223267706700621</c:v>
                </c:pt>
                <c:pt idx="18869" formatCode="0.0%">
                  <c:v>0.20574072223571396</c:v>
                </c:pt>
                <c:pt idx="18870" formatCode="0.0%">
                  <c:v>0.19022584160388079</c:v>
                </c:pt>
                <c:pt idx="18871" formatCode="0.0%">
                  <c:v>0.18518688996956442</c:v>
                </c:pt>
                <c:pt idx="18872" formatCode="0.0%">
                  <c:v>0.19003635729114293</c:v>
                </c:pt>
                <c:pt idx="18873" formatCode="0.0%">
                  <c:v>0.18895889250662712</c:v>
                </c:pt>
                <c:pt idx="18874" formatCode="0.0%">
                  <c:v>0.19066950732868068</c:v>
                </c:pt>
                <c:pt idx="18875" formatCode="0.0%">
                  <c:v>0.19250147794233338</c:v>
                </c:pt>
                <c:pt idx="18876" formatCode="0.0%">
                  <c:v>0.21063790249106593</c:v>
                </c:pt>
                <c:pt idx="18877" formatCode="0.0%">
                  <c:v>0.20930104813859707</c:v>
                </c:pt>
                <c:pt idx="18878" formatCode="0.0%">
                  <c:v>0.20924787184046373</c:v>
                </c:pt>
                <c:pt idx="18879" formatCode="0.0%">
                  <c:v>0.23936474277730443</c:v>
                </c:pt>
                <c:pt idx="18880" formatCode="0.0%">
                  <c:v>0.23920995392172048</c:v>
                </c:pt>
                <c:pt idx="18881" formatCode="0.0%">
                  <c:v>0.25857341285942603</c:v>
                </c:pt>
                <c:pt idx="18882" formatCode="0.0%">
                  <c:v>0.25031581526049917</c:v>
                </c:pt>
                <c:pt idx="18883" formatCode="0.0%">
                  <c:v>0.24989935265227117</c:v>
                </c:pt>
                <c:pt idx="18884" formatCode="0.0%">
                  <c:v>0.24635671923713348</c:v>
                </c:pt>
                <c:pt idx="18885" formatCode="0.0%">
                  <c:v>0.2541923529335996</c:v>
                </c:pt>
                <c:pt idx="18886" formatCode="0.0%">
                  <c:v>0.27958363069016606</c:v>
                </c:pt>
                <c:pt idx="18887" formatCode="0.0%">
                  <c:v>0.28136075247106535</c:v>
                </c:pt>
                <c:pt idx="18888" formatCode="0.0%">
                  <c:v>0.27707349019651623</c:v>
                </c:pt>
                <c:pt idx="18889" formatCode="0.0%">
                  <c:v>0.27524386733642331</c:v>
                </c:pt>
                <c:pt idx="18890" formatCode="0.0%">
                  <c:v>0.27632707782853905</c:v>
                </c:pt>
                <c:pt idx="18891" formatCode="0.0%">
                  <c:v>0.2830833970763208</c:v>
                </c:pt>
                <c:pt idx="18892" formatCode="0.0%">
                  <c:v>0.27894143514103548</c:v>
                </c:pt>
                <c:pt idx="18893" formatCode="0.0%">
                  <c:v>0.29036191774123682</c:v>
                </c:pt>
                <c:pt idx="18894" formatCode="0.0%">
                  <c:v>0.28831969314670869</c:v>
                </c:pt>
                <c:pt idx="18895" formatCode="0.0%">
                  <c:v>0.28770869783518005</c:v>
                </c:pt>
                <c:pt idx="18896" formatCode="0.0%">
                  <c:v>0.26662494825782762</c:v>
                </c:pt>
                <c:pt idx="18897" formatCode="0.0%">
                  <c:v>0.26349208608503677</c:v>
                </c:pt>
                <c:pt idx="18898" formatCode="0.0%">
                  <c:v>0.27175884344739287</c:v>
                </c:pt>
                <c:pt idx="18899" formatCode="0.0%">
                  <c:v>0.24774207085256675</c:v>
                </c:pt>
                <c:pt idx="18900" formatCode="0.0%">
                  <c:v>0.24868457550608333</c:v>
                </c:pt>
                <c:pt idx="18901" formatCode="0.0%">
                  <c:v>0.22672059101593026</c:v>
                </c:pt>
                <c:pt idx="18902" formatCode="0.0%">
                  <c:v>0.22719073902246328</c:v>
                </c:pt>
                <c:pt idx="18903" formatCode="0.0%">
                  <c:v>0.23043927249113916</c:v>
                </c:pt>
                <c:pt idx="18904" formatCode="0.0%">
                  <c:v>0.23656981352966763</c:v>
                </c:pt>
                <c:pt idx="18905" formatCode="0.0%">
                  <c:v>0.22231024086703868</c:v>
                </c:pt>
                <c:pt idx="18906" formatCode="0.0%">
                  <c:v>0.19135181939557599</c:v>
                </c:pt>
                <c:pt idx="18907" formatCode="0.0%">
                  <c:v>0.18936141361992603</c:v>
                </c:pt>
                <c:pt idx="18908" formatCode="0.0%">
                  <c:v>0.19117622488666172</c:v>
                </c:pt>
                <c:pt idx="18909" formatCode="0.0%">
                  <c:v>0.19937505034323283</c:v>
                </c:pt>
                <c:pt idx="18910" formatCode="0.0%">
                  <c:v>0.2049796790654895</c:v>
                </c:pt>
                <c:pt idx="18911" formatCode="0.0%">
                  <c:v>0.18970850080713914</c:v>
                </c:pt>
                <c:pt idx="18912" formatCode="0.0%">
                  <c:v>0.18795082115966896</c:v>
                </c:pt>
                <c:pt idx="18913" formatCode="0.0%">
                  <c:v>0.1684132666094009</c:v>
                </c:pt>
                <c:pt idx="18914" formatCode="0.0%">
                  <c:v>0.17224486133359254</c:v>
                </c:pt>
                <c:pt idx="18915" formatCode="0.0%">
                  <c:v>0.17391806588237133</c:v>
                </c:pt>
                <c:pt idx="18916" formatCode="0.0%">
                  <c:v>0.17501482945934307</c:v>
                </c:pt>
                <c:pt idx="18917" formatCode="0.0%">
                  <c:v>0.17658846017544746</c:v>
                </c:pt>
                <c:pt idx="18918" formatCode="0.0%">
                  <c:v>0.1720149790478967</c:v>
                </c:pt>
                <c:pt idx="18919" formatCode="0.0%">
                  <c:v>0.1761869615554241</c:v>
                </c:pt>
                <c:pt idx="18920" formatCode="0.0%">
                  <c:v>0.1768096820848129</c:v>
                </c:pt>
                <c:pt idx="18921" formatCode="0.0%">
                  <c:v>0.16914459702706983</c:v>
                </c:pt>
                <c:pt idx="18922" formatCode="0.0%">
                  <c:v>0.17014637029397933</c:v>
                </c:pt>
                <c:pt idx="18923" formatCode="0.0%">
                  <c:v>0.16145882599979261</c:v>
                </c:pt>
                <c:pt idx="18924" formatCode="0.0%">
                  <c:v>0.15660638989077508</c:v>
                </c:pt>
                <c:pt idx="18925" formatCode="0.0%">
                  <c:v>0.18515710366036328</c:v>
                </c:pt>
                <c:pt idx="18926" formatCode="0.0%">
                  <c:v>0.16969934140544154</c:v>
                </c:pt>
                <c:pt idx="18927" formatCode="0.0%">
                  <c:v>0.1677019690090357</c:v>
                </c:pt>
                <c:pt idx="18928" formatCode="0.0%">
                  <c:v>0.16733569295819145</c:v>
                </c:pt>
                <c:pt idx="18929" formatCode="0.0%">
                  <c:v>0.15760936153807234</c:v>
                </c:pt>
                <c:pt idx="18930" formatCode="0.0%">
                  <c:v>0.15996768414747767</c:v>
                </c:pt>
                <c:pt idx="18931" formatCode="0.0%">
                  <c:v>0.15989291093686314</c:v>
                </c:pt>
                <c:pt idx="18932" formatCode="0.0%">
                  <c:v>0.16085268849258702</c:v>
                </c:pt>
                <c:pt idx="18933" formatCode="0.0%">
                  <c:v>0.16680541765396667</c:v>
                </c:pt>
                <c:pt idx="18934" formatCode="0.0%">
                  <c:v>0.1603396353987763</c:v>
                </c:pt>
                <c:pt idx="18935" formatCode="0.0%">
                  <c:v>0.15913309988799387</c:v>
                </c:pt>
                <c:pt idx="18936" formatCode="0.0%">
                  <c:v>0.16408104244596719</c:v>
                </c:pt>
                <c:pt idx="18937" formatCode="0.0%">
                  <c:v>0.16148677661505934</c:v>
                </c:pt>
                <c:pt idx="18938" formatCode="0.0%">
                  <c:v>0.15529269959210507</c:v>
                </c:pt>
                <c:pt idx="18939" formatCode="0.0%">
                  <c:v>0.15931437250964453</c:v>
                </c:pt>
                <c:pt idx="18940" formatCode="0.0%">
                  <c:v>0.15687576824334992</c:v>
                </c:pt>
                <c:pt idx="18941" formatCode="0.0%">
                  <c:v>0.16008206717614454</c:v>
                </c:pt>
                <c:pt idx="18942" formatCode="0.0%">
                  <c:v>0.15865560280323743</c:v>
                </c:pt>
                <c:pt idx="18943" formatCode="0.0%">
                  <c:v>0.16403499651466216</c:v>
                </c:pt>
                <c:pt idx="18944" formatCode="0.0%">
                  <c:v>0.17749543738832799</c:v>
                </c:pt>
                <c:pt idx="18945" formatCode="0.0%">
                  <c:v>0.14233608021796063</c:v>
                </c:pt>
                <c:pt idx="18946" formatCode="0.0%">
                  <c:v>0.14257386231749153</c:v>
                </c:pt>
                <c:pt idx="18947" formatCode="0.0%">
                  <c:v>0.15936988082078329</c:v>
                </c:pt>
                <c:pt idx="18948" formatCode="0.0%">
                  <c:v>0.15832856313725946</c:v>
                </c:pt>
                <c:pt idx="18949" formatCode="0.0%">
                  <c:v>0.17009396151268641</c:v>
                </c:pt>
                <c:pt idx="18950" formatCode="0.0%">
                  <c:v>0.15801662674505881</c:v>
                </c:pt>
                <c:pt idx="18951" formatCode="0.0%">
                  <c:v>0.16191001704445909</c:v>
                </c:pt>
                <c:pt idx="18952" formatCode="0.0%">
                  <c:v>0.16422275307243381</c:v>
                </c:pt>
                <c:pt idx="18953" formatCode="0.0%">
                  <c:v>0.16196710283876944</c:v>
                </c:pt>
                <c:pt idx="18954" formatCode="0.0%">
                  <c:v>0.16180835217722975</c:v>
                </c:pt>
                <c:pt idx="18955" formatCode="0.0%">
                  <c:v>0.16338544702266503</c:v>
                </c:pt>
                <c:pt idx="18956" formatCode="0.0%">
                  <c:v>0.15977864306980061</c:v>
                </c:pt>
                <c:pt idx="18957" formatCode="0.0%">
                  <c:v>0.16194082939162621</c:v>
                </c:pt>
                <c:pt idx="18958" formatCode="0.0%">
                  <c:v>0.17512952931017667</c:v>
                </c:pt>
                <c:pt idx="18959" formatCode="0.0%">
                  <c:v>0.16851456178013569</c:v>
                </c:pt>
                <c:pt idx="18960" formatCode="0.0%">
                  <c:v>0.16793337936549121</c:v>
                </c:pt>
                <c:pt idx="18961" formatCode="0.0%">
                  <c:v>0.16922897142544296</c:v>
                </c:pt>
                <c:pt idx="18962" formatCode="0.0%">
                  <c:v>0.17284014975194037</c:v>
                </c:pt>
                <c:pt idx="18963" formatCode="0.0%">
                  <c:v>0.16980766724007906</c:v>
                </c:pt>
                <c:pt idx="18964" formatCode="0.0%">
                  <c:v>0.15025400085729179</c:v>
                </c:pt>
                <c:pt idx="18965" formatCode="0.0%">
                  <c:v>0.15158889296639469</c:v>
                </c:pt>
                <c:pt idx="18966" formatCode="0.0%">
                  <c:v>0.15703901588870034</c:v>
                </c:pt>
                <c:pt idx="18967" formatCode="0.0%">
                  <c:v>0.1545905094233814</c:v>
                </c:pt>
                <c:pt idx="18968" formatCode="0.0%">
                  <c:v>0.16299776349411232</c:v>
                </c:pt>
                <c:pt idx="18969" formatCode="0.0%">
                  <c:v>0.15888276677945737</c:v>
                </c:pt>
                <c:pt idx="18970" formatCode="0.0%">
                  <c:v>0.15878469000544715</c:v>
                </c:pt>
                <c:pt idx="18971" formatCode="0.0%">
                  <c:v>0.15799075782818645</c:v>
                </c:pt>
                <c:pt idx="18972" formatCode="0.0%">
                  <c:v>0.16523631441860337</c:v>
                </c:pt>
                <c:pt idx="18973" formatCode="0.0%">
                  <c:v>0.1610142879589232</c:v>
                </c:pt>
                <c:pt idx="18974" formatCode="0.0%">
                  <c:v>0.16346315758963051</c:v>
                </c:pt>
                <c:pt idx="18975" formatCode="0.0%">
                  <c:v>0.16139524054799206</c:v>
                </c:pt>
                <c:pt idx="18976" formatCode="0.0%">
                  <c:v>0.15617795277048174</c:v>
                </c:pt>
                <c:pt idx="18977" formatCode="0.0%">
                  <c:v>0.15783355114167316</c:v>
                </c:pt>
                <c:pt idx="18978" formatCode="0.0%">
                  <c:v>0.14150212402440929</c:v>
                </c:pt>
                <c:pt idx="18979" formatCode="0.0%">
                  <c:v>0.15222183883975787</c:v>
                </c:pt>
                <c:pt idx="18980" formatCode="0.0%">
                  <c:v>0.15222398476787355</c:v>
                </c:pt>
                <c:pt idx="18981" formatCode="0.0%">
                  <c:v>0.14874421841203214</c:v>
                </c:pt>
                <c:pt idx="18982" formatCode="0.0%">
                  <c:v>0.14475586559602241</c:v>
                </c:pt>
                <c:pt idx="18983" formatCode="0.0%">
                  <c:v>0.14341518515995527</c:v>
                </c:pt>
                <c:pt idx="18984" formatCode="0.0%">
                  <c:v>0.14835601533975057</c:v>
                </c:pt>
                <c:pt idx="18985" formatCode="0.0%">
                  <c:v>0.14833700197766111</c:v>
                </c:pt>
                <c:pt idx="18986" formatCode="0.0%">
                  <c:v>0.14333126677118169</c:v>
                </c:pt>
                <c:pt idx="18987" formatCode="0.0%">
                  <c:v>0.13698570507685659</c:v>
                </c:pt>
                <c:pt idx="18988" formatCode="0.0%">
                  <c:v>0.12922195111427617</c:v>
                </c:pt>
                <c:pt idx="18989" formatCode="0.0%">
                  <c:v>0.12554373707251393</c:v>
                </c:pt>
                <c:pt idx="18990" formatCode="0.0%">
                  <c:v>0.12592679142422383</c:v>
                </c:pt>
                <c:pt idx="18991" formatCode="0.0%">
                  <c:v>0.12279434325777995</c:v>
                </c:pt>
                <c:pt idx="18992" formatCode="0.0%">
                  <c:v>0.11321392531209278</c:v>
                </c:pt>
                <c:pt idx="18993" formatCode="0.0%">
                  <c:v>0.11303417381141972</c:v>
                </c:pt>
                <c:pt idx="18994" formatCode="0.0%">
                  <c:v>0.11027967855981999</c:v>
                </c:pt>
                <c:pt idx="18995" formatCode="0.0%">
                  <c:v>0.10998732780285206</c:v>
                </c:pt>
                <c:pt idx="18996" formatCode="0.0%">
                  <c:v>0.11148290548036839</c:v>
                </c:pt>
                <c:pt idx="18997" formatCode="0.0%">
                  <c:v>0.10465440131576499</c:v>
                </c:pt>
                <c:pt idx="18998" formatCode="0.0%">
                  <c:v>0.11348421774935077</c:v>
                </c:pt>
                <c:pt idx="18999" formatCode="0.0%">
                  <c:v>8.623568460431251E-2</c:v>
                </c:pt>
                <c:pt idx="19000" formatCode="0.0%">
                  <c:v>8.6240259742190128E-2</c:v>
                </c:pt>
                <c:pt idx="19001" formatCode="0.0%">
                  <c:v>9.0939384509123519E-2</c:v>
                </c:pt>
                <c:pt idx="19002" formatCode="0.0%">
                  <c:v>9.4832510352029303E-2</c:v>
                </c:pt>
                <c:pt idx="19003" formatCode="0.0%">
                  <c:v>0.10243263134979796</c:v>
                </c:pt>
                <c:pt idx="19004" formatCode="0.0%">
                  <c:v>0.10969778517465113</c:v>
                </c:pt>
                <c:pt idx="19005" formatCode="0.0%">
                  <c:v>0.10707563296891195</c:v>
                </c:pt>
                <c:pt idx="19006" formatCode="0.0%">
                  <c:v>0.10550933429911483</c:v>
                </c:pt>
                <c:pt idx="19007" formatCode="0.0%">
                  <c:v>0.10702530125984512</c:v>
                </c:pt>
                <c:pt idx="19008" formatCode="0.0%">
                  <c:v>0.11334269773368268</c:v>
                </c:pt>
                <c:pt idx="19009" formatCode="0.0%">
                  <c:v>0.11446145695213479</c:v>
                </c:pt>
                <c:pt idx="19010" formatCode="0.0%">
                  <c:v>0.1213471624674963</c:v>
                </c:pt>
                <c:pt idx="19011" formatCode="0.0%">
                  <c:v>0.12259144278629103</c:v>
                </c:pt>
                <c:pt idx="19012" formatCode="0.0%">
                  <c:v>0.12660623563847856</c:v>
                </c:pt>
                <c:pt idx="19013" formatCode="0.0%">
                  <c:v>0.12758785400523645</c:v>
                </c:pt>
                <c:pt idx="19014" formatCode="0.0%">
                  <c:v>0.14761551485942573</c:v>
                </c:pt>
                <c:pt idx="19015" formatCode="0.0%">
                  <c:v>0.14952212161827919</c:v>
                </c:pt>
                <c:pt idx="19016" formatCode="0.0%">
                  <c:v>0.14973930132245228</c:v>
                </c:pt>
                <c:pt idx="19017" formatCode="0.0%">
                  <c:v>0.15279074956487554</c:v>
                </c:pt>
                <c:pt idx="19018" formatCode="0.0%">
                  <c:v>0.14791340307426143</c:v>
                </c:pt>
                <c:pt idx="19019" formatCode="0.0%">
                  <c:v>0.16888193825879724</c:v>
                </c:pt>
                <c:pt idx="19020" formatCode="0.0%">
                  <c:v>0.16893849268031141</c:v>
                </c:pt>
                <c:pt idx="19021" formatCode="0.0%">
                  <c:v>0.17073876699897381</c:v>
                </c:pt>
                <c:pt idx="19022" formatCode="0.0%">
                  <c:v>0.1676961295860887</c:v>
                </c:pt>
                <c:pt idx="19023" formatCode="0.0%">
                  <c:v>0.16540891518703851</c:v>
                </c:pt>
                <c:pt idx="19024" formatCode="0.0%">
                  <c:v>0.16010919228874987</c:v>
                </c:pt>
                <c:pt idx="19025" formatCode="0.0%">
                  <c:v>0.15989402108123207</c:v>
                </c:pt>
                <c:pt idx="19026" formatCode="0.0%">
                  <c:v>0.15995285709815421</c:v>
                </c:pt>
                <c:pt idx="19027" formatCode="0.0%">
                  <c:v>0.1603152939808889</c:v>
                </c:pt>
                <c:pt idx="19028" formatCode="0.0%">
                  <c:v>0.15351701082440755</c:v>
                </c:pt>
                <c:pt idx="19029" formatCode="0.0%">
                  <c:v>0.15329205992494824</c:v>
                </c:pt>
                <c:pt idx="19030" formatCode="0.0%">
                  <c:v>0.14672192904515211</c:v>
                </c:pt>
                <c:pt idx="19031" formatCode="0.0%">
                  <c:v>0.1511969331378748</c:v>
                </c:pt>
                <c:pt idx="19032" formatCode="0.0%">
                  <c:v>0.14368993839784616</c:v>
                </c:pt>
                <c:pt idx="19033" formatCode="0.0%">
                  <c:v>0.14248324516671212</c:v>
                </c:pt>
                <c:pt idx="19034" formatCode="0.0%">
                  <c:v>0.13524121472648759</c:v>
                </c:pt>
                <c:pt idx="19035" formatCode="0.0%">
                  <c:v>0.13278527439761864</c:v>
                </c:pt>
                <c:pt idx="19036" formatCode="0.0%">
                  <c:v>0.13156787412952808</c:v>
                </c:pt>
                <c:pt idx="19037" formatCode="0.0%">
                  <c:v>0.1280615955221342</c:v>
                </c:pt>
                <c:pt idx="19038" formatCode="0.0%">
                  <c:v>0.12909861913580561</c:v>
                </c:pt>
                <c:pt idx="19039" formatCode="0.0%">
                  <c:v>0.10630338428438298</c:v>
                </c:pt>
                <c:pt idx="19040" formatCode="0.0%">
                  <c:v>0.10666491390000224</c:v>
                </c:pt>
                <c:pt idx="19041" formatCode="0.0%">
                  <c:v>0.10275653547831189</c:v>
                </c:pt>
                <c:pt idx="19042" formatCode="0.0%">
                  <c:v>0.10501485048187854</c:v>
                </c:pt>
                <c:pt idx="19043" formatCode="0.0%">
                  <c:v>0.10666510549790266</c:v>
                </c:pt>
                <c:pt idx="19044" formatCode="0.0%">
                  <c:v>0.10465838520711493</c:v>
                </c:pt>
                <c:pt idx="19045" formatCode="0.0%">
                  <c:v>0.10529877551267658</c:v>
                </c:pt>
                <c:pt idx="19046" formatCode="0.0%">
                  <c:v>0.10699125295188518</c:v>
                </c:pt>
                <c:pt idx="19047" formatCode="0.0%">
                  <c:v>0.10668842562933196</c:v>
                </c:pt>
                <c:pt idx="19048" formatCode="0.0%">
                  <c:v>0.10571898025513984</c:v>
                </c:pt>
                <c:pt idx="19049" formatCode="0.0%">
                  <c:v>0.11282740604546639</c:v>
                </c:pt>
                <c:pt idx="19050" formatCode="0.0%">
                  <c:v>0.11242738996673132</c:v>
                </c:pt>
                <c:pt idx="19051" formatCode="0.0%">
                  <c:v>0.10944475312930117</c:v>
                </c:pt>
                <c:pt idx="19052" formatCode="0.0%">
                  <c:v>0.11066540645621754</c:v>
                </c:pt>
                <c:pt idx="19053" formatCode="0.0%">
                  <c:v>0.11507942026219971</c:v>
                </c:pt>
                <c:pt idx="19054" formatCode="0.0%">
                  <c:v>0.10518346795411966</c:v>
                </c:pt>
                <c:pt idx="19055" formatCode="0.0%">
                  <c:v>0.1093613049411306</c:v>
                </c:pt>
                <c:pt idx="19056" formatCode="0.0%">
                  <c:v>0.1080418929460501</c:v>
                </c:pt>
                <c:pt idx="19057" formatCode="0.0%">
                  <c:v>0.12167650128438159</c:v>
                </c:pt>
                <c:pt idx="19058" formatCode="0.0%">
                  <c:v>0.1098590085452846</c:v>
                </c:pt>
                <c:pt idx="19059" formatCode="0.0%">
                  <c:v>0.11073194991486005</c:v>
                </c:pt>
                <c:pt idx="19060" formatCode="0.0%">
                  <c:v>0.11060640800706058</c:v>
                </c:pt>
                <c:pt idx="19061" formatCode="0.0%">
                  <c:v>0.11653439187876795</c:v>
                </c:pt>
                <c:pt idx="19062" formatCode="0.0%">
                  <c:v>0.11440185131183624</c:v>
                </c:pt>
                <c:pt idx="19063" formatCode="0.0%">
                  <c:v>0.11264812128970603</c:v>
                </c:pt>
                <c:pt idx="19064" formatCode="0.0%">
                  <c:v>0.11332965589637849</c:v>
                </c:pt>
                <c:pt idx="19065" formatCode="0.0%">
                  <c:v>0.11554567188596053</c:v>
                </c:pt>
                <c:pt idx="19066" formatCode="0.0%">
                  <c:v>0.11677963428736811</c:v>
                </c:pt>
                <c:pt idx="19067" formatCode="0.0%">
                  <c:v>0.1192202564206219</c:v>
                </c:pt>
                <c:pt idx="19068" formatCode="0.0%">
                  <c:v>0.11930583218411955</c:v>
                </c:pt>
                <c:pt idx="19069" formatCode="0.0%">
                  <c:v>0.1193361465710035</c:v>
                </c:pt>
                <c:pt idx="19070" formatCode="0.0%">
                  <c:v>0.11953686623254066</c:v>
                </c:pt>
                <c:pt idx="19071" formatCode="0.0%">
                  <c:v>0.11791329688076915</c:v>
                </c:pt>
                <c:pt idx="19072" formatCode="0.0%">
                  <c:v>0.11634582904778744</c:v>
                </c:pt>
                <c:pt idx="19073" formatCode="0.0%">
                  <c:v>0.10941656320102049</c:v>
                </c:pt>
                <c:pt idx="19074" formatCode="0.0%">
                  <c:v>0.112882449658863</c:v>
                </c:pt>
                <c:pt idx="19075" formatCode="0.0%">
                  <c:v>0.10623803830149514</c:v>
                </c:pt>
                <c:pt idx="19076" formatCode="0.0%">
                  <c:v>0.10626537136889219</c:v>
                </c:pt>
                <c:pt idx="19077" formatCode="0.0%">
                  <c:v>9.3800086981086564E-2</c:v>
                </c:pt>
                <c:pt idx="19078" formatCode="0.0%">
                  <c:v>9.4793403560031561E-2</c:v>
                </c:pt>
                <c:pt idx="19079" formatCode="0.0%">
                  <c:v>9.4351229057577174E-2</c:v>
                </c:pt>
                <c:pt idx="19080" formatCode="0.0%">
                  <c:v>0.10115482430833858</c:v>
                </c:pt>
                <c:pt idx="19081" formatCode="0.0%">
                  <c:v>9.581927437048067E-2</c:v>
                </c:pt>
                <c:pt idx="19082" formatCode="0.0%">
                  <c:v>9.3913468289861066E-2</c:v>
                </c:pt>
                <c:pt idx="19083" formatCode="0.0%">
                  <c:v>9.4748576547850627E-2</c:v>
                </c:pt>
                <c:pt idx="19084" formatCode="0.0%">
                  <c:v>0.10125808970136249</c:v>
                </c:pt>
                <c:pt idx="19085" formatCode="0.0%">
                  <c:v>9.4127947166483372E-2</c:v>
                </c:pt>
                <c:pt idx="19086" formatCode="0.0%">
                  <c:v>9.2634786135237679E-2</c:v>
                </c:pt>
                <c:pt idx="19087" formatCode="0.0%">
                  <c:v>8.2949089588867833E-2</c:v>
                </c:pt>
                <c:pt idx="19088" formatCode="0.0%">
                  <c:v>9.2542816340317219E-2</c:v>
                </c:pt>
                <c:pt idx="19089" formatCode="0.0%">
                  <c:v>8.7270711982689694E-2</c:v>
                </c:pt>
                <c:pt idx="19090" formatCode="0.0%">
                  <c:v>9.1646590358173435E-2</c:v>
                </c:pt>
                <c:pt idx="19091" formatCode="0.0%">
                  <c:v>8.9166950971638043E-2</c:v>
                </c:pt>
                <c:pt idx="19092" formatCode="0.0%">
                  <c:v>8.8164264691811933E-2</c:v>
                </c:pt>
                <c:pt idx="19093" formatCode="0.0%">
                  <c:v>8.9278722652287257E-2</c:v>
                </c:pt>
                <c:pt idx="19094" formatCode="0.0%">
                  <c:v>8.3734647870770063E-2</c:v>
                </c:pt>
                <c:pt idx="19095" formatCode="0.0%">
                  <c:v>8.5287424295504177E-2</c:v>
                </c:pt>
                <c:pt idx="19096" formatCode="0.0%">
                  <c:v>8.7591484268950637E-2</c:v>
                </c:pt>
                <c:pt idx="19097" formatCode="0.0%">
                  <c:v>8.8915836588543337E-2</c:v>
                </c:pt>
                <c:pt idx="19098" formatCode="0.0%">
                  <c:v>9.4387503403346548E-2</c:v>
                </c:pt>
                <c:pt idx="19099" formatCode="0.0%">
                  <c:v>0.10441833588178581</c:v>
                </c:pt>
                <c:pt idx="19100" formatCode="0.0%">
                  <c:v>0.11142008935773239</c:v>
                </c:pt>
                <c:pt idx="19101" formatCode="0.0%">
                  <c:v>0.11233537750617749</c:v>
                </c:pt>
                <c:pt idx="19102" formatCode="0.0%">
                  <c:v>0.1130353728576126</c:v>
                </c:pt>
                <c:pt idx="19103" formatCode="0.0%">
                  <c:v>0.11243879913794146</c:v>
                </c:pt>
                <c:pt idx="19104" formatCode="0.0%">
                  <c:v>0.10447225746001949</c:v>
                </c:pt>
                <c:pt idx="19105" formatCode="0.0%">
                  <c:v>0.10919054611535867</c:v>
                </c:pt>
                <c:pt idx="19106" formatCode="0.0%">
                  <c:v>0.10906106610978658</c:v>
                </c:pt>
                <c:pt idx="19107" formatCode="0.0%">
                  <c:v>0.11651830741036458</c:v>
                </c:pt>
                <c:pt idx="19108" formatCode="0.0%">
                  <c:v>0.1118089921563426</c:v>
                </c:pt>
                <c:pt idx="19109" formatCode="0.0%">
                  <c:v>0.1119251752580699</c:v>
                </c:pt>
                <c:pt idx="19110" formatCode="0.0%">
                  <c:v>0.11459348571210462</c:v>
                </c:pt>
                <c:pt idx="19111" formatCode="0.0%">
                  <c:v>0.11396847855847357</c:v>
                </c:pt>
                <c:pt idx="19112" formatCode="0.0%">
                  <c:v>0.11620604584384085</c:v>
                </c:pt>
                <c:pt idx="19113" formatCode="0.0%">
                  <c:v>0.1186630524172933</c:v>
                </c:pt>
                <c:pt idx="19114" formatCode="0.0%">
                  <c:v>0.11998928529535029</c:v>
                </c:pt>
                <c:pt idx="19115" formatCode="0.0%">
                  <c:v>0.11796589488668432</c:v>
                </c:pt>
                <c:pt idx="19116" formatCode="0.0%">
                  <c:v>0.11775919770612657</c:v>
                </c:pt>
                <c:pt idx="19117" formatCode="0.0%">
                  <c:v>0.11793205814202237</c:v>
                </c:pt>
                <c:pt idx="19118" formatCode="0.0%">
                  <c:v>0.10904494284373731</c:v>
                </c:pt>
                <c:pt idx="19119" formatCode="0.0%">
                  <c:v>0.10465201314529898</c:v>
                </c:pt>
                <c:pt idx="19120" formatCode="0.0%">
                  <c:v>9.1316393779801164E-2</c:v>
                </c:pt>
                <c:pt idx="19121" formatCode="0.0%">
                  <c:v>8.9932244133269792E-2</c:v>
                </c:pt>
                <c:pt idx="19122" formatCode="0.0%">
                  <c:v>9.4654438451589565E-2</c:v>
                </c:pt>
                <c:pt idx="19123" formatCode="0.0%">
                  <c:v>9.7306135702922153E-2</c:v>
                </c:pt>
                <c:pt idx="19124" formatCode="0.0%">
                  <c:v>9.7381920933580585E-2</c:v>
                </c:pt>
                <c:pt idx="19125" formatCode="0.0%">
                  <c:v>9.1649583600010687E-2</c:v>
                </c:pt>
                <c:pt idx="19126" formatCode="0.0%">
                  <c:v>9.1641441464852577E-2</c:v>
                </c:pt>
                <c:pt idx="19127" formatCode="0.0%">
                  <c:v>8.7532976892614675E-2</c:v>
                </c:pt>
                <c:pt idx="19128" formatCode="0.0%">
                  <c:v>8.9602903378512413E-2</c:v>
                </c:pt>
                <c:pt idx="19129" formatCode="0.0%">
                  <c:v>0.10166660016936088</c:v>
                </c:pt>
                <c:pt idx="19130" formatCode="0.0%">
                  <c:v>0.10421517427930717</c:v>
                </c:pt>
                <c:pt idx="19131" formatCode="0.0%">
                  <c:v>0.11580531413718663</c:v>
                </c:pt>
                <c:pt idx="19132" formatCode="0.0%">
                  <c:v>0.12409399294696578</c:v>
                </c:pt>
                <c:pt idx="19133" formatCode="0.0%">
                  <c:v>0.11981112598114753</c:v>
                </c:pt>
                <c:pt idx="19134" formatCode="0.0%">
                  <c:v>0.12884212240954737</c:v>
                </c:pt>
                <c:pt idx="19135" formatCode="0.0%">
                  <c:v>0.12838510205468698</c:v>
                </c:pt>
                <c:pt idx="19136" formatCode="0.0%">
                  <c:v>0.13330064373314496</c:v>
                </c:pt>
                <c:pt idx="19137" formatCode="0.0%">
                  <c:v>0.13942398833487549</c:v>
                </c:pt>
                <c:pt idx="19138" formatCode="0.0%">
                  <c:v>0.13944138330715453</c:v>
                </c:pt>
                <c:pt idx="19139" formatCode="0.0%">
                  <c:v>0.13760652035717108</c:v>
                </c:pt>
                <c:pt idx="19140" formatCode="0.0%">
                  <c:v>0.15232846197211594</c:v>
                </c:pt>
                <c:pt idx="19141" formatCode="0.0%">
                  <c:v>0.15222698482787753</c:v>
                </c:pt>
                <c:pt idx="19142" formatCode="0.0%">
                  <c:v>0.15591045990852676</c:v>
                </c:pt>
                <c:pt idx="19143" formatCode="0.0%">
                  <c:v>0.15612953009729039</c:v>
                </c:pt>
                <c:pt idx="19144" formatCode="0.0%">
                  <c:v>0.15582015510823807</c:v>
                </c:pt>
                <c:pt idx="19145" formatCode="0.0%">
                  <c:v>0.1567038856674885</c:v>
                </c:pt>
                <c:pt idx="19146" formatCode="0.0%">
                  <c:v>0.16005605772292511</c:v>
                </c:pt>
                <c:pt idx="19147" formatCode="0.0%">
                  <c:v>0.15990092874379103</c:v>
                </c:pt>
                <c:pt idx="19148" formatCode="0.0%">
                  <c:v>0.15861159703741917</c:v>
                </c:pt>
                <c:pt idx="19149" formatCode="0.0%">
                  <c:v>0.1508345800516232</c:v>
                </c:pt>
                <c:pt idx="19150" formatCode="0.0%">
                  <c:v>0.1386759300234516</c:v>
                </c:pt>
                <c:pt idx="19151" formatCode="0.0%">
                  <c:v>0.13338738073279691</c:v>
                </c:pt>
                <c:pt idx="19152" formatCode="0.0%">
                  <c:v>0.13247943175087412</c:v>
                </c:pt>
                <c:pt idx="19153" formatCode="0.0%">
                  <c:v>0.13160564882342668</c:v>
                </c:pt>
                <c:pt idx="19154" formatCode="0.0%">
                  <c:v>0.12515206054824993</c:v>
                </c:pt>
                <c:pt idx="19155" formatCode="0.0%">
                  <c:v>0.12617915529704846</c:v>
                </c:pt>
                <c:pt idx="19156" formatCode="0.0%">
                  <c:v>0.11825264368451166</c:v>
                </c:pt>
                <c:pt idx="19157" formatCode="0.0%">
                  <c:v>0.12273865075818571</c:v>
                </c:pt>
                <c:pt idx="19158" formatCode="0.0%">
                  <c:v>0.12330521011241943</c:v>
                </c:pt>
                <c:pt idx="19159" formatCode="0.0%">
                  <c:v>0.13021478280246332</c:v>
                </c:pt>
                <c:pt idx="19160" formatCode="0.0%">
                  <c:v>0.11919443773517413</c:v>
                </c:pt>
                <c:pt idx="19161" formatCode="0.0%">
                  <c:v>0.12073184578929014</c:v>
                </c:pt>
                <c:pt idx="19162" formatCode="0.0%">
                  <c:v>0.11269844225591266</c:v>
                </c:pt>
                <c:pt idx="19163" formatCode="0.0%">
                  <c:v>0.12312966758967234</c:v>
                </c:pt>
                <c:pt idx="19164" formatCode="0.0%">
                  <c:v>0.12591771846976227</c:v>
                </c:pt>
                <c:pt idx="19165" formatCode="0.0%">
                  <c:v>0.12531831937273172</c:v>
                </c:pt>
                <c:pt idx="19166" formatCode="0.0%">
                  <c:v>0.1260219526969828</c:v>
                </c:pt>
                <c:pt idx="19167" formatCode="0.0%">
                  <c:v>0.12232674453348596</c:v>
                </c:pt>
                <c:pt idx="19168" formatCode="0.0%">
                  <c:v>0.12278880463198766</c:v>
                </c:pt>
                <c:pt idx="19169" formatCode="0.0%">
                  <c:v>0.12283543768437216</c:v>
                </c:pt>
                <c:pt idx="19170" formatCode="0.0%">
                  <c:v>0.13076907609125837</c:v>
                </c:pt>
                <c:pt idx="19171" formatCode="0.0%">
                  <c:v>0.13158915723770243</c:v>
                </c:pt>
                <c:pt idx="19172" formatCode="0.0%">
                  <c:v>0.12930146794131922</c:v>
                </c:pt>
                <c:pt idx="19173" formatCode="0.0%">
                  <c:v>0.12979637735280353</c:v>
                </c:pt>
                <c:pt idx="19174" formatCode="0.0%">
                  <c:v>0.12961063662443167</c:v>
                </c:pt>
                <c:pt idx="19175" formatCode="0.0%">
                  <c:v>0.12733849364838076</c:v>
                </c:pt>
                <c:pt idx="19176" formatCode="0.0%">
                  <c:v>0.13065073672577387</c:v>
                </c:pt>
                <c:pt idx="19177" formatCode="0.0%">
                  <c:v>0.12439979471357207</c:v>
                </c:pt>
                <c:pt idx="19178" formatCode="0.0%">
                  <c:v>0.1220559794960546</c:v>
                </c:pt>
                <c:pt idx="19179" formatCode="0.0%">
                  <c:v>0.10773863797609996</c:v>
                </c:pt>
                <c:pt idx="19180" formatCode="0.0%">
                  <c:v>0.10960962529446637</c:v>
                </c:pt>
                <c:pt idx="19181" formatCode="0.0%">
                  <c:v>0.11003254517403126</c:v>
                </c:pt>
                <c:pt idx="19182" formatCode="0.0%">
                  <c:v>0.12630534572010249</c:v>
                </c:pt>
                <c:pt idx="19183" formatCode="0.0%">
                  <c:v>0.11718019910945164</c:v>
                </c:pt>
                <c:pt idx="19184" formatCode="0.0%">
                  <c:v>0.11570714475214947</c:v>
                </c:pt>
                <c:pt idx="19185" formatCode="0.0%">
                  <c:v>0.11340124454332949</c:v>
                </c:pt>
                <c:pt idx="19186" formatCode="0.0%">
                  <c:v>0.10881250636437544</c:v>
                </c:pt>
                <c:pt idx="19187" formatCode="0.0%">
                  <c:v>0.10926077713180266</c:v>
                </c:pt>
                <c:pt idx="19188" formatCode="0.0%">
                  <c:v>0.11240799815142721</c:v>
                </c:pt>
                <c:pt idx="19189" formatCode="0.0%">
                  <c:v>0.11121893580179919</c:v>
                </c:pt>
                <c:pt idx="19190" formatCode="0.0%">
                  <c:v>0.11081822087507366</c:v>
                </c:pt>
                <c:pt idx="19191" formatCode="0.0%">
                  <c:v>0.10062561528542438</c:v>
                </c:pt>
                <c:pt idx="19192" formatCode="0.0%">
                  <c:v>0.10719608546264554</c:v>
                </c:pt>
                <c:pt idx="19193" formatCode="0.0%">
                  <c:v>0.10769739298312515</c:v>
                </c:pt>
                <c:pt idx="19194" formatCode="0.0%">
                  <c:v>0.11513722943643796</c:v>
                </c:pt>
                <c:pt idx="19195" formatCode="0.0%">
                  <c:v>0.11603112204929225</c:v>
                </c:pt>
                <c:pt idx="19196" formatCode="0.0%">
                  <c:v>0.10663280011040716</c:v>
                </c:pt>
                <c:pt idx="19197" formatCode="0.0%">
                  <c:v>0.10592001030782563</c:v>
                </c:pt>
                <c:pt idx="19198" formatCode="0.0%">
                  <c:v>0.10465966438734532</c:v>
                </c:pt>
                <c:pt idx="19199" formatCode="0.0%">
                  <c:v>0.10687700800493891</c:v>
                </c:pt>
                <c:pt idx="19200" formatCode="0.0%">
                  <c:v>0.10678523255842214</c:v>
                </c:pt>
                <c:pt idx="19201" formatCode="0.0%">
                  <c:v>0.10934602421341394</c:v>
                </c:pt>
                <c:pt idx="19202" formatCode="0.0%">
                  <c:v>9.7694538974050629E-2</c:v>
                </c:pt>
                <c:pt idx="19203" formatCode="0.0%">
                  <c:v>0.10050527263392717</c:v>
                </c:pt>
                <c:pt idx="19204" formatCode="0.0%">
                  <c:v>9.9045630970310827E-2</c:v>
                </c:pt>
                <c:pt idx="19205" formatCode="0.0%">
                  <c:v>9.9199167701098684E-2</c:v>
                </c:pt>
                <c:pt idx="19206" formatCode="0.0%">
                  <c:v>9.991688180783824E-2</c:v>
                </c:pt>
                <c:pt idx="19207" formatCode="0.0%">
                  <c:v>0.10715621635186093</c:v>
                </c:pt>
                <c:pt idx="19208" formatCode="0.0%">
                  <c:v>0.10414635339905702</c:v>
                </c:pt>
                <c:pt idx="19209" formatCode="0.0%">
                  <c:v>0.10672542716479641</c:v>
                </c:pt>
                <c:pt idx="19210" formatCode="0.0%">
                  <c:v>8.8759290588265996E-2</c:v>
                </c:pt>
                <c:pt idx="19211" formatCode="0.0%">
                  <c:v>9.1852760073249815E-2</c:v>
                </c:pt>
                <c:pt idx="19212" formatCode="0.0%">
                  <c:v>8.81335572153365E-2</c:v>
                </c:pt>
                <c:pt idx="19213" formatCode="0.0%">
                  <c:v>8.6283319045379822E-2</c:v>
                </c:pt>
                <c:pt idx="19214" formatCode="0.0%">
                  <c:v>7.9730417086730274E-2</c:v>
                </c:pt>
                <c:pt idx="19215" formatCode="0.0%">
                  <c:v>7.6570010107987724E-2</c:v>
                </c:pt>
                <c:pt idx="19216" formatCode="0.0%">
                  <c:v>7.6975406184900674E-2</c:v>
                </c:pt>
                <c:pt idx="19217" formatCode="0.0%">
                  <c:v>7.802674101101327E-2</c:v>
                </c:pt>
                <c:pt idx="19218" formatCode="0.0%">
                  <c:v>7.6693750698082916E-2</c:v>
                </c:pt>
                <c:pt idx="19219" formatCode="0.0%">
                  <c:v>8.1705688991205963E-2</c:v>
                </c:pt>
                <c:pt idx="19220" formatCode="0.0%">
                  <c:v>9.0901812080479469E-2</c:v>
                </c:pt>
                <c:pt idx="19221" formatCode="0.0%">
                  <c:v>8.431543469758887E-2</c:v>
                </c:pt>
                <c:pt idx="19222" formatCode="0.0%">
                  <c:v>8.8570047010343086E-2</c:v>
                </c:pt>
                <c:pt idx="19223" formatCode="0.0%">
                  <c:v>8.7854691323564216E-2</c:v>
                </c:pt>
                <c:pt idx="19224" formatCode="0.0%">
                  <c:v>9.7849990443890547E-2</c:v>
                </c:pt>
                <c:pt idx="19225" formatCode="0.0%">
                  <c:v>9.6962642500876925E-2</c:v>
                </c:pt>
                <c:pt idx="19226" formatCode="0.0%">
                  <c:v>9.737102325161065E-2</c:v>
                </c:pt>
                <c:pt idx="19227" formatCode="0.0%">
                  <c:v>9.2241601954350438E-2</c:v>
                </c:pt>
                <c:pt idx="19228" formatCode="0.0%">
                  <c:v>9.40480336368852E-2</c:v>
                </c:pt>
                <c:pt idx="19229" formatCode="0.0%">
                  <c:v>9.2306880517987952E-2</c:v>
                </c:pt>
                <c:pt idx="19230" formatCode="0.0%">
                  <c:v>9.1777522340420956E-2</c:v>
                </c:pt>
                <c:pt idx="19231" formatCode="0.0%">
                  <c:v>0.1042509637167963</c:v>
                </c:pt>
                <c:pt idx="19232" formatCode="0.0%">
                  <c:v>0.11428181735253802</c:v>
                </c:pt>
                <c:pt idx="19233" formatCode="0.0%">
                  <c:v>0.11419630864416778</c:v>
                </c:pt>
                <c:pt idx="19234" formatCode="0.0%">
                  <c:v>0.12596855475453095</c:v>
                </c:pt>
                <c:pt idx="19235" formatCode="0.0%">
                  <c:v>0.125922438522444</c:v>
                </c:pt>
                <c:pt idx="19236" formatCode="0.0%">
                  <c:v>0.1307037045979432</c:v>
                </c:pt>
                <c:pt idx="19237" formatCode="0.0%">
                  <c:v>0.13082350171837595</c:v>
                </c:pt>
                <c:pt idx="19238" formatCode="0.0%">
                  <c:v>0.14159676595183837</c:v>
                </c:pt>
                <c:pt idx="19239" formatCode="0.0%">
                  <c:v>0.13898505253064677</c:v>
                </c:pt>
                <c:pt idx="19240" formatCode="0.0%">
                  <c:v>0.13911836430912455</c:v>
                </c:pt>
                <c:pt idx="19241" formatCode="0.0%">
                  <c:v>0.13932736600414763</c:v>
                </c:pt>
                <c:pt idx="19242" formatCode="0.0%">
                  <c:v>0.1365499214459939</c:v>
                </c:pt>
                <c:pt idx="19243" formatCode="0.0%">
                  <c:v>0.13667533937230469</c:v>
                </c:pt>
                <c:pt idx="19244" formatCode="0.0%">
                  <c:v>0.13214939764292902</c:v>
                </c:pt>
                <c:pt idx="19245" formatCode="0.0%">
                  <c:v>0.13510353314402349</c:v>
                </c:pt>
                <c:pt idx="19246" formatCode="0.0%">
                  <c:v>0.13421996297403965</c:v>
                </c:pt>
                <c:pt idx="19247" formatCode="0.0%">
                  <c:v>0.13441191471687866</c:v>
                </c:pt>
                <c:pt idx="19248" formatCode="0.0%">
                  <c:v>0.13639725700181737</c:v>
                </c:pt>
                <c:pt idx="19249" formatCode="0.0%">
                  <c:v>0.13558403773969416</c:v>
                </c:pt>
                <c:pt idx="19250" formatCode="0.0%">
                  <c:v>0.13558526777088473</c:v>
                </c:pt>
                <c:pt idx="19251" formatCode="0.0%">
                  <c:v>0.12527538592302462</c:v>
                </c:pt>
                <c:pt idx="19252" formatCode="0.0%">
                  <c:v>0.10997633438975012</c:v>
                </c:pt>
                <c:pt idx="19253" formatCode="0.0%">
                  <c:v>0.11106595087331182</c:v>
                </c:pt>
                <c:pt idx="19254" formatCode="0.0%">
                  <c:v>0.10668915855070356</c:v>
                </c:pt>
                <c:pt idx="19255" formatCode="0.0%">
                  <c:v>0.10523206083659133</c:v>
                </c:pt>
                <c:pt idx="19256" formatCode="0.0%">
                  <c:v>9.23103703357184E-2</c:v>
                </c:pt>
                <c:pt idx="19257" formatCode="0.0%">
                  <c:v>9.2273588629317463E-2</c:v>
                </c:pt>
                <c:pt idx="19258" formatCode="0.0%">
                  <c:v>8.3024405469696083E-2</c:v>
                </c:pt>
                <c:pt idx="19259" formatCode="0.0%">
                  <c:v>8.9347255622190591E-2</c:v>
                </c:pt>
                <c:pt idx="19260" formatCode="0.0%">
                  <c:v>8.0268541493396642E-2</c:v>
                </c:pt>
                <c:pt idx="19261" formatCode="0.0%">
                  <c:v>7.8867852608178371E-2</c:v>
                </c:pt>
                <c:pt idx="19262" formatCode="0.0%">
                  <c:v>8.0779574479641514E-2</c:v>
                </c:pt>
                <c:pt idx="19263" formatCode="0.0%">
                  <c:v>8.1698447308064498E-2</c:v>
                </c:pt>
                <c:pt idx="19264" formatCode="0.0%">
                  <c:v>9.8623091850321226E-2</c:v>
                </c:pt>
                <c:pt idx="19265" formatCode="0.0%">
                  <c:v>9.6605114365110836E-2</c:v>
                </c:pt>
                <c:pt idx="19266" formatCode="0.0%">
                  <c:v>9.6736827979182288E-2</c:v>
                </c:pt>
                <c:pt idx="19267" formatCode="0.0%">
                  <c:v>9.8763396373128878E-2</c:v>
                </c:pt>
                <c:pt idx="19268" formatCode="0.0%">
                  <c:v>9.6711080165007915E-2</c:v>
                </c:pt>
                <c:pt idx="19269" formatCode="0.0%">
                  <c:v>9.651601344061482E-2</c:v>
                </c:pt>
                <c:pt idx="19270" formatCode="0.0%">
                  <c:v>9.6463464154107018E-2</c:v>
                </c:pt>
                <c:pt idx="19271" formatCode="0.0%">
                  <c:v>0.10303528826675085</c:v>
                </c:pt>
                <c:pt idx="19272" formatCode="0.0%">
                  <c:v>0.10183263364223741</c:v>
                </c:pt>
                <c:pt idx="19273" formatCode="0.0%">
                  <c:v>9.9512659856483873E-2</c:v>
                </c:pt>
                <c:pt idx="19274" formatCode="0.0%">
                  <c:v>9.9830556560967704E-2</c:v>
                </c:pt>
                <c:pt idx="19275" formatCode="0.0%">
                  <c:v>0.10733343084308081</c:v>
                </c:pt>
                <c:pt idx="19276" formatCode="0.0%">
                  <c:v>0.10968575496779701</c:v>
                </c:pt>
                <c:pt idx="19277" formatCode="0.0%">
                  <c:v>0.10975853666630753</c:v>
                </c:pt>
                <c:pt idx="19278" formatCode="0.0%">
                  <c:v>0.10967467248434089</c:v>
                </c:pt>
                <c:pt idx="19279" formatCode="0.0%">
                  <c:v>0.10988135620734456</c:v>
                </c:pt>
                <c:pt idx="19280" formatCode="0.0%">
                  <c:v>0.11373104515904717</c:v>
                </c:pt>
                <c:pt idx="19281" formatCode="0.0%">
                  <c:v>0.11370325604810602</c:v>
                </c:pt>
                <c:pt idx="19282" formatCode="0.0%">
                  <c:v>0.11425469145555937</c:v>
                </c:pt>
                <c:pt idx="19283" formatCode="0.0%">
                  <c:v>0.11600305151622779</c:v>
                </c:pt>
                <c:pt idx="19284" formatCode="0.0%">
                  <c:v>0.10561563140011719</c:v>
                </c:pt>
                <c:pt idx="19285" formatCode="0.0%">
                  <c:v>0.10489072622395705</c:v>
                </c:pt>
                <c:pt idx="19286" formatCode="0.0%">
                  <c:v>0.11011240780403996</c:v>
                </c:pt>
                <c:pt idx="19287" formatCode="0.0%">
                  <c:v>0.1083282359024151</c:v>
                </c:pt>
                <c:pt idx="19288" formatCode="0.0%">
                  <c:v>0.11917518981159236</c:v>
                </c:pt>
                <c:pt idx="19289" formatCode="0.0%">
                  <c:v>0.12678771633803479</c:v>
                </c:pt>
                <c:pt idx="19290" formatCode="0.0%">
                  <c:v>0.12684725597485796</c:v>
                </c:pt>
                <c:pt idx="19291" formatCode="0.0%">
                  <c:v>0.11508767004128116</c:v>
                </c:pt>
                <c:pt idx="19292" formatCode="0.0%">
                  <c:v>0.11444100951219922</c:v>
                </c:pt>
                <c:pt idx="19293" formatCode="0.0%">
                  <c:v>0.11443379652701739</c:v>
                </c:pt>
                <c:pt idx="19294" formatCode="0.0%">
                  <c:v>0.11898712191056997</c:v>
                </c:pt>
                <c:pt idx="19295" formatCode="0.0%">
                  <c:v>0.1254786191831852</c:v>
                </c:pt>
                <c:pt idx="19296" formatCode="0.0%">
                  <c:v>0.12120054310279309</c:v>
                </c:pt>
                <c:pt idx="19297" formatCode="0.0%">
                  <c:v>0.12167285255030658</c:v>
                </c:pt>
                <c:pt idx="19298" formatCode="0.0%">
                  <c:v>0.12110643765410679</c:v>
                </c:pt>
                <c:pt idx="19299" formatCode="0.0%">
                  <c:v>0.11675483199480681</c:v>
                </c:pt>
                <c:pt idx="19300" formatCode="0.0%">
                  <c:v>0.11080895430684058</c:v>
                </c:pt>
                <c:pt idx="19301" formatCode="0.0%">
                  <c:v>0.11276094794532612</c:v>
                </c:pt>
                <c:pt idx="19302" formatCode="0.0%">
                  <c:v>0.11321934369367785</c:v>
                </c:pt>
                <c:pt idx="19303" formatCode="0.0%">
                  <c:v>0.10962391707627503</c:v>
                </c:pt>
                <c:pt idx="19304" formatCode="0.0%">
                  <c:v>0.10941159804608218</c:v>
                </c:pt>
                <c:pt idx="19305" formatCode="0.0%">
                  <c:v>0.10962011580773669</c:v>
                </c:pt>
                <c:pt idx="19306" formatCode="0.0%">
                  <c:v>0.11202318619664174</c:v>
                </c:pt>
                <c:pt idx="19307" formatCode="0.0%">
                  <c:v>0.111271030937969</c:v>
                </c:pt>
                <c:pt idx="19308" formatCode="0.0%">
                  <c:v>0.10386784892073467</c:v>
                </c:pt>
                <c:pt idx="19309" formatCode="0.0%">
                  <c:v>9.7225899587687584E-2</c:v>
                </c:pt>
                <c:pt idx="19310" formatCode="0.0%">
                  <c:v>9.7389596407950946E-2</c:v>
                </c:pt>
                <c:pt idx="19311" formatCode="0.0%">
                  <c:v>9.9573686902739753E-2</c:v>
                </c:pt>
                <c:pt idx="19312" formatCode="0.0%">
                  <c:v>0.1017723282893285</c:v>
                </c:pt>
                <c:pt idx="19313" formatCode="0.0%">
                  <c:v>0.1113333061682744</c:v>
                </c:pt>
                <c:pt idx="19314" formatCode="0.0%">
                  <c:v>0.10724544892326839</c:v>
                </c:pt>
                <c:pt idx="19315" formatCode="0.0%">
                  <c:v>9.3629728539396107E-2</c:v>
                </c:pt>
                <c:pt idx="19316" formatCode="0.0%">
                  <c:v>9.3360641038678652E-2</c:v>
                </c:pt>
                <c:pt idx="19317" formatCode="0.0%">
                  <c:v>0.1027003200864294</c:v>
                </c:pt>
                <c:pt idx="19318" formatCode="0.0%">
                  <c:v>0.10371413387393578</c:v>
                </c:pt>
                <c:pt idx="19319" formatCode="0.0%">
                  <c:v>0.10473580689815547</c:v>
                </c:pt>
                <c:pt idx="19320" formatCode="0.0%">
                  <c:v>0.1006493789911677</c:v>
                </c:pt>
                <c:pt idx="19321" formatCode="0.0%">
                  <c:v>0.10051796454757642</c:v>
                </c:pt>
                <c:pt idx="19322" formatCode="0.0%">
                  <c:v>0.10112408154402967</c:v>
                </c:pt>
                <c:pt idx="19323" formatCode="0.0%">
                  <c:v>9.6716064595064447E-2</c:v>
                </c:pt>
                <c:pt idx="19324" formatCode="0.0%">
                  <c:v>9.6048586579926085E-2</c:v>
                </c:pt>
                <c:pt idx="19325" formatCode="0.0%">
                  <c:v>0.10052014594309039</c:v>
                </c:pt>
                <c:pt idx="19326" formatCode="0.0%">
                  <c:v>9.0599347321927384E-2</c:v>
                </c:pt>
                <c:pt idx="19327" formatCode="0.0%">
                  <c:v>9.3457555877752216E-2</c:v>
                </c:pt>
                <c:pt idx="19328" formatCode="0.0%">
                  <c:v>9.3612422284532371E-2</c:v>
                </c:pt>
                <c:pt idx="19329" formatCode="0.0%">
                  <c:v>9.3098470229902031E-2</c:v>
                </c:pt>
                <c:pt idx="19330" formatCode="0.0%">
                  <c:v>9.5126902571661537E-2</c:v>
                </c:pt>
                <c:pt idx="19331" formatCode="0.0%">
                  <c:v>9.6065212719940424E-2</c:v>
                </c:pt>
                <c:pt idx="19332" formatCode="0.0%">
                  <c:v>9.4064477691826159E-2</c:v>
                </c:pt>
                <c:pt idx="19333" formatCode="0.0%">
                  <c:v>8.020363849114813E-2</c:v>
                </c:pt>
                <c:pt idx="19334" formatCode="0.0%">
                  <c:v>8.0360674248617397E-2</c:v>
                </c:pt>
                <c:pt idx="19335" formatCode="0.0%">
                  <c:v>8.6555738534873222E-2</c:v>
                </c:pt>
                <c:pt idx="19336" formatCode="0.0%">
                  <c:v>9.6772356089301945E-2</c:v>
                </c:pt>
                <c:pt idx="19337" formatCode="0.0%">
                  <c:v>8.8765144269282781E-2</c:v>
                </c:pt>
                <c:pt idx="19338" formatCode="0.0%">
                  <c:v>8.7965056122506977E-2</c:v>
                </c:pt>
                <c:pt idx="19339" formatCode="0.0%">
                  <c:v>8.5924523324378527E-2</c:v>
                </c:pt>
                <c:pt idx="19340" formatCode="0.0%">
                  <c:v>8.6745009455414912E-2</c:v>
                </c:pt>
                <c:pt idx="19341" formatCode="0.0%">
                  <c:v>8.273264764839397E-2</c:v>
                </c:pt>
                <c:pt idx="19342" formatCode="0.0%">
                  <c:v>8.2777050719942138E-2</c:v>
                </c:pt>
                <c:pt idx="19343" formatCode="0.0%">
                  <c:v>8.6828466148026209E-2</c:v>
                </c:pt>
                <c:pt idx="19344" formatCode="0.0%">
                  <c:v>9.0375256907264667E-2</c:v>
                </c:pt>
                <c:pt idx="19345" formatCode="0.0%">
                  <c:v>9.3874031094782914E-2</c:v>
                </c:pt>
                <c:pt idx="19346" formatCode="0.0%">
                  <c:v>9.9854669578895092E-2</c:v>
                </c:pt>
                <c:pt idx="19347" formatCode="0.0%">
                  <c:v>9.6586167482829305E-2</c:v>
                </c:pt>
                <c:pt idx="19348" formatCode="0.0%">
                  <c:v>9.6596557095858487E-2</c:v>
                </c:pt>
                <c:pt idx="19349" formatCode="0.0%">
                  <c:v>9.6421602952235202E-2</c:v>
                </c:pt>
                <c:pt idx="19350" formatCode="0.0%">
                  <c:v>9.8219194867238485E-2</c:v>
                </c:pt>
                <c:pt idx="19351" formatCode="0.0%">
                  <c:v>9.5841365425457903E-2</c:v>
                </c:pt>
                <c:pt idx="19352" formatCode="0.0%">
                  <c:v>9.5962149051995876E-2</c:v>
                </c:pt>
                <c:pt idx="19353" formatCode="0.0%">
                  <c:v>9.5814653181925294E-2</c:v>
                </c:pt>
                <c:pt idx="19354" formatCode="0.0%">
                  <c:v>0.10243540488910967</c:v>
                </c:pt>
                <c:pt idx="19355" formatCode="0.0%">
                  <c:v>0.10294497272133636</c:v>
                </c:pt>
                <c:pt idx="19356" formatCode="0.0%">
                  <c:v>9.4684964914475311E-2</c:v>
                </c:pt>
                <c:pt idx="19357" formatCode="0.0%">
                  <c:v>9.4267366379205214E-2</c:v>
                </c:pt>
                <c:pt idx="19358" formatCode="0.0%">
                  <c:v>0.10116853245734048</c:v>
                </c:pt>
                <c:pt idx="19359" formatCode="0.0%">
                  <c:v>0.10108303455476646</c:v>
                </c:pt>
                <c:pt idx="19360" formatCode="0.0%">
                  <c:v>0.10055635774438644</c:v>
                </c:pt>
                <c:pt idx="19361" formatCode="0.0%">
                  <c:v>0.1030994843549943</c:v>
                </c:pt>
                <c:pt idx="19362" formatCode="0.0%">
                  <c:v>0.10320855984855729</c:v>
                </c:pt>
                <c:pt idx="19363" formatCode="0.0%">
                  <c:v>9.9826709731993521E-2</c:v>
                </c:pt>
                <c:pt idx="19364" formatCode="0.0%">
                  <c:v>9.8193352214202487E-2</c:v>
                </c:pt>
                <c:pt idx="19365" formatCode="0.0%">
                  <c:v>9.3178669509151324E-2</c:v>
                </c:pt>
                <c:pt idx="19366" formatCode="0.0%">
                  <c:v>8.522173579023179E-2</c:v>
                </c:pt>
                <c:pt idx="19367" formatCode="0.0%">
                  <c:v>8.5418673444475221E-2</c:v>
                </c:pt>
                <c:pt idx="19368" formatCode="0.0%">
                  <c:v>8.0733799595997649E-2</c:v>
                </c:pt>
                <c:pt idx="19369" formatCode="0.0%">
                  <c:v>9.7575435297363997E-2</c:v>
                </c:pt>
                <c:pt idx="19370" formatCode="0.0%">
                  <c:v>9.8414274719364148E-2</c:v>
                </c:pt>
                <c:pt idx="19371" formatCode="0.0%">
                  <c:v>0.10056462137194595</c:v>
                </c:pt>
                <c:pt idx="19372" formatCode="0.0%">
                  <c:v>0.10458830112222238</c:v>
                </c:pt>
                <c:pt idx="19373" formatCode="0.0%">
                  <c:v>0.10739067346205022</c:v>
                </c:pt>
                <c:pt idx="19374" formatCode="0.0%">
                  <c:v>0.10539773303270251</c:v>
                </c:pt>
                <c:pt idx="19375" formatCode="0.0%">
                  <c:v>0.10334965535351105</c:v>
                </c:pt>
                <c:pt idx="19376" formatCode="0.0%">
                  <c:v>0.10299878368562113</c:v>
                </c:pt>
                <c:pt idx="19377" formatCode="0.0%">
                  <c:v>0.10671945817300872</c:v>
                </c:pt>
                <c:pt idx="19378" formatCode="0.0%">
                  <c:v>0.10064556411050747</c:v>
                </c:pt>
                <c:pt idx="19379" formatCode="0.0%">
                  <c:v>0.10247958286316533</c:v>
                </c:pt>
                <c:pt idx="19380" formatCode="0.0%">
                  <c:v>0.10963934195540852</c:v>
                </c:pt>
                <c:pt idx="19381" formatCode="0.0%">
                  <c:v>0.10466962270991091</c:v>
                </c:pt>
                <c:pt idx="19382" formatCode="0.0%">
                  <c:v>0.10780866341616725</c:v>
                </c:pt>
                <c:pt idx="19383" formatCode="0.0%">
                  <c:v>0.10682447711496097</c:v>
                </c:pt>
                <c:pt idx="19384" formatCode="0.0%">
                  <c:v>0.11013754032287099</c:v>
                </c:pt>
                <c:pt idx="19385" formatCode="0.0%">
                  <c:v>0.11254693241661652</c:v>
                </c:pt>
                <c:pt idx="19386" formatCode="0.0%">
                  <c:v>0.11290390721616204</c:v>
                </c:pt>
                <c:pt idx="19387" formatCode="0.0%">
                  <c:v>0.10972811000731783</c:v>
                </c:pt>
                <c:pt idx="19388" formatCode="0.0%">
                  <c:v>0.11075497078642059</c:v>
                </c:pt>
                <c:pt idx="19389" formatCode="0.0%">
                  <c:v>0.10442130534708147</c:v>
                </c:pt>
                <c:pt idx="19390" formatCode="0.0%">
                  <c:v>0.10203504731512136</c:v>
                </c:pt>
                <c:pt idx="19391" formatCode="0.0%">
                  <c:v>9.6803526744749666E-2</c:v>
                </c:pt>
                <c:pt idx="19392" formatCode="0.0%">
                  <c:v>8.9782950576136084E-2</c:v>
                </c:pt>
                <c:pt idx="19393" formatCode="0.0%">
                  <c:v>9.0735368729977006E-2</c:v>
                </c:pt>
                <c:pt idx="19394" formatCode="0.0%">
                  <c:v>0.10292522727027217</c:v>
                </c:pt>
                <c:pt idx="19395" formatCode="0.0%">
                  <c:v>0.10288503481170358</c:v>
                </c:pt>
                <c:pt idx="19396" formatCode="0.0%">
                  <c:v>0.10436742984917852</c:v>
                </c:pt>
                <c:pt idx="19397" formatCode="0.0%">
                  <c:v>9.7232111877918845E-2</c:v>
                </c:pt>
                <c:pt idx="19398" formatCode="0.0%">
                  <c:v>9.8603195227691384E-2</c:v>
                </c:pt>
                <c:pt idx="19399" formatCode="0.0%">
                  <c:v>9.8960442455216444E-2</c:v>
                </c:pt>
                <c:pt idx="19400" formatCode="0.0%">
                  <c:v>9.6598420831002577E-2</c:v>
                </c:pt>
                <c:pt idx="19401" formatCode="0.0%">
                  <c:v>9.9839571579457137E-2</c:v>
                </c:pt>
                <c:pt idx="19402" formatCode="0.0%">
                  <c:v>9.6943892997662665E-2</c:v>
                </c:pt>
                <c:pt idx="19403" formatCode="0.0%">
                  <c:v>9.6875068105789539E-2</c:v>
                </c:pt>
                <c:pt idx="19404" formatCode="0.0%">
                  <c:v>0.10189374579313493</c:v>
                </c:pt>
                <c:pt idx="19405" formatCode="0.0%">
                  <c:v>0.10389781408350027</c:v>
                </c:pt>
                <c:pt idx="19406" formatCode="0.0%">
                  <c:v>0.11723375209909043</c:v>
                </c:pt>
                <c:pt idx="19407" formatCode="0.0%">
                  <c:v>0.11845614214194405</c:v>
                </c:pt>
                <c:pt idx="19408" formatCode="0.0%">
                  <c:v>0.12096677689455115</c:v>
                </c:pt>
                <c:pt idx="19409" formatCode="0.0%">
                  <c:v>0.12443526246906975</c:v>
                </c:pt>
                <c:pt idx="19410" formatCode="0.0%">
                  <c:v>0.14508225174363898</c:v>
                </c:pt>
                <c:pt idx="19411" formatCode="0.0%">
                  <c:v>0.1467636191744652</c:v>
                </c:pt>
                <c:pt idx="19412" formatCode="0.0%">
                  <c:v>0.15019413361550737</c:v>
                </c:pt>
                <c:pt idx="19413" formatCode="0.0%">
                  <c:v>0.15109973031271992</c:v>
                </c:pt>
                <c:pt idx="19414" formatCode="0.0%">
                  <c:v>0.14265866172474415</c:v>
                </c:pt>
                <c:pt idx="19415" formatCode="0.0%">
                  <c:v>0.14731117793216336</c:v>
                </c:pt>
                <c:pt idx="19416" formatCode="0.0%">
                  <c:v>0.1534929294433994</c:v>
                </c:pt>
                <c:pt idx="19417" formatCode="0.0%">
                  <c:v>0.15417991229168387</c:v>
                </c:pt>
                <c:pt idx="19418" formatCode="0.0%">
                  <c:v>0.15301267635116794</c:v>
                </c:pt>
                <c:pt idx="19419" formatCode="0.0%">
                  <c:v>0.15983025742441917</c:v>
                </c:pt>
                <c:pt idx="19420" formatCode="0.0%">
                  <c:v>0.15822298742077096</c:v>
                </c:pt>
                <c:pt idx="19421" formatCode="0.0%">
                  <c:v>0.15567629611922634</c:v>
                </c:pt>
                <c:pt idx="19422" formatCode="0.0%">
                  <c:v>0.15753661579461153</c:v>
                </c:pt>
                <c:pt idx="19423" formatCode="0.0%">
                  <c:v>0.16040337119702866</c:v>
                </c:pt>
                <c:pt idx="19424" formatCode="0.0%">
                  <c:v>0.15595999695771601</c:v>
                </c:pt>
                <c:pt idx="19425" formatCode="0.0%">
                  <c:v>0.15598686441201362</c:v>
                </c:pt>
                <c:pt idx="19426" formatCode="0.0%">
                  <c:v>0.1441467180651351</c:v>
                </c:pt>
                <c:pt idx="19427" formatCode="0.0%">
                  <c:v>0.14789380034584423</c:v>
                </c:pt>
                <c:pt idx="19428" formatCode="0.0%">
                  <c:v>0.14839877447402064</c:v>
                </c:pt>
                <c:pt idx="19429" formatCode="0.0%">
                  <c:v>0.14163206630389916</c:v>
                </c:pt>
                <c:pt idx="19430" formatCode="0.0%">
                  <c:v>0.12629431023778326</c:v>
                </c:pt>
                <c:pt idx="19431" formatCode="0.0%">
                  <c:v>0.12316244372963775</c:v>
                </c:pt>
                <c:pt idx="19432" formatCode="0.0%">
                  <c:v>0.12068318183890121</c:v>
                </c:pt>
                <c:pt idx="19433" formatCode="0.0%">
                  <c:v>0.11454018656569939</c:v>
                </c:pt>
                <c:pt idx="19434" formatCode="0.0%">
                  <c:v>0.11566268170305696</c:v>
                </c:pt>
                <c:pt idx="19435" formatCode="0.0%">
                  <c:v>0.10626410145513687</c:v>
                </c:pt>
                <c:pt idx="19436" formatCode="0.0%">
                  <c:v>0.10017105518535394</c:v>
                </c:pt>
                <c:pt idx="19437" formatCode="0.0%">
                  <c:v>0.10332758880316316</c:v>
                </c:pt>
                <c:pt idx="19438" formatCode="0.0%">
                  <c:v>0.10654013068405373</c:v>
                </c:pt>
                <c:pt idx="19439" formatCode="0.0%">
                  <c:v>9.8839649184851747E-2</c:v>
                </c:pt>
                <c:pt idx="19440" formatCode="0.0%">
                  <c:v>0.10216068749125901</c:v>
                </c:pt>
                <c:pt idx="19441" formatCode="0.0%">
                  <c:v>0.10186608546490165</c:v>
                </c:pt>
                <c:pt idx="19442" formatCode="0.0%">
                  <c:v>0.10001266552570509</c:v>
                </c:pt>
                <c:pt idx="19443" formatCode="0.0%">
                  <c:v>9.111771958977237E-2</c:v>
                </c:pt>
                <c:pt idx="19444" formatCode="0.0%">
                  <c:v>9.1643132605827016E-2</c:v>
                </c:pt>
                <c:pt idx="19445" formatCode="0.0%">
                  <c:v>8.2616966867156541E-2</c:v>
                </c:pt>
                <c:pt idx="19446" formatCode="0.0%">
                  <c:v>7.9271345920285716E-2</c:v>
                </c:pt>
                <c:pt idx="19447" formatCode="0.0%">
                  <c:v>7.343130793315443E-2</c:v>
                </c:pt>
                <c:pt idx="19448" formatCode="0.0%">
                  <c:v>7.0758849011318556E-2</c:v>
                </c:pt>
                <c:pt idx="19449" formatCode="0.0%">
                  <c:v>6.3780776533902808E-2</c:v>
                </c:pt>
                <c:pt idx="19450" formatCode="0.0%">
                  <c:v>6.4010740613160241E-2</c:v>
                </c:pt>
                <c:pt idx="19451" formatCode="0.0%">
                  <c:v>6.3641756570686853E-2</c:v>
                </c:pt>
                <c:pt idx="19452" formatCode="0.0%">
                  <c:v>6.372851978505005E-2</c:v>
                </c:pt>
                <c:pt idx="19453" formatCode="0.0%">
                  <c:v>6.3722487664235244E-2</c:v>
                </c:pt>
                <c:pt idx="19454" formatCode="0.0%">
                  <c:v>7.4876099760197642E-2</c:v>
                </c:pt>
                <c:pt idx="19455" formatCode="0.0%">
                  <c:v>7.6682108498770399E-2</c:v>
                </c:pt>
                <c:pt idx="19456" formatCode="0.0%">
                  <c:v>7.6562562890087948E-2</c:v>
                </c:pt>
                <c:pt idx="19457" formatCode="0.0%">
                  <c:v>8.0315066581597511E-2</c:v>
                </c:pt>
                <c:pt idx="19458" formatCode="0.0%">
                  <c:v>7.3811019086636745E-2</c:v>
                </c:pt>
                <c:pt idx="19459" formatCode="0.0%">
                  <c:v>7.7519599502598568E-2</c:v>
                </c:pt>
                <c:pt idx="19460" formatCode="0.0%">
                  <c:v>7.4472404474907494E-2</c:v>
                </c:pt>
                <c:pt idx="19461" formatCode="0.0%">
                  <c:v>8.0787874298896278E-2</c:v>
                </c:pt>
                <c:pt idx="19462" formatCode="0.0%">
                  <c:v>8.6485097331718414E-2</c:v>
                </c:pt>
                <c:pt idx="19463" formatCode="0.0%">
                  <c:v>8.6572318812129997E-2</c:v>
                </c:pt>
                <c:pt idx="19464" formatCode="0.0%">
                  <c:v>9.4186016384577617E-2</c:v>
                </c:pt>
                <c:pt idx="19465" formatCode="0.0%">
                  <c:v>9.5714686045822006E-2</c:v>
                </c:pt>
                <c:pt idx="19466" formatCode="0.0%">
                  <c:v>9.5716527140185054E-2</c:v>
                </c:pt>
                <c:pt idx="19467" formatCode="0.0%">
                  <c:v>9.5509237238790845E-2</c:v>
                </c:pt>
                <c:pt idx="19468" formatCode="0.0%">
                  <c:v>9.5599778607386277E-2</c:v>
                </c:pt>
                <c:pt idx="19469" formatCode="0.0%">
                  <c:v>9.5039270221364255E-2</c:v>
                </c:pt>
                <c:pt idx="19470" formatCode="0.0%">
                  <c:v>9.6108228720080333E-2</c:v>
                </c:pt>
                <c:pt idx="19471" formatCode="0.0%">
                  <c:v>9.8777611441628652E-2</c:v>
                </c:pt>
                <c:pt idx="19472" formatCode="0.0%">
                  <c:v>9.9357354863402206E-2</c:v>
                </c:pt>
                <c:pt idx="19473" formatCode="0.0%">
                  <c:v>0.1028737260057572</c:v>
                </c:pt>
                <c:pt idx="19474" formatCode="0.0%">
                  <c:v>9.479907403737417E-2</c:v>
                </c:pt>
                <c:pt idx="19475" formatCode="0.0%">
                  <c:v>9.0823107350743948E-2</c:v>
                </c:pt>
                <c:pt idx="19476" formatCode="0.0%">
                  <c:v>9.0420679996219736E-2</c:v>
                </c:pt>
                <c:pt idx="19477" formatCode="0.0%">
                  <c:v>8.6844480766184937E-2</c:v>
                </c:pt>
                <c:pt idx="19478" formatCode="0.0%">
                  <c:v>8.7333631816062629E-2</c:v>
                </c:pt>
                <c:pt idx="19479" formatCode="0.0%">
                  <c:v>8.8131321021909098E-2</c:v>
                </c:pt>
                <c:pt idx="19480" formatCode="0.0%">
                  <c:v>8.8118331718624335E-2</c:v>
                </c:pt>
                <c:pt idx="19481" formatCode="0.0%">
                  <c:v>8.647408341618637E-2</c:v>
                </c:pt>
                <c:pt idx="19482" formatCode="0.0%">
                  <c:v>7.8185495522229906E-2</c:v>
                </c:pt>
                <c:pt idx="19483" formatCode="0.0%">
                  <c:v>8.5053236515258118E-2</c:v>
                </c:pt>
                <c:pt idx="19484" formatCode="0.0%">
                  <c:v>8.2325699467923924E-2</c:v>
                </c:pt>
                <c:pt idx="19485" formatCode="0.0%">
                  <c:v>8.0287549234080616E-2</c:v>
                </c:pt>
                <c:pt idx="19486" formatCode="0.0%">
                  <c:v>8.3343698748626502E-2</c:v>
                </c:pt>
                <c:pt idx="19487" formatCode="0.0%">
                  <c:v>8.3679138051796553E-2</c:v>
                </c:pt>
                <c:pt idx="19488" formatCode="0.0%">
                  <c:v>8.6758729887311425E-2</c:v>
                </c:pt>
                <c:pt idx="19489" formatCode="0.0%">
                  <c:v>8.967709491063619E-2</c:v>
                </c:pt>
                <c:pt idx="19490" formatCode="0.0%">
                  <c:v>8.7585493499278411E-2</c:v>
                </c:pt>
                <c:pt idx="19491" formatCode="0.0%">
                  <c:v>9.467046758194482E-2</c:v>
                </c:pt>
                <c:pt idx="19492" formatCode="0.0%">
                  <c:v>9.282599728227571E-2</c:v>
                </c:pt>
                <c:pt idx="19493" formatCode="0.0%">
                  <c:v>9.0095552228409828E-2</c:v>
                </c:pt>
                <c:pt idx="19494" formatCode="0.0%">
                  <c:v>8.7622291385895335E-2</c:v>
                </c:pt>
                <c:pt idx="19495" formatCode="0.0%">
                  <c:v>8.7105199497111291E-2</c:v>
                </c:pt>
                <c:pt idx="19496" formatCode="0.0%">
                  <c:v>8.7428136805296819E-2</c:v>
                </c:pt>
                <c:pt idx="19497" formatCode="0.0%">
                  <c:v>8.7720160691215535E-2</c:v>
                </c:pt>
                <c:pt idx="19498" formatCode="0.0%">
                  <c:v>8.5139345980408107E-2</c:v>
                </c:pt>
                <c:pt idx="19499" formatCode="0.0%">
                  <c:v>8.3668494419732231E-2</c:v>
                </c:pt>
                <c:pt idx="19500" formatCode="0.0%">
                  <c:v>8.7165925977795336E-2</c:v>
                </c:pt>
                <c:pt idx="19501" formatCode="0.0%">
                  <c:v>8.2115645118180702E-2</c:v>
                </c:pt>
                <c:pt idx="19502" formatCode="0.0%">
                  <c:v>9.1155060817229863E-2</c:v>
                </c:pt>
                <c:pt idx="19503" formatCode="0.0%">
                  <c:v>8.8162632965786775E-2</c:v>
                </c:pt>
                <c:pt idx="19504" formatCode="0.0%">
                  <c:v>8.4643867426271599E-2</c:v>
                </c:pt>
                <c:pt idx="19505" formatCode="0.0%">
                  <c:v>9.5600974714550285E-2</c:v>
                </c:pt>
                <c:pt idx="19506" formatCode="0.0%">
                  <c:v>9.3018156375012886E-2</c:v>
                </c:pt>
                <c:pt idx="19507" formatCode="0.0%">
                  <c:v>9.3848666370327807E-2</c:v>
                </c:pt>
                <c:pt idx="19508" formatCode="0.0%">
                  <c:v>9.477616459181111E-2</c:v>
                </c:pt>
                <c:pt idx="19509" formatCode="0.0%">
                  <c:v>9.2039240798860694E-2</c:v>
                </c:pt>
                <c:pt idx="19510" formatCode="0.0%">
                  <c:v>9.5749718579930754E-2</c:v>
                </c:pt>
                <c:pt idx="19511" formatCode="0.0%">
                  <c:v>8.6175154641609186E-2</c:v>
                </c:pt>
                <c:pt idx="19512" formatCode="0.0%">
                  <c:v>8.6163020107827087E-2</c:v>
                </c:pt>
                <c:pt idx="19513" formatCode="0.0%">
                  <c:v>9.0460999698699043E-2</c:v>
                </c:pt>
                <c:pt idx="19514" formatCode="0.0%">
                  <c:v>9.3233203832791003E-2</c:v>
                </c:pt>
                <c:pt idx="19515" formatCode="0.0%">
                  <c:v>9.7659753740351421E-2</c:v>
                </c:pt>
                <c:pt idx="19516" formatCode="0.0%">
                  <c:v>0.10234410383748357</c:v>
                </c:pt>
                <c:pt idx="19517" formatCode="0.0%">
                  <c:v>0.10044966909919617</c:v>
                </c:pt>
                <c:pt idx="19518" formatCode="0.0%">
                  <c:v>0.10015197388757238</c:v>
                </c:pt>
                <c:pt idx="19519" formatCode="0.0%">
                  <c:v>9.7474457873578862E-2</c:v>
                </c:pt>
                <c:pt idx="19520" formatCode="0.0%">
                  <c:v>9.5280145434559316E-2</c:v>
                </c:pt>
                <c:pt idx="19521" formatCode="0.0%">
                  <c:v>9.4493302461675893E-2</c:v>
                </c:pt>
                <c:pt idx="19522" formatCode="0.0%">
                  <c:v>9.3237193891185788E-2</c:v>
                </c:pt>
                <c:pt idx="19523" formatCode="0.0%">
                  <c:v>9.322638607938924E-2</c:v>
                </c:pt>
                <c:pt idx="19524" formatCode="0.0%">
                  <c:v>9.2770228661565771E-2</c:v>
                </c:pt>
                <c:pt idx="19525" formatCode="0.0%">
                  <c:v>8.7904810397602992E-2</c:v>
                </c:pt>
                <c:pt idx="19526" formatCode="0.0%">
                  <c:v>0.10038258878283916</c:v>
                </c:pt>
                <c:pt idx="19527" formatCode="0.0%">
                  <c:v>0.10047482856553107</c:v>
                </c:pt>
                <c:pt idx="19528" formatCode="0.0%">
                  <c:v>9.6141061480901874E-2</c:v>
                </c:pt>
                <c:pt idx="19529" formatCode="0.0%">
                  <c:v>9.7847961820922619E-2</c:v>
                </c:pt>
                <c:pt idx="19530" formatCode="0.0%">
                  <c:v>9.5761920879422854E-2</c:v>
                </c:pt>
                <c:pt idx="19531" formatCode="0.0%">
                  <c:v>9.6802873428399411E-2</c:v>
                </c:pt>
                <c:pt idx="19532" formatCode="0.0%">
                  <c:v>9.6485602681157925E-2</c:v>
                </c:pt>
                <c:pt idx="19533" formatCode="0.0%">
                  <c:v>9.64519411000474E-2</c:v>
                </c:pt>
                <c:pt idx="19534" formatCode="0.0%">
                  <c:v>9.7153412437408077E-2</c:v>
                </c:pt>
                <c:pt idx="19535" formatCode="0.0%">
                  <c:v>9.9319998323418007E-2</c:v>
                </c:pt>
                <c:pt idx="19536" formatCode="0.0%">
                  <c:v>0.11151957077043143</c:v>
                </c:pt>
                <c:pt idx="19537" formatCode="0.0%">
                  <c:v>0.12151182992254146</c:v>
                </c:pt>
                <c:pt idx="19538" formatCode="0.0%">
                  <c:v>0.12178073114234442</c:v>
                </c:pt>
                <c:pt idx="19539" formatCode="0.0%">
                  <c:v>0.13773313144187072</c:v>
                </c:pt>
                <c:pt idx="19540" formatCode="0.0%">
                  <c:v>0.13783464217612476</c:v>
                </c:pt>
                <c:pt idx="19541" formatCode="0.0%">
                  <c:v>0.13820837064428376</c:v>
                </c:pt>
                <c:pt idx="19542" formatCode="0.0%">
                  <c:v>0.13691697053949942</c:v>
                </c:pt>
                <c:pt idx="19543" formatCode="0.0%">
                  <c:v>0.15159917429568595</c:v>
                </c:pt>
                <c:pt idx="19544" formatCode="0.0%">
                  <c:v>0.15447911738526068</c:v>
                </c:pt>
                <c:pt idx="19545" formatCode="0.0%">
                  <c:v>0.15102520332168567</c:v>
                </c:pt>
                <c:pt idx="19546" formatCode="0.0%">
                  <c:v>0.14505248954228322</c:v>
                </c:pt>
                <c:pt idx="19547" formatCode="0.0%">
                  <c:v>0.1443665306334089</c:v>
                </c:pt>
                <c:pt idx="19548" formatCode="0.0%">
                  <c:v>0.14409460426796281</c:v>
                </c:pt>
                <c:pt idx="19549" formatCode="0.0%">
                  <c:v>0.14082859717792962</c:v>
                </c:pt>
                <c:pt idx="19550" formatCode="0.0%">
                  <c:v>0.14137500594079938</c:v>
                </c:pt>
                <c:pt idx="19551" formatCode="0.0%">
                  <c:v>0.13857802911444031</c:v>
                </c:pt>
                <c:pt idx="19552" formatCode="0.0%">
                  <c:v>0.14016590574952484</c:v>
                </c:pt>
                <c:pt idx="19553" formatCode="0.0%">
                  <c:v>0.13842592359665698</c:v>
                </c:pt>
                <c:pt idx="19554" formatCode="0.0%">
                  <c:v>0.13871037043131842</c:v>
                </c:pt>
                <c:pt idx="19555" formatCode="0.0%">
                  <c:v>0.13326914072563781</c:v>
                </c:pt>
                <c:pt idx="19556" formatCode="0.0%">
                  <c:v>0.12449576251078123</c:v>
                </c:pt>
                <c:pt idx="19557" formatCode="0.0%">
                  <c:v>0.11080730332373195</c:v>
                </c:pt>
                <c:pt idx="19558" formatCode="0.0%">
                  <c:v>0.11087516870224841</c:v>
                </c:pt>
                <c:pt idx="19559" formatCode="0.0%">
                  <c:v>9.8776201182685583E-2</c:v>
                </c:pt>
                <c:pt idx="19560" formatCode="0.0%">
                  <c:v>9.7674571819202943E-2</c:v>
                </c:pt>
                <c:pt idx="19561" formatCode="0.0%">
                  <c:v>9.4169322785762094E-2</c:v>
                </c:pt>
                <c:pt idx="19562" formatCode="0.0%">
                  <c:v>7.9611151330023971E-2</c:v>
                </c:pt>
                <c:pt idx="19563" formatCode="0.0%">
                  <c:v>7.5750444328422428E-2</c:v>
                </c:pt>
                <c:pt idx="19564" formatCode="0.0%">
                  <c:v>7.4036268468273547E-2</c:v>
                </c:pt>
                <c:pt idx="19565" formatCode="0.0%">
                  <c:v>7.7500357988442542E-2</c:v>
                </c:pt>
                <c:pt idx="19566" formatCode="0.0%">
                  <c:v>8.0769470418186592E-2</c:v>
                </c:pt>
                <c:pt idx="19567" formatCode="0.0%">
                  <c:v>8.0527242399081267E-2</c:v>
                </c:pt>
                <c:pt idx="19568" formatCode="0.0%">
                  <c:v>8.1708200794376185E-2</c:v>
                </c:pt>
                <c:pt idx="19569" formatCode="0.0%">
                  <c:v>8.1698888408104645E-2</c:v>
                </c:pt>
                <c:pt idx="19570" formatCode="0.0%">
                  <c:v>8.3170285159260435E-2</c:v>
                </c:pt>
                <c:pt idx="19571" formatCode="0.0%">
                  <c:v>8.3751352504342416E-2</c:v>
                </c:pt>
                <c:pt idx="19572" formatCode="0.0%">
                  <c:v>7.981814584852133E-2</c:v>
                </c:pt>
                <c:pt idx="19573" formatCode="0.0%">
                  <c:v>7.9504650808520511E-2</c:v>
                </c:pt>
                <c:pt idx="19574" formatCode="0.0%">
                  <c:v>8.0753158714752207E-2</c:v>
                </c:pt>
                <c:pt idx="19575" formatCode="0.0%">
                  <c:v>7.8902765520110135E-2</c:v>
                </c:pt>
                <c:pt idx="19576" formatCode="0.0%">
                  <c:v>7.9696588973555083E-2</c:v>
                </c:pt>
                <c:pt idx="19577" formatCode="0.0%">
                  <c:v>7.5570378430376464E-2</c:v>
                </c:pt>
                <c:pt idx="19578" formatCode="0.0%">
                  <c:v>7.8139918645296444E-2</c:v>
                </c:pt>
                <c:pt idx="19579" formatCode="0.0%">
                  <c:v>7.6076787643636665E-2</c:v>
                </c:pt>
                <c:pt idx="19580" formatCode="0.0%">
                  <c:v>7.4427153762962356E-2</c:v>
                </c:pt>
                <c:pt idx="19581" formatCode="0.0%">
                  <c:v>7.4918816577551214E-2</c:v>
                </c:pt>
                <c:pt idx="19582" formatCode="0.0%">
                  <c:v>7.4566591520515785E-2</c:v>
                </c:pt>
                <c:pt idx="19583" formatCode="0.0%">
                  <c:v>7.6248258958951182E-2</c:v>
                </c:pt>
                <c:pt idx="19584" formatCode="0.0%">
                  <c:v>7.6395282136557913E-2</c:v>
                </c:pt>
                <c:pt idx="19585" formatCode="0.0%">
                  <c:v>7.3512165723862585E-2</c:v>
                </c:pt>
                <c:pt idx="19586" formatCode="0.0%">
                  <c:v>6.0690110249545244E-2</c:v>
                </c:pt>
                <c:pt idx="19587" formatCode="0.0%">
                  <c:v>8.5507059456434761E-2</c:v>
                </c:pt>
                <c:pt idx="19588" formatCode="0.0%">
                  <c:v>8.5836027053747543E-2</c:v>
                </c:pt>
                <c:pt idx="19589" formatCode="0.0%">
                  <c:v>8.5791591928300659E-2</c:v>
                </c:pt>
                <c:pt idx="19590" formatCode="0.0%">
                  <c:v>8.8896133367197552E-2</c:v>
                </c:pt>
                <c:pt idx="19591" formatCode="0.0%">
                  <c:v>8.8888889765700932E-2</c:v>
                </c:pt>
                <c:pt idx="19592" formatCode="0.0%">
                  <c:v>8.8909395310845102E-2</c:v>
                </c:pt>
                <c:pt idx="19593" formatCode="0.0%">
                  <c:v>8.9263518690835472E-2</c:v>
                </c:pt>
                <c:pt idx="19594" formatCode="0.0%">
                  <c:v>9.1697413166589345E-2</c:v>
                </c:pt>
                <c:pt idx="19595" formatCode="0.0%">
                  <c:v>9.0816052128336378E-2</c:v>
                </c:pt>
                <c:pt idx="19596" formatCode="0.0%">
                  <c:v>9.1803325724005569E-2</c:v>
                </c:pt>
                <c:pt idx="19597" formatCode="0.0%">
                  <c:v>9.238268911557905E-2</c:v>
                </c:pt>
                <c:pt idx="19598" formatCode="0.0%">
                  <c:v>9.0970452769780094E-2</c:v>
                </c:pt>
                <c:pt idx="19599" formatCode="0.0%">
                  <c:v>0.11433837302794565</c:v>
                </c:pt>
                <c:pt idx="19600" formatCode="0.0%">
                  <c:v>0.11417482071856237</c:v>
                </c:pt>
                <c:pt idx="19601" formatCode="0.0%">
                  <c:v>0.11347827408189544</c:v>
                </c:pt>
                <c:pt idx="19602" formatCode="0.0%">
                  <c:v>0.11361498277632516</c:v>
                </c:pt>
                <c:pt idx="19603" formatCode="0.0%">
                  <c:v>0.11071665726483453</c:v>
                </c:pt>
                <c:pt idx="19604" formatCode="0.0%">
                  <c:v>0.11351234143249447</c:v>
                </c:pt>
                <c:pt idx="19605" formatCode="0.0%">
                  <c:v>0.11252919458527301</c:v>
                </c:pt>
                <c:pt idx="19606" formatCode="0.0%">
                  <c:v>0.11191553659705691</c:v>
                </c:pt>
                <c:pt idx="19607" formatCode="0.0%">
                  <c:v>9.6909765455895386E-2</c:v>
                </c:pt>
                <c:pt idx="19608" formatCode="0.0%">
                  <c:v>0.10190823780703759</c:v>
                </c:pt>
                <c:pt idx="19609" formatCode="0.0%">
                  <c:v>0.10360605329451641</c:v>
                </c:pt>
                <c:pt idx="19610" formatCode="0.0%">
                  <c:v>9.7201069596709516E-2</c:v>
                </c:pt>
                <c:pt idx="19611" formatCode="0.0%">
                  <c:v>9.9021711629734638E-2</c:v>
                </c:pt>
                <c:pt idx="19612" formatCode="0.0%">
                  <c:v>0.10520484529983185</c:v>
                </c:pt>
                <c:pt idx="19613" formatCode="0.0%">
                  <c:v>0.1039083708837029</c:v>
                </c:pt>
                <c:pt idx="19614" formatCode="0.0%">
                  <c:v>0.10287651364843385</c:v>
                </c:pt>
                <c:pt idx="19615" formatCode="0.0%">
                  <c:v>0.1029753202823373</c:v>
                </c:pt>
                <c:pt idx="19616" formatCode="0.0%">
                  <c:v>0.10944148365024135</c:v>
                </c:pt>
                <c:pt idx="19617" formatCode="0.0%">
                  <c:v>0.1093524765303434</c:v>
                </c:pt>
                <c:pt idx="19618" formatCode="0.0%">
                  <c:v>0.11068398829395483</c:v>
                </c:pt>
                <c:pt idx="19619" formatCode="0.0%">
                  <c:v>8.6502640707637857E-2</c:v>
                </c:pt>
                <c:pt idx="19620" formatCode="0.0%">
                  <c:v>8.7745831490335047E-2</c:v>
                </c:pt>
                <c:pt idx="19621" formatCode="0.0%">
                  <c:v>9.0815386300334547E-2</c:v>
                </c:pt>
                <c:pt idx="19622" formatCode="0.0%">
                  <c:v>9.1924538927524127E-2</c:v>
                </c:pt>
                <c:pt idx="19623" formatCode="0.0%">
                  <c:v>8.8890551960548306E-2</c:v>
                </c:pt>
                <c:pt idx="19624" formatCode="0.0%">
                  <c:v>8.5662754853579465E-2</c:v>
                </c:pt>
                <c:pt idx="19625" formatCode="0.0%">
                  <c:v>9.3836160198521951E-2</c:v>
                </c:pt>
                <c:pt idx="19626" formatCode="0.0%">
                  <c:v>9.7215889981024373E-2</c:v>
                </c:pt>
                <c:pt idx="19627" formatCode="0.0%">
                  <c:v>9.7327631947384668E-2</c:v>
                </c:pt>
                <c:pt idx="19628" formatCode="0.0%">
                  <c:v>9.1170275153958688E-2</c:v>
                </c:pt>
                <c:pt idx="19629" formatCode="0.0%">
                  <c:v>9.2754892548813625E-2</c:v>
                </c:pt>
                <c:pt idx="19630" formatCode="0.0%">
                  <c:v>9.3145349207048242E-2</c:v>
                </c:pt>
                <c:pt idx="19631" formatCode="0.0%">
                  <c:v>8.7583744439152927E-2</c:v>
                </c:pt>
                <c:pt idx="19632" formatCode="0.0%">
                  <c:v>8.49458749686436E-2</c:v>
                </c:pt>
                <c:pt idx="19633" formatCode="0.0%">
                  <c:v>8.8238607973045918E-2</c:v>
                </c:pt>
                <c:pt idx="19634" formatCode="0.0%">
                  <c:v>8.8108399011693456E-2</c:v>
                </c:pt>
                <c:pt idx="19635" formatCode="0.0%">
                  <c:v>9.3140260387307966E-2</c:v>
                </c:pt>
                <c:pt idx="19636" formatCode="0.0%">
                  <c:v>8.8191090326958224E-2</c:v>
                </c:pt>
                <c:pt idx="19637" formatCode="0.0%">
                  <c:v>8.777145070767875E-2</c:v>
                </c:pt>
                <c:pt idx="19638" formatCode="0.0%">
                  <c:v>8.4583845581359549E-2</c:v>
                </c:pt>
                <c:pt idx="19639" formatCode="0.0%">
                  <c:v>8.4583941822461498E-2</c:v>
                </c:pt>
                <c:pt idx="19640" formatCode="0.0%">
                  <c:v>8.6834088767937079E-2</c:v>
                </c:pt>
                <c:pt idx="19641" formatCode="0.0%">
                  <c:v>8.5411176415192344E-2</c:v>
                </c:pt>
                <c:pt idx="19642" formatCode="0.0%">
                  <c:v>8.4722708909698088E-2</c:v>
                </c:pt>
                <c:pt idx="19643" formatCode="0.0%">
                  <c:v>8.4695527446691413E-2</c:v>
                </c:pt>
                <c:pt idx="19644" formatCode="0.0%">
                  <c:v>8.4039323090744605E-2</c:v>
                </c:pt>
                <c:pt idx="19645" formatCode="0.0%">
                  <c:v>7.8270802202155293E-2</c:v>
                </c:pt>
                <c:pt idx="19646" formatCode="0.0%">
                  <c:v>7.7293352725925149E-2</c:v>
                </c:pt>
                <c:pt idx="19647" formatCode="0.0%">
                  <c:v>7.7449057135671781E-2</c:v>
                </c:pt>
                <c:pt idx="19648" formatCode="0.0%">
                  <c:v>7.8908001947967987E-2</c:v>
                </c:pt>
                <c:pt idx="19649" formatCode="0.0%">
                  <c:v>7.428455612737915E-2</c:v>
                </c:pt>
                <c:pt idx="19650" formatCode="0.0%">
                  <c:v>7.6042972269000184E-2</c:v>
                </c:pt>
                <c:pt idx="19651" formatCode="0.0%">
                  <c:v>7.6805993739130968E-2</c:v>
                </c:pt>
                <c:pt idx="19652" formatCode="0.0%">
                  <c:v>7.4325069427791157E-2</c:v>
                </c:pt>
                <c:pt idx="19653" formatCode="0.0%">
                  <c:v>8.1908455306361719E-2</c:v>
                </c:pt>
                <c:pt idx="19654" formatCode="0.0%">
                  <c:v>8.1741540834107868E-2</c:v>
                </c:pt>
                <c:pt idx="19655" formatCode="0.0%">
                  <c:v>7.7959166304387872E-2</c:v>
                </c:pt>
                <c:pt idx="19656" formatCode="0.0%">
                  <c:v>7.6260629454548368E-2</c:v>
                </c:pt>
                <c:pt idx="19657" formatCode="0.0%">
                  <c:v>7.5933824928034105E-2</c:v>
                </c:pt>
                <c:pt idx="19658" formatCode="0.0%">
                  <c:v>7.5935442201281428E-2</c:v>
                </c:pt>
                <c:pt idx="19659" formatCode="0.0%">
                  <c:v>9.9236030543718587E-2</c:v>
                </c:pt>
                <c:pt idx="19660" formatCode="0.0%">
                  <c:v>9.6669041822479013E-2</c:v>
                </c:pt>
                <c:pt idx="19661" formatCode="0.0%">
                  <c:v>9.450970210027719E-2</c:v>
                </c:pt>
                <c:pt idx="19662" formatCode="0.0%">
                  <c:v>9.3934826628442228E-2</c:v>
                </c:pt>
                <c:pt idx="19663" formatCode="0.0%">
                  <c:v>9.4414836184670906E-2</c:v>
                </c:pt>
                <c:pt idx="19664" formatCode="0.0%">
                  <c:v>9.6054787201429556E-2</c:v>
                </c:pt>
                <c:pt idx="19665" formatCode="0.0%">
                  <c:v>9.3373638094695274E-2</c:v>
                </c:pt>
                <c:pt idx="19666" formatCode="0.0%">
                  <c:v>9.0370987018822915E-2</c:v>
                </c:pt>
                <c:pt idx="19667" formatCode="0.0%">
                  <c:v>8.9971282770913694E-2</c:v>
                </c:pt>
                <c:pt idx="19668" formatCode="0.0%">
                  <c:v>8.9949046669799734E-2</c:v>
                </c:pt>
                <c:pt idx="19669" formatCode="0.0%">
                  <c:v>9.2023358741202779E-2</c:v>
                </c:pt>
                <c:pt idx="19670" formatCode="0.0%">
                  <c:v>9.09053597705438E-2</c:v>
                </c:pt>
                <c:pt idx="19671" formatCode="0.0%">
                  <c:v>9.03883884692957E-2</c:v>
                </c:pt>
                <c:pt idx="19672" formatCode="0.0%">
                  <c:v>9.6983650653710382E-2</c:v>
                </c:pt>
                <c:pt idx="19673" formatCode="0.0%">
                  <c:v>8.8087524513766058E-2</c:v>
                </c:pt>
                <c:pt idx="19674" formatCode="0.0%">
                  <c:v>8.8124066483397295E-2</c:v>
                </c:pt>
                <c:pt idx="19675" formatCode="0.0%">
                  <c:v>8.2506300096801669E-2</c:v>
                </c:pt>
                <c:pt idx="19676" formatCode="0.0%">
                  <c:v>9.6831719688398266E-2</c:v>
                </c:pt>
                <c:pt idx="19677" formatCode="0.0%">
                  <c:v>0.10576639696325604</c:v>
                </c:pt>
                <c:pt idx="19678" formatCode="0.0%">
                  <c:v>0.10547111476081497</c:v>
                </c:pt>
                <c:pt idx="19679" formatCode="0.0%">
                  <c:v>8.4722022585032711E-2</c:v>
                </c:pt>
                <c:pt idx="19680" formatCode="0.0%">
                  <c:v>0.10214480845675648</c:v>
                </c:pt>
                <c:pt idx="19681" formatCode="0.0%">
                  <c:v>0.10320939634624858</c:v>
                </c:pt>
                <c:pt idx="19682" formatCode="0.0%">
                  <c:v>0.1052818216024692</c:v>
                </c:pt>
                <c:pt idx="19683" formatCode="0.0%">
                  <c:v>0.1055496722064368</c:v>
                </c:pt>
                <c:pt idx="19684" formatCode="0.0%">
                  <c:v>0.10536307655039071</c:v>
                </c:pt>
                <c:pt idx="19685" formatCode="0.0%">
                  <c:v>0.10474119633613425</c:v>
                </c:pt>
                <c:pt idx="19686" formatCode="0.0%">
                  <c:v>0.11343543531218703</c:v>
                </c:pt>
                <c:pt idx="19687" formatCode="0.0%">
                  <c:v>0.11604405663564955</c:v>
                </c:pt>
                <c:pt idx="19688" formatCode="0.0%">
                  <c:v>0.12716557409867221</c:v>
                </c:pt>
                <c:pt idx="19689" formatCode="0.0%">
                  <c:v>0.12897423215204137</c:v>
                </c:pt>
                <c:pt idx="19690" formatCode="0.0%">
                  <c:v>0.1376227785955256</c:v>
                </c:pt>
                <c:pt idx="19691" formatCode="0.0%">
                  <c:v>0.13714101062184822</c:v>
                </c:pt>
                <c:pt idx="19692" formatCode="0.0%">
                  <c:v>0.14309303205429699</c:v>
                </c:pt>
                <c:pt idx="19693" formatCode="0.0%">
                  <c:v>0.14305418679495874</c:v>
                </c:pt>
                <c:pt idx="19694" formatCode="0.0%">
                  <c:v>0.14327184003051766</c:v>
                </c:pt>
                <c:pt idx="19695" formatCode="0.0%">
                  <c:v>0.14398001109742153</c:v>
                </c:pt>
                <c:pt idx="19696" formatCode="0.0%">
                  <c:v>0.13896094104634485</c:v>
                </c:pt>
                <c:pt idx="19697" formatCode="0.0%">
                  <c:v>0.14034717731009921</c:v>
                </c:pt>
                <c:pt idx="19698" formatCode="0.0%">
                  <c:v>0.14205503746126219</c:v>
                </c:pt>
                <c:pt idx="19699" formatCode="0.0%">
                  <c:v>0.14484938863083086</c:v>
                </c:pt>
                <c:pt idx="19700" formatCode="0.0%">
                  <c:v>0.15663275986520894</c:v>
                </c:pt>
                <c:pt idx="19701" formatCode="0.0%">
                  <c:v>0.15541457752116622</c:v>
                </c:pt>
                <c:pt idx="19702" formatCode="0.0%">
                  <c:v>0.15740814294915353</c:v>
                </c:pt>
                <c:pt idx="19703" formatCode="0.0%">
                  <c:v>0.15708053176881684</c:v>
                </c:pt>
                <c:pt idx="19704" formatCode="0.0%">
                  <c:v>0.16083134436187063</c:v>
                </c:pt>
                <c:pt idx="19705" formatCode="0.0%">
                  <c:v>0.16168465490919803</c:v>
                </c:pt>
                <c:pt idx="19706" formatCode="0.0%">
                  <c:v>0.15553435979020877</c:v>
                </c:pt>
                <c:pt idx="19707" formatCode="0.0%">
                  <c:v>0.15507019556778423</c:v>
                </c:pt>
                <c:pt idx="19708" formatCode="0.0%">
                  <c:v>0.14811377458157926</c:v>
                </c:pt>
                <c:pt idx="19709" formatCode="0.0%">
                  <c:v>0.14629358806947876</c:v>
                </c:pt>
                <c:pt idx="19710" formatCode="0.0%">
                  <c:v>0.16010662465843764</c:v>
                </c:pt>
                <c:pt idx="19711" formatCode="0.0%">
                  <c:v>0.15992925862907331</c:v>
                </c:pt>
                <c:pt idx="19712" formatCode="0.0%">
                  <c:v>0.14884174408766238</c:v>
                </c:pt>
                <c:pt idx="19713" formatCode="0.0%">
                  <c:v>0.15135720126990695</c:v>
                </c:pt>
                <c:pt idx="19714" formatCode="0.0%">
                  <c:v>0.14961068776345265</c:v>
                </c:pt>
                <c:pt idx="19715" formatCode="0.0%">
                  <c:v>0.15190334788198426</c:v>
                </c:pt>
                <c:pt idx="19716" formatCode="0.0%">
                  <c:v>0.15088273188890519</c:v>
                </c:pt>
                <c:pt idx="19717" formatCode="0.0%">
                  <c:v>0.14270728944230934</c:v>
                </c:pt>
                <c:pt idx="19718" formatCode="0.0%">
                  <c:v>0.14345379854825532</c:v>
                </c:pt>
                <c:pt idx="19719" formatCode="0.0%">
                  <c:v>0.15145889562432505</c:v>
                </c:pt>
                <c:pt idx="19720" formatCode="0.0%">
                  <c:v>0.13152540561472276</c:v>
                </c:pt>
                <c:pt idx="19721" formatCode="0.0%">
                  <c:v>0.13110925526322886</c:v>
                </c:pt>
                <c:pt idx="19722" formatCode="0.0%">
                  <c:v>0.12746764546660541</c:v>
                </c:pt>
                <c:pt idx="19723" formatCode="0.0%">
                  <c:v>0.1434264461094798</c:v>
                </c:pt>
                <c:pt idx="19724" formatCode="0.0%">
                  <c:v>0.14298466790087716</c:v>
                </c:pt>
                <c:pt idx="19725" formatCode="0.0%">
                  <c:v>0.14399303193827157</c:v>
                </c:pt>
                <c:pt idx="19726" formatCode="0.0%">
                  <c:v>0.15565277794273222</c:v>
                </c:pt>
                <c:pt idx="19727" formatCode="0.0%">
                  <c:v>0.15625280182262305</c:v>
                </c:pt>
                <c:pt idx="19728" formatCode="0.0%">
                  <c:v>0.15196349784928428</c:v>
                </c:pt>
                <c:pt idx="19729" formatCode="0.0%">
                  <c:v>0.15216641422739957</c:v>
                </c:pt>
                <c:pt idx="19730" formatCode="0.0%">
                  <c:v>0.13843218658282813</c:v>
                </c:pt>
                <c:pt idx="19731" formatCode="0.0%">
                  <c:v>0.1383115877628478</c:v>
                </c:pt>
                <c:pt idx="19732" formatCode="0.0%">
                  <c:v>0.13626243830056545</c:v>
                </c:pt>
                <c:pt idx="19733" formatCode="0.0%">
                  <c:v>0.13546886315756981</c:v>
                </c:pt>
                <c:pt idx="19734" formatCode="0.0%">
                  <c:v>0.13528384075086147</c:v>
                </c:pt>
                <c:pt idx="19735" formatCode="0.0%">
                  <c:v>0.13280318974746755</c:v>
                </c:pt>
                <c:pt idx="19736" formatCode="0.0%">
                  <c:v>0.13327629552809331</c:v>
                </c:pt>
                <c:pt idx="19737" formatCode="0.0%">
                  <c:v>0.13312055846508683</c:v>
                </c:pt>
                <c:pt idx="19738" formatCode="0.0%">
                  <c:v>0.12785310812613448</c:v>
                </c:pt>
                <c:pt idx="19739" formatCode="0.0%">
                  <c:v>0.11844626742828392</c:v>
                </c:pt>
                <c:pt idx="19740" formatCode="0.0%">
                  <c:v>0.11786269033695969</c:v>
                </c:pt>
                <c:pt idx="19741" formatCode="0.0%">
                  <c:v>0.11746235065357774</c:v>
                </c:pt>
                <c:pt idx="19742" formatCode="0.0%">
                  <c:v>0.12527894605410103</c:v>
                </c:pt>
                <c:pt idx="19743" formatCode="0.0%">
                  <c:v>0.11161869175988499</c:v>
                </c:pt>
                <c:pt idx="19744" formatCode="0.0%">
                  <c:v>0.10530751831398825</c:v>
                </c:pt>
                <c:pt idx="19745" formatCode="0.0%">
                  <c:v>9.9905232443211922E-2</c:v>
                </c:pt>
                <c:pt idx="19746" formatCode="0.0%">
                  <c:v>8.7119025835971253E-2</c:v>
                </c:pt>
                <c:pt idx="19747" formatCode="0.0%">
                  <c:v>8.5199776605908412E-2</c:v>
                </c:pt>
                <c:pt idx="19748" formatCode="0.0%">
                  <c:v>8.7416997106705821E-2</c:v>
                </c:pt>
                <c:pt idx="19749" formatCode="0.0%">
                  <c:v>8.5437899804974626E-2</c:v>
                </c:pt>
                <c:pt idx="19750" formatCode="0.0%">
                  <c:v>7.5497770705605732E-2</c:v>
                </c:pt>
                <c:pt idx="19751" formatCode="0.0%">
                  <c:v>7.6691681613592855E-2</c:v>
                </c:pt>
                <c:pt idx="19752" formatCode="0.0%">
                  <c:v>7.3942573383078594E-2</c:v>
                </c:pt>
                <c:pt idx="19753" formatCode="0.0%">
                  <c:v>7.1933733885020751E-2</c:v>
                </c:pt>
                <c:pt idx="19754" formatCode="0.0%">
                  <c:v>7.2075005034021089E-2</c:v>
                </c:pt>
                <c:pt idx="19755" formatCode="0.0%">
                  <c:v>7.3576548063397126E-2</c:v>
                </c:pt>
                <c:pt idx="19756" formatCode="0.0%">
                  <c:v>7.2024217757216694E-2</c:v>
                </c:pt>
                <c:pt idx="19757" formatCode="0.0%">
                  <c:v>8.106421554217795E-2</c:v>
                </c:pt>
                <c:pt idx="19758" formatCode="0.0%">
                  <c:v>8.148396259913078E-2</c:v>
                </c:pt>
                <c:pt idx="19759" formatCode="0.0%">
                  <c:v>8.1056433588234403E-2</c:v>
                </c:pt>
                <c:pt idx="19760" formatCode="0.0%">
                  <c:v>7.88872320663105E-2</c:v>
                </c:pt>
                <c:pt idx="19761" formatCode="0.0%">
                  <c:v>8.5248055324144048E-2</c:v>
                </c:pt>
                <c:pt idx="19762" formatCode="0.0%">
                  <c:v>7.3423217715772274E-2</c:v>
                </c:pt>
                <c:pt idx="19763" formatCode="0.0%">
                  <c:v>6.9905719527751528E-2</c:v>
                </c:pt>
                <c:pt idx="19764" formatCode="0.0%">
                  <c:v>7.0192448414111028E-2</c:v>
                </c:pt>
                <c:pt idx="19765" formatCode="0.0%">
                  <c:v>6.9385970723661802E-2</c:v>
                </c:pt>
                <c:pt idx="19766" formatCode="0.0%">
                  <c:v>6.831995442660696E-2</c:v>
                </c:pt>
                <c:pt idx="19767" formatCode="0.0%">
                  <c:v>7.0089122402966594E-2</c:v>
                </c:pt>
                <c:pt idx="19768" formatCode="0.0%">
                  <c:v>7.1105459254219294E-2</c:v>
                </c:pt>
                <c:pt idx="19769" formatCode="0.0%">
                  <c:v>7.1901565654839766E-2</c:v>
                </c:pt>
                <c:pt idx="19770" formatCode="0.0%">
                  <c:v>7.7088852941938998E-2</c:v>
                </c:pt>
                <c:pt idx="19771" formatCode="0.0%">
                  <c:v>7.9095110179533371E-2</c:v>
                </c:pt>
                <c:pt idx="19772" formatCode="0.0%">
                  <c:v>7.915799385198459E-2</c:v>
                </c:pt>
                <c:pt idx="19773" formatCode="0.0%">
                  <c:v>7.905535882409101E-2</c:v>
                </c:pt>
                <c:pt idx="19774" formatCode="0.0%">
                  <c:v>8.0001302725317469E-2</c:v>
                </c:pt>
                <c:pt idx="19775" formatCode="0.0%">
                  <c:v>7.9912443539948766E-2</c:v>
                </c:pt>
                <c:pt idx="19776" formatCode="0.0%">
                  <c:v>7.9984351957248012E-2</c:v>
                </c:pt>
                <c:pt idx="19777" formatCode="0.0%">
                  <c:v>7.8865364331785634E-2</c:v>
                </c:pt>
                <c:pt idx="19778" formatCode="0.0%">
                  <c:v>7.4791872476747817E-2</c:v>
                </c:pt>
                <c:pt idx="19779" formatCode="0.0%">
                  <c:v>7.6530053426302577E-2</c:v>
                </c:pt>
                <c:pt idx="19780" formatCode="0.0%">
                  <c:v>7.6458288672454439E-2</c:v>
                </c:pt>
                <c:pt idx="19781" formatCode="0.0%">
                  <c:v>6.9647875415561861E-2</c:v>
                </c:pt>
                <c:pt idx="19782" formatCode="0.0%">
                  <c:v>7.0549431922672143E-2</c:v>
                </c:pt>
                <c:pt idx="19783" formatCode="0.0%">
                  <c:v>7.5673479590090617E-2</c:v>
                </c:pt>
                <c:pt idx="19784" formatCode="0.0%">
                  <c:v>7.5594509425876436E-2</c:v>
                </c:pt>
                <c:pt idx="19785" formatCode="0.0%">
                  <c:v>7.5597737035978774E-2</c:v>
                </c:pt>
                <c:pt idx="19786" formatCode="0.0%">
                  <c:v>7.6808248937862963E-2</c:v>
                </c:pt>
                <c:pt idx="19787" formatCode="0.0%">
                  <c:v>7.5692944074280483E-2</c:v>
                </c:pt>
                <c:pt idx="19788" formatCode="0.0%">
                  <c:v>7.1248888819858705E-2</c:v>
                </c:pt>
                <c:pt idx="19789" formatCode="0.0%">
                  <c:v>6.9486568133712442E-2</c:v>
                </c:pt>
                <c:pt idx="19790" formatCode="0.0%">
                  <c:v>6.6646137695075325E-2</c:v>
                </c:pt>
                <c:pt idx="19791" formatCode="0.0%">
                  <c:v>6.3430344426501667E-2</c:v>
                </c:pt>
                <c:pt idx="19792" formatCode="0.0%">
                  <c:v>6.3607818440793995E-2</c:v>
                </c:pt>
                <c:pt idx="19793" formatCode="0.0%">
                  <c:v>6.4661368306128481E-2</c:v>
                </c:pt>
                <c:pt idx="19794" formatCode="0.0%">
                  <c:v>7.297974238222453E-2</c:v>
                </c:pt>
                <c:pt idx="19795" formatCode="0.0%">
                  <c:v>7.0785299346845784E-2</c:v>
                </c:pt>
                <c:pt idx="19796" formatCode="0.0%">
                  <c:v>7.1026483507759419E-2</c:v>
                </c:pt>
                <c:pt idx="19797" formatCode="0.0%">
                  <c:v>6.6617056278343453E-2</c:v>
                </c:pt>
                <c:pt idx="19798" formatCode="0.0%">
                  <c:v>6.6435772773614329E-2</c:v>
                </c:pt>
                <c:pt idx="19799" formatCode="0.0%">
                  <c:v>6.6155951008998778E-2</c:v>
                </c:pt>
                <c:pt idx="19800" formatCode="0.0%">
                  <c:v>7.6372672980479242E-2</c:v>
                </c:pt>
                <c:pt idx="19801" formatCode="0.0%">
                  <c:v>7.6404606451939361E-2</c:v>
                </c:pt>
                <c:pt idx="19802" formatCode="0.0%">
                  <c:v>7.5238150134182294E-2</c:v>
                </c:pt>
                <c:pt idx="19803" formatCode="0.0%">
                  <c:v>7.2199720048942387E-2</c:v>
                </c:pt>
                <c:pt idx="19804" formatCode="0.0%">
                  <c:v>7.2153058127453013E-2</c:v>
                </c:pt>
                <c:pt idx="19805" formatCode="0.0%">
                  <c:v>7.2163935778493435E-2</c:v>
                </c:pt>
                <c:pt idx="19806" formatCode="0.0%">
                  <c:v>7.312667297803381E-2</c:v>
                </c:pt>
                <c:pt idx="19807" formatCode="0.0%">
                  <c:v>7.3275126789338924E-2</c:v>
                </c:pt>
                <c:pt idx="19808" formatCode="0.0%">
                  <c:v>7.3376001979317984E-2</c:v>
                </c:pt>
                <c:pt idx="19809" formatCode="0.0%">
                  <c:v>7.3378091607342877E-2</c:v>
                </c:pt>
                <c:pt idx="19810" formatCode="0.0%">
                  <c:v>7.1180298116190047E-2</c:v>
                </c:pt>
                <c:pt idx="19811" formatCode="0.0%">
                  <c:v>7.1199591429727746E-2</c:v>
                </c:pt>
                <c:pt idx="19812" formatCode="0.0%">
                  <c:v>7.0749924659314914E-2</c:v>
                </c:pt>
                <c:pt idx="19813" formatCode="0.0%">
                  <c:v>7.0743727955614275E-2</c:v>
                </c:pt>
                <c:pt idx="19814" formatCode="0.0%">
                  <c:v>8.108299704577579E-2</c:v>
                </c:pt>
                <c:pt idx="19815" formatCode="0.0%">
                  <c:v>8.1934398066641503E-2</c:v>
                </c:pt>
                <c:pt idx="19816" formatCode="0.0%">
                  <c:v>8.7711103433930446E-2</c:v>
                </c:pt>
                <c:pt idx="19817" formatCode="0.0%">
                  <c:v>8.2260435456044348E-2</c:v>
                </c:pt>
                <c:pt idx="19818" formatCode="0.0%">
                  <c:v>8.3322960091718357E-2</c:v>
                </c:pt>
                <c:pt idx="19819" formatCode="0.0%">
                  <c:v>8.6726497782633735E-2</c:v>
                </c:pt>
                <c:pt idx="19820" formatCode="0.0%">
                  <c:v>7.9510905100127469E-2</c:v>
                </c:pt>
                <c:pt idx="19821" formatCode="0.0%">
                  <c:v>7.9930134185182175E-2</c:v>
                </c:pt>
                <c:pt idx="19822" formatCode="0.0%">
                  <c:v>8.1791313317314929E-2</c:v>
                </c:pt>
                <c:pt idx="19823" formatCode="0.0%">
                  <c:v>7.8571289704293959E-2</c:v>
                </c:pt>
                <c:pt idx="19824" formatCode="0.0%">
                  <c:v>7.8634382373988496E-2</c:v>
                </c:pt>
                <c:pt idx="19825" formatCode="0.0%">
                  <c:v>7.882304108323418E-2</c:v>
                </c:pt>
                <c:pt idx="19826" formatCode="0.0%">
                  <c:v>7.6249795700439826E-2</c:v>
                </c:pt>
                <c:pt idx="19827" formatCode="0.0%">
                  <c:v>8.115630997697354E-2</c:v>
                </c:pt>
                <c:pt idx="19828" formatCode="0.0%">
                  <c:v>8.1022413463118823E-2</c:v>
                </c:pt>
                <c:pt idx="19829" formatCode="0.0%">
                  <c:v>8.2381769330376303E-2</c:v>
                </c:pt>
                <c:pt idx="19830" formatCode="0.0%">
                  <c:v>8.2385215256221223E-2</c:v>
                </c:pt>
                <c:pt idx="19831" formatCode="0.0%">
                  <c:v>8.2727431424081496E-2</c:v>
                </c:pt>
                <c:pt idx="19832" formatCode="0.0%">
                  <c:v>8.3929534691502578E-2</c:v>
                </c:pt>
                <c:pt idx="19833" formatCode="0.0%">
                  <c:v>8.5201813492312872E-2</c:v>
                </c:pt>
                <c:pt idx="19834" formatCode="0.0%">
                  <c:v>6.8117480217633294E-2</c:v>
                </c:pt>
                <c:pt idx="19835" formatCode="0.0%">
                  <c:v>7.0730591593475084E-2</c:v>
                </c:pt>
                <c:pt idx="19836" formatCode="0.0%">
                  <c:v>6.516541322642698E-2</c:v>
                </c:pt>
                <c:pt idx="19837" formatCode="0.0%">
                  <c:v>6.7946828066762888E-2</c:v>
                </c:pt>
                <c:pt idx="19838" formatCode="0.0%">
                  <c:v>6.7106658263217961E-2</c:v>
                </c:pt>
                <c:pt idx="19839" formatCode="0.0%">
                  <c:v>5.99151904055399E-2</c:v>
                </c:pt>
                <c:pt idx="19840" formatCode="0.0%">
                  <c:v>6.2385596153465221E-2</c:v>
                </c:pt>
                <c:pt idx="19841" formatCode="0.0%">
                  <c:v>6.2791129734231621E-2</c:v>
                </c:pt>
                <c:pt idx="19842" formatCode="0.0%">
                  <c:v>6.1062147103415468E-2</c:v>
                </c:pt>
                <c:pt idx="19843" formatCode="0.0%">
                  <c:v>6.1109446419422592E-2</c:v>
                </c:pt>
                <c:pt idx="19844" formatCode="0.0%">
                  <c:v>6.4552928166542123E-2</c:v>
                </c:pt>
                <c:pt idx="19845" formatCode="0.0%">
                  <c:v>6.6183055281417769E-2</c:v>
                </c:pt>
                <c:pt idx="19846" formatCode="0.0%">
                  <c:v>6.6160052863536961E-2</c:v>
                </c:pt>
                <c:pt idx="19847" formatCode="0.0%">
                  <c:v>5.9168052871797751E-2</c:v>
                </c:pt>
                <c:pt idx="19848" formatCode="0.0%">
                  <c:v>6.0082916044188778E-2</c:v>
                </c:pt>
                <c:pt idx="19849" formatCode="0.0%">
                  <c:v>5.967566860363839E-2</c:v>
                </c:pt>
                <c:pt idx="19850" formatCode="0.0%">
                  <c:v>6.2359773546368409E-2</c:v>
                </c:pt>
                <c:pt idx="19851" formatCode="0.0%">
                  <c:v>6.3426502233704385E-2</c:v>
                </c:pt>
                <c:pt idx="19852" formatCode="0.0%">
                  <c:v>6.8157979483953329E-2</c:v>
                </c:pt>
                <c:pt idx="19853" formatCode="0.0%">
                  <c:v>7.7917840510747155E-2</c:v>
                </c:pt>
                <c:pt idx="19854" formatCode="0.0%">
                  <c:v>7.6739660629514136E-2</c:v>
                </c:pt>
                <c:pt idx="19855" formatCode="0.0%">
                  <c:v>7.2479493265274461E-2</c:v>
                </c:pt>
                <c:pt idx="19856" formatCode="0.0%">
                  <c:v>7.5304682104100518E-2</c:v>
                </c:pt>
                <c:pt idx="19857" formatCode="0.0%">
                  <c:v>7.647435358421048E-2</c:v>
                </c:pt>
                <c:pt idx="19858" formatCode="0.0%">
                  <c:v>7.7832833189829115E-2</c:v>
                </c:pt>
                <c:pt idx="19859" formatCode="0.0%">
                  <c:v>7.7866423556963105E-2</c:v>
                </c:pt>
                <c:pt idx="19860" formatCode="0.0%">
                  <c:v>7.3629050259302761E-2</c:v>
                </c:pt>
                <c:pt idx="19861" formatCode="0.0%">
                  <c:v>7.3576805201835363E-2</c:v>
                </c:pt>
                <c:pt idx="19862" formatCode="0.0%">
                  <c:v>7.3287500366409991E-2</c:v>
                </c:pt>
                <c:pt idx="19863" formatCode="0.0%">
                  <c:v>7.3775409896513197E-2</c:v>
                </c:pt>
                <c:pt idx="19864" formatCode="0.0%">
                  <c:v>7.6665890016677465E-2</c:v>
                </c:pt>
                <c:pt idx="19865" formatCode="0.0%">
                  <c:v>7.5977259122855467E-2</c:v>
                </c:pt>
                <c:pt idx="19866" formatCode="0.0%">
                  <c:v>8.0478213334201062E-2</c:v>
                </c:pt>
                <c:pt idx="19867" formatCode="0.0%">
                  <c:v>8.4203439444630296E-2</c:v>
                </c:pt>
                <c:pt idx="19868" formatCode="0.0%">
                  <c:v>8.2978243954304712E-2</c:v>
                </c:pt>
                <c:pt idx="19869" formatCode="0.0%">
                  <c:v>8.2949465510429823E-2</c:v>
                </c:pt>
                <c:pt idx="19870" formatCode="0.0%">
                  <c:v>7.9914924266966045E-2</c:v>
                </c:pt>
                <c:pt idx="19871" formatCode="0.0%">
                  <c:v>7.9987711388587235E-2</c:v>
                </c:pt>
                <c:pt idx="19872" formatCode="0.0%">
                  <c:v>7.5191006063226679E-2</c:v>
                </c:pt>
                <c:pt idx="19873" formatCode="0.0%">
                  <c:v>6.2956265268890713E-2</c:v>
                </c:pt>
                <c:pt idx="19874" formatCode="0.0%">
                  <c:v>6.2974306781167055E-2</c:v>
                </c:pt>
                <c:pt idx="19875" formatCode="0.0%">
                  <c:v>0.14354782307749803</c:v>
                </c:pt>
                <c:pt idx="19876" formatCode="0.0%">
                  <c:v>0.14342319009846</c:v>
                </c:pt>
                <c:pt idx="19877" formatCode="0.0%">
                  <c:v>0.14086359034904333</c:v>
                </c:pt>
                <c:pt idx="19878" formatCode="0.0%">
                  <c:v>0.14307741008136718</c:v>
                </c:pt>
                <c:pt idx="19879" formatCode="0.0%">
                  <c:v>0.14464568350544926</c:v>
                </c:pt>
                <c:pt idx="19880" formatCode="0.0%">
                  <c:v>0.15814226560601466</c:v>
                </c:pt>
                <c:pt idx="19881" formatCode="0.0%">
                  <c:v>0.15787418302763903</c:v>
                </c:pt>
                <c:pt idx="19882" formatCode="0.0%">
                  <c:v>0.16076208325258354</c:v>
                </c:pt>
                <c:pt idx="19883" formatCode="0.0%">
                  <c:v>0.16097629572033242</c:v>
                </c:pt>
                <c:pt idx="19884" formatCode="0.0%">
                  <c:v>0.16027743084988522</c:v>
                </c:pt>
                <c:pt idx="19885" formatCode="0.0%">
                  <c:v>0.17452027932937264</c:v>
                </c:pt>
                <c:pt idx="19886" formatCode="0.0%">
                  <c:v>0.173895894431286</c:v>
                </c:pt>
                <c:pt idx="19887" formatCode="0.0%">
                  <c:v>0.17154901202967693</c:v>
                </c:pt>
                <c:pt idx="19888" formatCode="0.0%">
                  <c:v>0.1711960312043545</c:v>
                </c:pt>
                <c:pt idx="19889" formatCode="0.0%">
                  <c:v>0.17755948959573037</c:v>
                </c:pt>
                <c:pt idx="19890" formatCode="0.0%">
                  <c:v>0.17920242561434838</c:v>
                </c:pt>
                <c:pt idx="19891" formatCode="0.0%">
                  <c:v>0.19103636268021545</c:v>
                </c:pt>
                <c:pt idx="19892" formatCode="0.0%">
                  <c:v>0.19104219905638758</c:v>
                </c:pt>
                <c:pt idx="19893" formatCode="0.0%">
                  <c:v>0.19084808855527563</c:v>
                </c:pt>
                <c:pt idx="19894" formatCode="0.0%">
                  <c:v>0.19089836728304205</c:v>
                </c:pt>
                <c:pt idx="19895" formatCode="0.0%">
                  <c:v>0.14189384228412777</c:v>
                </c:pt>
                <c:pt idx="19896" formatCode="0.0%">
                  <c:v>0.14432045133509547</c:v>
                </c:pt>
                <c:pt idx="19897" formatCode="0.0%">
                  <c:v>0.14434403116353281</c:v>
                </c:pt>
                <c:pt idx="19898" formatCode="0.0%">
                  <c:v>0.13730173770220686</c:v>
                </c:pt>
                <c:pt idx="19899" formatCode="0.0%">
                  <c:v>0.13143972539072654</c:v>
                </c:pt>
                <c:pt idx="19900" formatCode="0.0%">
                  <c:v>0.12466494860130969</c:v>
                </c:pt>
                <c:pt idx="19901" formatCode="0.0%">
                  <c:v>0.12379998490667864</c:v>
                </c:pt>
                <c:pt idx="19902" formatCode="0.0%">
                  <c:v>0.12226945953569776</c:v>
                </c:pt>
                <c:pt idx="19903" formatCode="0.0%">
                  <c:v>0.12227812761213734</c:v>
                </c:pt>
                <c:pt idx="19904" formatCode="0.0%">
                  <c:v>0.12227093786952167</c:v>
                </c:pt>
                <c:pt idx="19905" formatCode="0.0%">
                  <c:v>9.6112582014156872E-2</c:v>
                </c:pt>
                <c:pt idx="19906" formatCode="0.0%">
                  <c:v>9.5827841380347015E-2</c:v>
                </c:pt>
                <c:pt idx="19907" formatCode="0.0%">
                  <c:v>9.5788821797807025E-2</c:v>
                </c:pt>
                <c:pt idx="19908" formatCode="0.0%">
                  <c:v>9.7655063905312353E-2</c:v>
                </c:pt>
                <c:pt idx="19909" formatCode="0.0%">
                  <c:v>9.3002143384306721E-2</c:v>
                </c:pt>
                <c:pt idx="19910" formatCode="0.0%">
                  <c:v>9.2012992548176298E-2</c:v>
                </c:pt>
                <c:pt idx="19911" formatCode="0.0%">
                  <c:v>7.4096560146256318E-2</c:v>
                </c:pt>
                <c:pt idx="19912" formatCode="0.0%">
                  <c:v>7.9014605321180334E-2</c:v>
                </c:pt>
                <c:pt idx="19913" formatCode="0.0%">
                  <c:v>8.0276311956623672E-2</c:v>
                </c:pt>
                <c:pt idx="19914" formatCode="0.0%">
                  <c:v>8.0536349005552871E-2</c:v>
                </c:pt>
                <c:pt idx="19915" formatCode="0.0%">
                  <c:v>8.0708600389933619E-2</c:v>
                </c:pt>
                <c:pt idx="19916" formatCode="0.0%">
                  <c:v>7.2123249909099102E-2</c:v>
                </c:pt>
                <c:pt idx="19917" formatCode="0.0%">
                  <c:v>7.2648210667635021E-2</c:v>
                </c:pt>
                <c:pt idx="19918" formatCode="0.0%">
                  <c:v>8.052799378945949E-2</c:v>
                </c:pt>
                <c:pt idx="19919" formatCode="0.0%">
                  <c:v>8.0532443355878572E-2</c:v>
                </c:pt>
                <c:pt idx="19920" formatCode="0.0%">
                  <c:v>7.7829572861698754E-2</c:v>
                </c:pt>
                <c:pt idx="19921" formatCode="0.0%">
                  <c:v>7.8184435065617841E-2</c:v>
                </c:pt>
                <c:pt idx="19922" formatCode="0.0%">
                  <c:v>7.8111865825785762E-2</c:v>
                </c:pt>
                <c:pt idx="19923" formatCode="0.0%">
                  <c:v>7.7919950285645023E-2</c:v>
                </c:pt>
                <c:pt idx="19924" formatCode="0.0%">
                  <c:v>7.8801879021124469E-2</c:v>
                </c:pt>
                <c:pt idx="19925" formatCode="0.0%">
                  <c:v>7.1999811976182715E-2</c:v>
                </c:pt>
                <c:pt idx="19926" formatCode="0.0%">
                  <c:v>9.1464055230655025E-2</c:v>
                </c:pt>
                <c:pt idx="19927" formatCode="0.0%">
                  <c:v>9.5709306501312971E-2</c:v>
                </c:pt>
                <c:pt idx="19928" formatCode="0.0%">
                  <c:v>9.0422762112054064E-2</c:v>
                </c:pt>
                <c:pt idx="19929" formatCode="0.0%">
                  <c:v>9.0772124752446032E-2</c:v>
                </c:pt>
                <c:pt idx="19930" formatCode="0.0%">
                  <c:v>9.4662826321231755E-2</c:v>
                </c:pt>
                <c:pt idx="19931" formatCode="0.0%">
                  <c:v>9.4564697197797518E-2</c:v>
                </c:pt>
                <c:pt idx="19932" formatCode="0.0%">
                  <c:v>9.2113492438726047E-2</c:v>
                </c:pt>
                <c:pt idx="19933" formatCode="0.0%">
                  <c:v>9.1135404665685718E-2</c:v>
                </c:pt>
                <c:pt idx="19934" formatCode="0.0%">
                  <c:v>9.1218507817046116E-2</c:v>
                </c:pt>
                <c:pt idx="19935" formatCode="0.0%">
                  <c:v>8.5683910354939788E-2</c:v>
                </c:pt>
                <c:pt idx="19936" formatCode="0.0%">
                  <c:v>9.3556504470021173E-2</c:v>
                </c:pt>
                <c:pt idx="19937" formatCode="0.0%">
                  <c:v>9.5179864141717654E-2</c:v>
                </c:pt>
                <c:pt idx="19938" formatCode="0.0%">
                  <c:v>8.9627443093726514E-2</c:v>
                </c:pt>
                <c:pt idx="19939" formatCode="0.0%">
                  <c:v>9.2695782408440314E-2</c:v>
                </c:pt>
                <c:pt idx="19940" formatCode="0.0%">
                  <c:v>9.0858418704853033E-2</c:v>
                </c:pt>
                <c:pt idx="19941" formatCode="0.0%">
                  <c:v>9.0610911379972889E-2</c:v>
                </c:pt>
                <c:pt idx="19942" formatCode="0.0%">
                  <c:v>9.0571834429533551E-2</c:v>
                </c:pt>
                <c:pt idx="19943" formatCode="0.0%">
                  <c:v>9.3207021991575531E-2</c:v>
                </c:pt>
                <c:pt idx="19944" formatCode="0.0%">
                  <c:v>9.9126574360610148E-2</c:v>
                </c:pt>
                <c:pt idx="19945" formatCode="0.0%">
                  <c:v>0.1172289406861281</c:v>
                </c:pt>
                <c:pt idx="19946" formatCode="0.0%">
                  <c:v>0.11349582548138218</c:v>
                </c:pt>
                <c:pt idx="19947" formatCode="0.0%">
                  <c:v>0.10838217395631827</c:v>
                </c:pt>
                <c:pt idx="19948" formatCode="0.0%">
                  <c:v>0.11491865505828498</c:v>
                </c:pt>
                <c:pt idx="19949" formatCode="0.0%">
                  <c:v>0.12714246110979485</c:v>
                </c:pt>
                <c:pt idx="19950" formatCode="0.0%">
                  <c:v>0.12462559257052404</c:v>
                </c:pt>
                <c:pt idx="19951" formatCode="0.0%">
                  <c:v>0.12644313019913825</c:v>
                </c:pt>
                <c:pt idx="19952" formatCode="0.0%">
                  <c:v>0.12461250796936187</c:v>
                </c:pt>
                <c:pt idx="19953" formatCode="0.0%">
                  <c:v>0.1246406044955627</c:v>
                </c:pt>
                <c:pt idx="19954" formatCode="0.0%">
                  <c:v>0.13417873528006818</c:v>
                </c:pt>
                <c:pt idx="19955" formatCode="0.0%">
                  <c:v>0.13610540158333384</c:v>
                </c:pt>
                <c:pt idx="19956" formatCode="0.0%">
                  <c:v>0.13961089080450353</c:v>
                </c:pt>
                <c:pt idx="19957" formatCode="0.0%">
                  <c:v>0.13837830825853026</c:v>
                </c:pt>
                <c:pt idx="19958" formatCode="0.0%">
                  <c:v>0.13843362260476283</c:v>
                </c:pt>
                <c:pt idx="19959" formatCode="0.0%">
                  <c:v>0.1393404691032788</c:v>
                </c:pt>
                <c:pt idx="19960" formatCode="0.0%">
                  <c:v>0.13929397929431142</c:v>
                </c:pt>
                <c:pt idx="19961" formatCode="0.0%">
                  <c:v>0.13826415821010288</c:v>
                </c:pt>
                <c:pt idx="19962" formatCode="0.0%">
                  <c:v>0.14413512173613549</c:v>
                </c:pt>
                <c:pt idx="19963" formatCode="0.0%">
                  <c:v>0.14374702458238986</c:v>
                </c:pt>
                <c:pt idx="19964" formatCode="0.0%">
                  <c:v>0.14001974423445437</c:v>
                </c:pt>
                <c:pt idx="19965" formatCode="0.0%">
                  <c:v>0.12305408001719134</c:v>
                </c:pt>
                <c:pt idx="19966" formatCode="0.0%">
                  <c:v>0.11725531295124002</c:v>
                </c:pt>
                <c:pt idx="19967" formatCode="0.0%">
                  <c:v>0.12888525601168194</c:v>
                </c:pt>
                <c:pt idx="19968" formatCode="0.0%">
                  <c:v>0.12377271473845482</c:v>
                </c:pt>
                <c:pt idx="19969" formatCode="0.0%">
                  <c:v>0.13014284196400638</c:v>
                </c:pt>
                <c:pt idx="19970" formatCode="0.0%">
                  <c:v>0.12962865481845301</c:v>
                </c:pt>
                <c:pt idx="19971" formatCode="0.0%">
                  <c:v>0.12829176096178271</c:v>
                </c:pt>
                <c:pt idx="19972" formatCode="0.0%">
                  <c:v>0.12815049960249361</c:v>
                </c:pt>
                <c:pt idx="19973" formatCode="0.0%">
                  <c:v>0.1284121812709553</c:v>
                </c:pt>
                <c:pt idx="19974" formatCode="0.0%">
                  <c:v>0.1176865070238069</c:v>
                </c:pt>
                <c:pt idx="19975" formatCode="0.0%">
                  <c:v>0.12557332725059553</c:v>
                </c:pt>
                <c:pt idx="19976" formatCode="0.0%">
                  <c:v>0.11598157310677104</c:v>
                </c:pt>
                <c:pt idx="19977" formatCode="0.0%">
                  <c:v>0.13786082030157115</c:v>
                </c:pt>
                <c:pt idx="19978" formatCode="0.0%">
                  <c:v>0.13791109346430377</c:v>
                </c:pt>
                <c:pt idx="19979" formatCode="0.0%">
                  <c:v>0.15925644359830643</c:v>
                </c:pt>
                <c:pt idx="19980" formatCode="0.0%">
                  <c:v>0.16827481476043868</c:v>
                </c:pt>
                <c:pt idx="19981" formatCode="0.0%">
                  <c:v>0.17339194808921646</c:v>
                </c:pt>
                <c:pt idx="19982" formatCode="0.0%">
                  <c:v>0.1724381811753849</c:v>
                </c:pt>
                <c:pt idx="19983" formatCode="0.0%">
                  <c:v>0.17451125341832119</c:v>
                </c:pt>
                <c:pt idx="19984" formatCode="0.0%">
                  <c:v>0.17579135614120406</c:v>
                </c:pt>
                <c:pt idx="19985" formatCode="0.0%">
                  <c:v>0.19585146665063083</c:v>
                </c:pt>
                <c:pt idx="19986" formatCode="0.0%">
                  <c:v>0.21806268120218272</c:v>
                </c:pt>
                <c:pt idx="19987" formatCode="0.0%">
                  <c:v>0.2150047433776861</c:v>
                </c:pt>
                <c:pt idx="19988" formatCode="0.0%">
                  <c:v>0.22042050050391315</c:v>
                </c:pt>
                <c:pt idx="19989" formatCode="0.0%">
                  <c:v>0.23101507019711254</c:v>
                </c:pt>
                <c:pt idx="19990" formatCode="0.0%">
                  <c:v>0.2302398369516693</c:v>
                </c:pt>
                <c:pt idx="19991" formatCode="0.0%">
                  <c:v>0.23040781463060819</c:v>
                </c:pt>
                <c:pt idx="19992" formatCode="0.0%">
                  <c:v>0.23614466143158486</c:v>
                </c:pt>
                <c:pt idx="19993" formatCode="0.0%">
                  <c:v>0.23855166380129861</c:v>
                </c:pt>
                <c:pt idx="19994" formatCode="0.0%">
                  <c:v>0.23796910829497628</c:v>
                </c:pt>
                <c:pt idx="19995" formatCode="0.0%">
                  <c:v>0.25728027786411278</c:v>
                </c:pt>
                <c:pt idx="19996" formatCode="0.0%">
                  <c:v>0.25585396785623427</c:v>
                </c:pt>
                <c:pt idx="19997" formatCode="0.0%">
                  <c:v>0.2483420864475154</c:v>
                </c:pt>
                <c:pt idx="19998" formatCode="0.0%">
                  <c:v>0.25209770127197101</c:v>
                </c:pt>
                <c:pt idx="19999" formatCode="0.0%">
                  <c:v>0.2385840816707267</c:v>
                </c:pt>
                <c:pt idx="20000" formatCode="0.0%">
                  <c:v>0.23497569090767839</c:v>
                </c:pt>
                <c:pt idx="20001" formatCode="0.0%">
                  <c:v>0.23433538402645276</c:v>
                </c:pt>
                <c:pt idx="20002" formatCode="0.0%">
                  <c:v>0.24514991935682329</c:v>
                </c:pt>
                <c:pt idx="20003" formatCode="0.0%">
                  <c:v>0.25653805679083269</c:v>
                </c:pt>
                <c:pt idx="20004" formatCode="0.0%">
                  <c:v>0.2563775088148641</c:v>
                </c:pt>
                <c:pt idx="20005" formatCode="0.0%">
                  <c:v>0.23935142961472963</c:v>
                </c:pt>
                <c:pt idx="20006" formatCode="0.0%">
                  <c:v>0.22706068310424687</c:v>
                </c:pt>
                <c:pt idx="20007" formatCode="0.0%">
                  <c:v>0.23014949424598927</c:v>
                </c:pt>
                <c:pt idx="20008" formatCode="0.0%">
                  <c:v>0.22475817298649564</c:v>
                </c:pt>
                <c:pt idx="20009" formatCode="0.0%">
                  <c:v>0.20607188487204514</c:v>
                </c:pt>
                <c:pt idx="20010" formatCode="0.0%">
                  <c:v>0.20611675852337172</c:v>
                </c:pt>
                <c:pt idx="20011" formatCode="0.0%">
                  <c:v>0.21167596227288166</c:v>
                </c:pt>
                <c:pt idx="20012" formatCode="0.0%">
                  <c:v>0.19955055042550332</c:v>
                </c:pt>
                <c:pt idx="20013" formatCode="0.0%">
                  <c:v>0.19208353228429936</c:v>
                </c:pt>
                <c:pt idx="20014" formatCode="0.0%">
                  <c:v>0.19226702811151233</c:v>
                </c:pt>
                <c:pt idx="20015" formatCode="0.0%">
                  <c:v>0.17577507996847633</c:v>
                </c:pt>
                <c:pt idx="20016" formatCode="0.0%">
                  <c:v>0.20129316128620778</c:v>
                </c:pt>
                <c:pt idx="20017" formatCode="0.0%">
                  <c:v>0.20160426860526395</c:v>
                </c:pt>
                <c:pt idx="20018" formatCode="0.0%">
                  <c:v>0.20141503938488026</c:v>
                </c:pt>
                <c:pt idx="20019" formatCode="0.0%">
                  <c:v>0.2013357056370432</c:v>
                </c:pt>
                <c:pt idx="20020" formatCode="0.0%">
                  <c:v>0.19978206680552699</c:v>
                </c:pt>
                <c:pt idx="20021" formatCode="0.0%">
                  <c:v>0.19653034422278937</c:v>
                </c:pt>
                <c:pt idx="20022" formatCode="0.0%">
                  <c:v>0.17221093027324341</c:v>
                </c:pt>
                <c:pt idx="20023" formatCode="0.0%">
                  <c:v>0.15778622141977117</c:v>
                </c:pt>
                <c:pt idx="20024" formatCode="0.0%">
                  <c:v>0.15720938533279227</c:v>
                </c:pt>
                <c:pt idx="20025" formatCode="0.0%">
                  <c:v>0.15889533857241592</c:v>
                </c:pt>
                <c:pt idx="20026" formatCode="0.0%">
                  <c:v>0.15626831037536273</c:v>
                </c:pt>
                <c:pt idx="20027" formatCode="0.0%">
                  <c:v>0.15012369784923482</c:v>
                </c:pt>
                <c:pt idx="20028" formatCode="0.0%">
                  <c:v>0.14993618374232748</c:v>
                </c:pt>
                <c:pt idx="20029" formatCode="0.0%">
                  <c:v>0.1336289666195781</c:v>
                </c:pt>
                <c:pt idx="20030" formatCode="0.0%">
                  <c:v>0.13471806626073543</c:v>
                </c:pt>
                <c:pt idx="20031" formatCode="0.0%">
                  <c:v>0.1305673202713129</c:v>
                </c:pt>
                <c:pt idx="20032" formatCode="0.0%">
                  <c:v>0.13125868473089064</c:v>
                </c:pt>
                <c:pt idx="20033" formatCode="0.0%">
                  <c:v>0.13269198313500061</c:v>
                </c:pt>
                <c:pt idx="20034" formatCode="0.0%">
                  <c:v>0.13270995353533124</c:v>
                </c:pt>
                <c:pt idx="20035" formatCode="0.0%">
                  <c:v>0.13570772313716398</c:v>
                </c:pt>
                <c:pt idx="20036" formatCode="0.0%">
                  <c:v>9.6985461252193095E-2</c:v>
                </c:pt>
                <c:pt idx="20037" formatCode="0.0%">
                  <c:v>9.4956100920899095E-2</c:v>
                </c:pt>
                <c:pt idx="20038" formatCode="0.0%">
                  <c:v>9.1288381617492309E-2</c:v>
                </c:pt>
                <c:pt idx="20039" formatCode="0.0%">
                  <c:v>0.1301165919529802</c:v>
                </c:pt>
                <c:pt idx="20040" formatCode="0.0%">
                  <c:v>0.12999417510633729</c:v>
                </c:pt>
                <c:pt idx="20041" formatCode="0.0%">
                  <c:v>0.13398457248622295</c:v>
                </c:pt>
                <c:pt idx="20042" formatCode="0.0%">
                  <c:v>0.13274523909088104</c:v>
                </c:pt>
                <c:pt idx="20043" formatCode="0.0%">
                  <c:v>0.13181750660537986</c:v>
                </c:pt>
                <c:pt idx="20044" formatCode="0.0%">
                  <c:v>0.14071459090466584</c:v>
                </c:pt>
                <c:pt idx="20045" formatCode="0.0%">
                  <c:v>0.13297138169928974</c:v>
                </c:pt>
                <c:pt idx="20046" formatCode="0.0%">
                  <c:v>0.13483364422320337</c:v>
                </c:pt>
                <c:pt idx="20047" formatCode="0.0%">
                  <c:v>0.1408233548860901</c:v>
                </c:pt>
                <c:pt idx="20048" formatCode="0.0%">
                  <c:v>0.17021488700669246</c:v>
                </c:pt>
                <c:pt idx="20049" formatCode="0.0%">
                  <c:v>0.16574063033466502</c:v>
                </c:pt>
                <c:pt idx="20050" formatCode="0.0%">
                  <c:v>0.1660877302328051</c:v>
                </c:pt>
                <c:pt idx="20051" formatCode="0.0%">
                  <c:v>0.16966604190093612</c:v>
                </c:pt>
                <c:pt idx="20052" formatCode="0.0%">
                  <c:v>0.19729639561607951</c:v>
                </c:pt>
                <c:pt idx="20053" formatCode="0.0%">
                  <c:v>0.19725640511186548</c:v>
                </c:pt>
                <c:pt idx="20054" formatCode="0.0%">
                  <c:v>0.19945113725624522</c:v>
                </c:pt>
                <c:pt idx="20055" formatCode="0.0%">
                  <c:v>0.20005426182172814</c:v>
                </c:pt>
                <c:pt idx="20056" formatCode="0.0%">
                  <c:v>0.23012836528809419</c:v>
                </c:pt>
                <c:pt idx="20057" formatCode="0.0%">
                  <c:v>0.23040484010905807</c:v>
                </c:pt>
                <c:pt idx="20058" formatCode="0.0%">
                  <c:v>0.23353747201318803</c:v>
                </c:pt>
                <c:pt idx="20059" formatCode="0.0%">
                  <c:v>0.21859585356651501</c:v>
                </c:pt>
                <c:pt idx="20060" formatCode="0.0%">
                  <c:v>0.22494670927663377</c:v>
                </c:pt>
                <c:pt idx="20061" formatCode="0.0%">
                  <c:v>0.22260507697670923</c:v>
                </c:pt>
                <c:pt idx="20062" formatCode="0.0%">
                  <c:v>0.22758472555717971</c:v>
                </c:pt>
                <c:pt idx="20063" formatCode="0.0%">
                  <c:v>0.23850393308330728</c:v>
                </c:pt>
                <c:pt idx="20064" formatCode="0.0%">
                  <c:v>0.2415629758528845</c:v>
                </c:pt>
                <c:pt idx="20065" formatCode="0.0%">
                  <c:v>0.24957045618440069</c:v>
                </c:pt>
                <c:pt idx="20066" formatCode="0.0%">
                  <c:v>0.27375228681059566</c:v>
                </c:pt>
                <c:pt idx="20067" formatCode="0.0%">
                  <c:v>0.26896891104233089</c:v>
                </c:pt>
                <c:pt idx="20068" formatCode="0.0%">
                  <c:v>0.25544891017032334</c:v>
                </c:pt>
                <c:pt idx="20069" formatCode="0.0%">
                  <c:v>0.25596047947103895</c:v>
                </c:pt>
                <c:pt idx="20070" formatCode="0.0%">
                  <c:v>0.25633006319971446</c:v>
                </c:pt>
                <c:pt idx="20071" formatCode="0.0%">
                  <c:v>0.25868854532067964</c:v>
                </c:pt>
                <c:pt idx="20072" formatCode="0.0%">
                  <c:v>0.24115548279021395</c:v>
                </c:pt>
                <c:pt idx="20073" formatCode="0.0%">
                  <c:v>0.24130281920829458</c:v>
                </c:pt>
                <c:pt idx="20074" formatCode="0.0%">
                  <c:v>0.23521005648853749</c:v>
                </c:pt>
                <c:pt idx="20075" formatCode="0.0%">
                  <c:v>0.25175663846545904</c:v>
                </c:pt>
                <c:pt idx="20076" formatCode="0.0%">
                  <c:v>0.23110252442033744</c:v>
                </c:pt>
                <c:pt idx="20077" formatCode="0.0%">
                  <c:v>0.22950733109048274</c:v>
                </c:pt>
                <c:pt idx="20078" formatCode="0.0%">
                  <c:v>0.22994963500991275</c:v>
                </c:pt>
                <c:pt idx="20079" formatCode="0.0%">
                  <c:v>0.23577541952799402</c:v>
                </c:pt>
                <c:pt idx="20080" formatCode="0.0%">
                  <c:v>0.22780829170339925</c:v>
                </c:pt>
                <c:pt idx="20081" formatCode="0.0%">
                  <c:v>0.22748465863966694</c:v>
                </c:pt>
                <c:pt idx="20082" formatCode="0.0%">
                  <c:v>0.21931957804627189</c:v>
                </c:pt>
                <c:pt idx="20083" formatCode="0.0%">
                  <c:v>0.21912078911760668</c:v>
                </c:pt>
                <c:pt idx="20084" formatCode="0.0%">
                  <c:v>0.19906470600456194</c:v>
                </c:pt>
                <c:pt idx="20085" formatCode="0.0%">
                  <c:v>0.19425449902973896</c:v>
                </c:pt>
                <c:pt idx="20086" formatCode="0.0%">
                  <c:v>0.17724041723062939</c:v>
                </c:pt>
                <c:pt idx="20087" formatCode="0.0%">
                  <c:v>0.17728934008634725</c:v>
                </c:pt>
                <c:pt idx="20088" formatCode="0.0%">
                  <c:v>0.17674135457155882</c:v>
                </c:pt>
                <c:pt idx="20089" formatCode="0.0%">
                  <c:v>0.18284279027184944</c:v>
                </c:pt>
                <c:pt idx="20090" formatCode="0.0%">
                  <c:v>0.18161075832013085</c:v>
                </c:pt>
                <c:pt idx="20091" formatCode="0.0%">
                  <c:v>0.19114648643632598</c:v>
                </c:pt>
                <c:pt idx="20092" formatCode="0.0%">
                  <c:v>0.18121523849982266</c:v>
                </c:pt>
                <c:pt idx="20093" formatCode="0.0%">
                  <c:v>0.18914654322815511</c:v>
                </c:pt>
                <c:pt idx="20094" formatCode="0.0%">
                  <c:v>0.19512386670225962</c:v>
                </c:pt>
                <c:pt idx="20095" formatCode="0.0%">
                  <c:v>0.18088271708320572</c:v>
                </c:pt>
                <c:pt idx="20096" formatCode="0.0%">
                  <c:v>0.18283468502261202</c:v>
                </c:pt>
                <c:pt idx="20097" formatCode="0.0%">
                  <c:v>0.18881760349261298</c:v>
                </c:pt>
                <c:pt idx="20098" formatCode="0.0%">
                  <c:v>0.20180054102921641</c:v>
                </c:pt>
                <c:pt idx="20099" formatCode="0.0%">
                  <c:v>0.19701736907584333</c:v>
                </c:pt>
                <c:pt idx="20100" formatCode="0.0%">
                  <c:v>0.21577683136512796</c:v>
                </c:pt>
                <c:pt idx="20101" formatCode="0.0%">
                  <c:v>0.21555318236604967</c:v>
                </c:pt>
                <c:pt idx="20102" formatCode="0.0%">
                  <c:v>0.21369499494651356</c:v>
                </c:pt>
                <c:pt idx="20103" formatCode="0.0%">
                  <c:v>0.22060629526941061</c:v>
                </c:pt>
                <c:pt idx="20104" formatCode="0.0%">
                  <c:v>0.2222741891651272</c:v>
                </c:pt>
                <c:pt idx="20105" formatCode="0.0%">
                  <c:v>0.22437277318190352</c:v>
                </c:pt>
                <c:pt idx="20106" formatCode="0.0%">
                  <c:v>0.23653737092570648</c:v>
                </c:pt>
                <c:pt idx="20107" formatCode="0.0%">
                  <c:v>0.23863413462988273</c:v>
                </c:pt>
                <c:pt idx="20108" formatCode="0.0%">
                  <c:v>0.23842567599394468</c:v>
                </c:pt>
                <c:pt idx="20109" formatCode="0.0%">
                  <c:v>0.24569080754129968</c:v>
                </c:pt>
                <c:pt idx="20110" formatCode="0.0%">
                  <c:v>0.25102116373439171</c:v>
                </c:pt>
                <c:pt idx="20111" formatCode="0.0%">
                  <c:v>0.23841020191649642</c:v>
                </c:pt>
                <c:pt idx="20112" formatCode="0.0%">
                  <c:v>0.26236307133650943</c:v>
                </c:pt>
                <c:pt idx="20113" formatCode="0.0%">
                  <c:v>0.25654569209715272</c:v>
                </c:pt>
                <c:pt idx="20114" formatCode="0.0%">
                  <c:v>0.25264700067016466</c:v>
                </c:pt>
                <c:pt idx="20115" formatCode="0.0%">
                  <c:v>0.2495809765414522</c:v>
                </c:pt>
                <c:pt idx="20116" formatCode="0.0%">
                  <c:v>0.24837179735802475</c:v>
                </c:pt>
                <c:pt idx="20117" formatCode="0.0%">
                  <c:v>0.24619244822441214</c:v>
                </c:pt>
                <c:pt idx="20118" formatCode="0.0%">
                  <c:v>0.23683812069136279</c:v>
                </c:pt>
                <c:pt idx="20119" formatCode="0.0%">
                  <c:v>0.24072403529687128</c:v>
                </c:pt>
                <c:pt idx="20120" formatCode="0.0%">
                  <c:v>0.21565027632354261</c:v>
                </c:pt>
                <c:pt idx="20121" formatCode="0.0%">
                  <c:v>0.21430147120104839</c:v>
                </c:pt>
                <c:pt idx="20122" formatCode="0.0%">
                  <c:v>0.21091688894564889</c:v>
                </c:pt>
                <c:pt idx="20123" formatCode="0.0%">
                  <c:v>0.20407776846334341</c:v>
                </c:pt>
                <c:pt idx="20124" formatCode="0.0%">
                  <c:v>0.20283164813500973</c:v>
                </c:pt>
                <c:pt idx="20125" formatCode="0.0%">
                  <c:v>0.199061821635445</c:v>
                </c:pt>
                <c:pt idx="20126" formatCode="0.0%">
                  <c:v>0.1912864381090649</c:v>
                </c:pt>
                <c:pt idx="20127" formatCode="0.0%">
                  <c:v>0.19041183530051847</c:v>
                </c:pt>
                <c:pt idx="20128" formatCode="0.0%">
                  <c:v>0.19257370404706478</c:v>
                </c:pt>
                <c:pt idx="20129" formatCode="0.0%">
                  <c:v>0.20649230036984553</c:v>
                </c:pt>
                <c:pt idx="20130" formatCode="0.0%">
                  <c:v>0.20011302462658931</c:v>
                </c:pt>
                <c:pt idx="20131" formatCode="0.0%">
                  <c:v>0.19784721525526469</c:v>
                </c:pt>
                <c:pt idx="20132" formatCode="0.0%">
                  <c:v>0.16289664607122734</c:v>
                </c:pt>
                <c:pt idx="20133" formatCode="0.0%">
                  <c:v>0.17929394310021465</c:v>
                </c:pt>
                <c:pt idx="20134" formatCode="0.0%">
                  <c:v>0.17814182107159482</c:v>
                </c:pt>
                <c:pt idx="20135" formatCode="0.0%">
                  <c:v>0.18475722242829792</c:v>
                </c:pt>
                <c:pt idx="20136" formatCode="0.0%">
                  <c:v>0.22910774558346655</c:v>
                </c:pt>
                <c:pt idx="20137" formatCode="0.0%">
                  <c:v>0.22891602998360802</c:v>
                </c:pt>
                <c:pt idx="20138" formatCode="0.0%">
                  <c:v>0.22348353593217701</c:v>
                </c:pt>
                <c:pt idx="20139" formatCode="0.0%">
                  <c:v>0.23011566263397584</c:v>
                </c:pt>
                <c:pt idx="20140" formatCode="0.0%">
                  <c:v>0.23098096902035087</c:v>
                </c:pt>
                <c:pt idx="20141" formatCode="0.0%">
                  <c:v>0.27959717433352094</c:v>
                </c:pt>
                <c:pt idx="20142" formatCode="0.0%">
                  <c:v>0.28977992992313795</c:v>
                </c:pt>
                <c:pt idx="20143" formatCode="0.0%">
                  <c:v>0.30089230506345388</c:v>
                </c:pt>
                <c:pt idx="20144" formatCode="0.0%">
                  <c:v>0.30470404003341206</c:v>
                </c:pt>
                <c:pt idx="20145" formatCode="0.0%">
                  <c:v>0.30049329237710865</c:v>
                </c:pt>
                <c:pt idx="20146" formatCode="0.0%">
                  <c:v>0.30040483493242331</c:v>
                </c:pt>
                <c:pt idx="20147" formatCode="0.0%">
                  <c:v>0.30249685917904989</c:v>
                </c:pt>
                <c:pt idx="20148" formatCode="0.0%">
                  <c:v>0.30221161167460631</c:v>
                </c:pt>
                <c:pt idx="20149" formatCode="0.0%">
                  <c:v>0.28765542063726623</c:v>
                </c:pt>
                <c:pt idx="20150" formatCode="0.0%">
                  <c:v>0.31418689021252699</c:v>
                </c:pt>
                <c:pt idx="20151" formatCode="0.0%">
                  <c:v>0.31391957995092024</c:v>
                </c:pt>
                <c:pt idx="20152" formatCode="0.0%">
                  <c:v>0.31361320033602774</c:v>
                </c:pt>
                <c:pt idx="20153" formatCode="0.0%">
                  <c:v>0.30105058913609312</c:v>
                </c:pt>
                <c:pt idx="20154" formatCode="0.0%">
                  <c:v>0.29832121574687531</c:v>
                </c:pt>
                <c:pt idx="20155" formatCode="0.0%">
                  <c:v>0.29193019846796353</c:v>
                </c:pt>
                <c:pt idx="20156" formatCode="0.0%">
                  <c:v>0.26699171552619966</c:v>
                </c:pt>
                <c:pt idx="20157" formatCode="0.0%">
                  <c:v>0.26437093005020146</c:v>
                </c:pt>
                <c:pt idx="20158" formatCode="0.0%">
                  <c:v>0.27577090993920983</c:v>
                </c:pt>
                <c:pt idx="20159" formatCode="0.0%">
                  <c:v>0.26427227484445742</c:v>
                </c:pt>
                <c:pt idx="20160" formatCode="0.0%">
                  <c:v>0.2614748097936036</c:v>
                </c:pt>
                <c:pt idx="20161" formatCode="0.0%">
                  <c:v>0.23031684743844205</c:v>
                </c:pt>
                <c:pt idx="20162" formatCode="0.0%">
                  <c:v>0.20921005324447164</c:v>
                </c:pt>
                <c:pt idx="20163" formatCode="0.0%">
                  <c:v>0.202453846383572</c:v>
                </c:pt>
                <c:pt idx="20164" formatCode="0.0%">
                  <c:v>0.19687871680129759</c:v>
                </c:pt>
                <c:pt idx="20165" formatCode="0.0%">
                  <c:v>0.2001519726320268</c:v>
                </c:pt>
                <c:pt idx="20166" formatCode="0.0%">
                  <c:v>0.19695708815829557</c:v>
                </c:pt>
                <c:pt idx="20167" formatCode="0.0%">
                  <c:v>0.19153142204073909</c:v>
                </c:pt>
                <c:pt idx="20168" formatCode="0.0%">
                  <c:v>0.18805747204430867</c:v>
                </c:pt>
                <c:pt idx="20169" formatCode="0.0%">
                  <c:v>0.18832691578245331</c:v>
                </c:pt>
                <c:pt idx="20170" formatCode="0.0%">
                  <c:v>0.14481152245645554</c:v>
                </c:pt>
                <c:pt idx="20171" formatCode="0.0%">
                  <c:v>0.14544227446479388</c:v>
                </c:pt>
                <c:pt idx="20172" formatCode="0.0%">
                  <c:v>0.15660640882370433</c:v>
                </c:pt>
                <c:pt idx="20173" formatCode="0.0%">
                  <c:v>0.15671182496586658</c:v>
                </c:pt>
                <c:pt idx="20174" formatCode="0.0%">
                  <c:v>0.15820376704353556</c:v>
                </c:pt>
                <c:pt idx="20175" formatCode="0.0%">
                  <c:v>0.15786088103868445</c:v>
                </c:pt>
                <c:pt idx="20176" formatCode="0.0%">
                  <c:v>0.17005354368481271</c:v>
                </c:pt>
                <c:pt idx="20177" formatCode="0.0%">
                  <c:v>0.16988490469009915</c:v>
                </c:pt>
                <c:pt idx="20178" formatCode="0.0%">
                  <c:v>0.15239384766496103</c:v>
                </c:pt>
                <c:pt idx="20179" formatCode="0.0%">
                  <c:v>0.15411847074865717</c:v>
                </c:pt>
                <c:pt idx="20180" formatCode="0.0%">
                  <c:v>0.15434474014340008</c:v>
                </c:pt>
                <c:pt idx="20181" formatCode="0.0%">
                  <c:v>0.13549031800270295</c:v>
                </c:pt>
                <c:pt idx="20182" formatCode="0.0%">
                  <c:v>0.13907289466680736</c:v>
                </c:pt>
                <c:pt idx="20183" formatCode="0.0%">
                  <c:v>0.12575113127419682</c:v>
                </c:pt>
                <c:pt idx="20184" formatCode="0.0%">
                  <c:v>0.12532784292986657</c:v>
                </c:pt>
                <c:pt idx="20185" formatCode="0.0%">
                  <c:v>0.12584337517088962</c:v>
                </c:pt>
                <c:pt idx="20186" formatCode="0.0%">
                  <c:v>0.14013375031618075</c:v>
                </c:pt>
                <c:pt idx="20187" formatCode="0.0%">
                  <c:v>0.13860313104035385</c:v>
                </c:pt>
                <c:pt idx="20188" formatCode="0.0%">
                  <c:v>0.14437979649570343</c:v>
                </c:pt>
                <c:pt idx="20189" formatCode="0.0%">
                  <c:v>0.14687464645021459</c:v>
                </c:pt>
                <c:pt idx="20190" formatCode="0.0%">
                  <c:v>0.1470371235900588</c:v>
                </c:pt>
                <c:pt idx="20191" formatCode="0.0%">
                  <c:v>0.14745670133419689</c:v>
                </c:pt>
                <c:pt idx="20192" formatCode="0.0%">
                  <c:v>0.13405552551027763</c:v>
                </c:pt>
                <c:pt idx="20193" formatCode="0.0%">
                  <c:v>0.13808945778908388</c:v>
                </c:pt>
                <c:pt idx="20194" formatCode="0.0%">
                  <c:v>0.13858919147270032</c:v>
                </c:pt>
                <c:pt idx="20195" formatCode="0.0%">
                  <c:v>0.13479560254088876</c:v>
                </c:pt>
                <c:pt idx="20196" formatCode="0.0%">
                  <c:v>0.13860138342685629</c:v>
                </c:pt>
                <c:pt idx="20197" formatCode="0.0%">
                  <c:v>0.17792416781698064</c:v>
                </c:pt>
                <c:pt idx="20198" formatCode="0.0%">
                  <c:v>0.1768955294582957</c:v>
                </c:pt>
                <c:pt idx="20199" formatCode="0.0%">
                  <c:v>0.17121849091227725</c:v>
                </c:pt>
                <c:pt idx="20200" formatCode="0.0%">
                  <c:v>0.17960612979428034</c:v>
                </c:pt>
                <c:pt idx="20201" formatCode="0.0%">
                  <c:v>0.17927890142989394</c:v>
                </c:pt>
                <c:pt idx="20202" formatCode="0.0%">
                  <c:v>0.18414214201080467</c:v>
                </c:pt>
                <c:pt idx="20203" formatCode="0.0%">
                  <c:v>0.18389132753793777</c:v>
                </c:pt>
                <c:pt idx="20204" formatCode="0.0%">
                  <c:v>0.18412119619543021</c:v>
                </c:pt>
                <c:pt idx="20205" formatCode="0.0%">
                  <c:v>0.18433781496613694</c:v>
                </c:pt>
                <c:pt idx="20206" formatCode="0.0%">
                  <c:v>0.17855567262944363</c:v>
                </c:pt>
                <c:pt idx="20207" formatCode="0.0%">
                  <c:v>0.18746998606878265</c:v>
                </c:pt>
                <c:pt idx="20208" formatCode="0.0%">
                  <c:v>0.18351943248262115</c:v>
                </c:pt>
                <c:pt idx="20209" formatCode="0.0%">
                  <c:v>0.18043174182953889</c:v>
                </c:pt>
                <c:pt idx="20210" formatCode="0.0%">
                  <c:v>0.18145734621642431</c:v>
                </c:pt>
                <c:pt idx="20211" formatCode="0.0%">
                  <c:v>0.20285295970508013</c:v>
                </c:pt>
                <c:pt idx="20212" formatCode="0.0%">
                  <c:v>0.20171179569440506</c:v>
                </c:pt>
                <c:pt idx="20213" formatCode="0.0%">
                  <c:v>0.2014122929780888</c:v>
                </c:pt>
                <c:pt idx="20214" formatCode="0.0%">
                  <c:v>0.20314131831837917</c:v>
                </c:pt>
                <c:pt idx="20215" formatCode="0.0%">
                  <c:v>0.20942194110657977</c:v>
                </c:pt>
                <c:pt idx="20216" formatCode="0.0%">
                  <c:v>0.19128264309823687</c:v>
                </c:pt>
                <c:pt idx="20217" formatCode="0.0%">
                  <c:v>0.16537421813949391</c:v>
                </c:pt>
                <c:pt idx="20218" formatCode="0.0%">
                  <c:v>0.18096619405541398</c:v>
                </c:pt>
                <c:pt idx="20219" formatCode="0.0%">
                  <c:v>0.19391315025039285</c:v>
                </c:pt>
                <c:pt idx="20220" formatCode="0.0%">
                  <c:v>0.1918262555414639</c:v>
                </c:pt>
                <c:pt idx="20221" formatCode="0.0%">
                  <c:v>0.1922305936723587</c:v>
                </c:pt>
                <c:pt idx="20222" formatCode="0.0%">
                  <c:v>0.17951088200803472</c:v>
                </c:pt>
                <c:pt idx="20223" formatCode="0.0%">
                  <c:v>0.17956820883366736</c:v>
                </c:pt>
                <c:pt idx="20224" formatCode="0.0%">
                  <c:v>0.20934393339412766</c:v>
                </c:pt>
                <c:pt idx="20225" formatCode="0.0%">
                  <c:v>0.21559785774016632</c:v>
                </c:pt>
                <c:pt idx="20226" formatCode="0.0%">
                  <c:v>0.21451275719364885</c:v>
                </c:pt>
                <c:pt idx="20227" formatCode="0.0%">
                  <c:v>0.20658167789417473</c:v>
                </c:pt>
                <c:pt idx="20228" formatCode="0.0%">
                  <c:v>0.21385932741231078</c:v>
                </c:pt>
                <c:pt idx="20229" formatCode="0.0%">
                  <c:v>0.21472173776270756</c:v>
                </c:pt>
                <c:pt idx="20230" formatCode="0.0%">
                  <c:v>0.22669455141184547</c:v>
                </c:pt>
                <c:pt idx="20231" formatCode="0.0%">
                  <c:v>0.20372257010572042</c:v>
                </c:pt>
                <c:pt idx="20232" formatCode="0.0%">
                  <c:v>0.21317481045149669</c:v>
                </c:pt>
                <c:pt idx="20233" formatCode="0.0%">
                  <c:v>0.23062966849281372</c:v>
                </c:pt>
                <c:pt idx="20234" formatCode="0.0%">
                  <c:v>0.23819577051177196</c:v>
                </c:pt>
                <c:pt idx="20235" formatCode="0.0%">
                  <c:v>0.23359914838323714</c:v>
                </c:pt>
                <c:pt idx="20236" formatCode="0.0%">
                  <c:v>0.23447645162509839</c:v>
                </c:pt>
                <c:pt idx="20237" formatCode="0.0%">
                  <c:v>0.23475704886143214</c:v>
                </c:pt>
                <c:pt idx="20238" formatCode="0.0%">
                  <c:v>0.24877172881781839</c:v>
                </c:pt>
                <c:pt idx="20239" formatCode="0.0%">
                  <c:v>0.23286927023143913</c:v>
                </c:pt>
                <c:pt idx="20240" formatCode="0.0%">
                  <c:v>0.24223788008213654</c:v>
                </c:pt>
                <c:pt idx="20241" formatCode="0.0%">
                  <c:v>0.25131386713902382</c:v>
                </c:pt>
                <c:pt idx="20242" formatCode="0.0%">
                  <c:v>0.24815846570646935</c:v>
                </c:pt>
                <c:pt idx="20243" formatCode="0.0%">
                  <c:v>0.2490613207703449</c:v>
                </c:pt>
                <c:pt idx="20244" formatCode="0.0%">
                  <c:v>0.23600589718202516</c:v>
                </c:pt>
                <c:pt idx="20245" formatCode="0.0%">
                  <c:v>0.23335648230658804</c:v>
                </c:pt>
                <c:pt idx="20246" formatCode="0.0%">
                  <c:v>0.23352943028374198</c:v>
                </c:pt>
                <c:pt idx="20247" formatCode="0.0%">
                  <c:v>0.24089345394259401</c:v>
                </c:pt>
                <c:pt idx="20248" formatCode="0.0%">
                  <c:v>0.23855378218226367</c:v>
                </c:pt>
                <c:pt idx="20249" formatCode="0.0%">
                  <c:v>0.23919822514783881</c:v>
                </c:pt>
                <c:pt idx="20250" formatCode="0.0%">
                  <c:v>0.22315745674944296</c:v>
                </c:pt>
                <c:pt idx="20251" formatCode="0.0%">
                  <c:v>0.22590463860735358</c:v>
                </c:pt>
                <c:pt idx="20252" formatCode="0.0%">
                  <c:v>0.22717099873332708</c:v>
                </c:pt>
                <c:pt idx="20253" formatCode="0.0%">
                  <c:v>0.21245030611562554</c:v>
                </c:pt>
                <c:pt idx="20254" formatCode="0.0%">
                  <c:v>0.20584794564509021</c:v>
                </c:pt>
                <c:pt idx="20255" formatCode="0.0%">
                  <c:v>0.20612228734606983</c:v>
                </c:pt>
                <c:pt idx="20256" formatCode="0.0%">
                  <c:v>0.2117594450769695</c:v>
                </c:pt>
                <c:pt idx="20257" formatCode="0.0%">
                  <c:v>0.20942829662556722</c:v>
                </c:pt>
                <c:pt idx="20258" formatCode="0.0%">
                  <c:v>0.183269329679489</c:v>
                </c:pt>
                <c:pt idx="20259" formatCode="0.0%">
                  <c:v>0.21113679625616841</c:v>
                </c:pt>
                <c:pt idx="20260" formatCode="0.0%">
                  <c:v>0.20346140660721018</c:v>
                </c:pt>
                <c:pt idx="20261" formatCode="0.0%">
                  <c:v>0.19844069389195823</c:v>
                </c:pt>
                <c:pt idx="20262" formatCode="0.0%">
                  <c:v>0.22883525529598228</c:v>
                </c:pt>
                <c:pt idx="20263" formatCode="0.0%">
                  <c:v>0.22856249895623204</c:v>
                </c:pt>
                <c:pt idx="20264" formatCode="0.0%">
                  <c:v>0.23546774047489727</c:v>
                </c:pt>
                <c:pt idx="20265" formatCode="0.0%">
                  <c:v>0.23444505021246209</c:v>
                </c:pt>
                <c:pt idx="20266" formatCode="0.0%">
                  <c:v>0.28565195290620704</c:v>
                </c:pt>
                <c:pt idx="20267" formatCode="0.0%">
                  <c:v>0.29237730118732924</c:v>
                </c:pt>
                <c:pt idx="20268" formatCode="0.0%">
                  <c:v>0.3339762611107201</c:v>
                </c:pt>
                <c:pt idx="20269" formatCode="0.0%">
                  <c:v>0.37206051687376163</c:v>
                </c:pt>
                <c:pt idx="20270" formatCode="0.0%">
                  <c:v>0.40097447149853149</c:v>
                </c:pt>
                <c:pt idx="20271" formatCode="0.0%">
                  <c:v>0.41998728139186747</c:v>
                </c:pt>
                <c:pt idx="20272" formatCode="0.0%">
                  <c:v>0.4181241415197951</c:v>
                </c:pt>
                <c:pt idx="20273" formatCode="0.0%">
                  <c:v>0.4173704183236383</c:v>
                </c:pt>
                <c:pt idx="20274" formatCode="0.0%">
                  <c:v>0.42351175702214228</c:v>
                </c:pt>
                <c:pt idx="20275" formatCode="0.0%">
                  <c:v>0.41908795516058023</c:v>
                </c:pt>
                <c:pt idx="20276" formatCode="0.0%">
                  <c:v>0.52352406184142586</c:v>
                </c:pt>
                <c:pt idx="20277" formatCode="0.0%">
                  <c:v>0.5655327629202237</c:v>
                </c:pt>
                <c:pt idx="20278" formatCode="0.0%">
                  <c:v>0.56545478984551067</c:v>
                </c:pt>
                <c:pt idx="20279" formatCode="0.0%">
                  <c:v>0.57317368626131859</c:v>
                </c:pt>
                <c:pt idx="20280" formatCode="0.0%">
                  <c:v>0.57272367252180589</c:v>
                </c:pt>
                <c:pt idx="20281" formatCode="0.0%">
                  <c:v>0.57531271972594111</c:v>
                </c:pt>
                <c:pt idx="20282" formatCode="0.0%">
                  <c:v>0.59585668195617869</c:v>
                </c:pt>
                <c:pt idx="20283" formatCode="0.0%">
                  <c:v>0.59267989409197064</c:v>
                </c:pt>
                <c:pt idx="20284" formatCode="0.0%">
                  <c:v>0.63142833311152102</c:v>
                </c:pt>
                <c:pt idx="20285" formatCode="0.0%">
                  <c:v>0.62809915984165376</c:v>
                </c:pt>
                <c:pt idx="20286" formatCode="0.0%">
                  <c:v>0.75864703911245546</c:v>
                </c:pt>
                <c:pt idx="20287" formatCode="0.0%">
                  <c:v>0.75258086790427592</c:v>
                </c:pt>
                <c:pt idx="20288" formatCode="0.0%">
                  <c:v>0.80057901572455048</c:v>
                </c:pt>
                <c:pt idx="20289" formatCode="0.0%">
                  <c:v>0.79985357862384054</c:v>
                </c:pt>
                <c:pt idx="20290" formatCode="0.0%">
                  <c:v>0.77687290664627007</c:v>
                </c:pt>
                <c:pt idx="20291" formatCode="0.0%">
                  <c:v>0.80002379130219115</c:v>
                </c:pt>
                <c:pt idx="20292" formatCode="0.0%">
                  <c:v>0.80335974756934481</c:v>
                </c:pt>
                <c:pt idx="20293" formatCode="0.0%">
                  <c:v>0.82326588681115787</c:v>
                </c:pt>
                <c:pt idx="20294" formatCode="0.0%">
                  <c:v>0.81990176244649793</c:v>
                </c:pt>
                <c:pt idx="20295" formatCode="0.0%">
                  <c:v>0.82033855605150119</c:v>
                </c:pt>
                <c:pt idx="20296" formatCode="0.0%">
                  <c:v>0.77321269303344742</c:v>
                </c:pt>
                <c:pt idx="20297" formatCode="0.0%">
                  <c:v>0.84613712535892616</c:v>
                </c:pt>
                <c:pt idx="20298" formatCode="0.0%">
                  <c:v>0.84581839558714456</c:v>
                </c:pt>
                <c:pt idx="20299" formatCode="0.0%">
                  <c:v>0.84748493040465434</c:v>
                </c:pt>
                <c:pt idx="20300" formatCode="0.0%">
                  <c:v>0.85102784908766771</c:v>
                </c:pt>
                <c:pt idx="20301" formatCode="0.0%">
                  <c:v>0.84210047182379144</c:v>
                </c:pt>
                <c:pt idx="20302" formatCode="0.0%">
                  <c:v>0.83023917275861903</c:v>
                </c:pt>
                <c:pt idx="20303" formatCode="0.0%">
                  <c:v>0.85190584168061712</c:v>
                </c:pt>
                <c:pt idx="20304" formatCode="0.0%">
                  <c:v>0.82370102786166932</c:v>
                </c:pt>
                <c:pt idx="20305" formatCode="0.0%">
                  <c:v>0.82860177846940475</c:v>
                </c:pt>
                <c:pt idx="20306" formatCode="0.0%">
                  <c:v>0.7247111041143196</c:v>
                </c:pt>
                <c:pt idx="20307" formatCode="0.0%">
                  <c:v>0.72750045124216922</c:v>
                </c:pt>
                <c:pt idx="20308" formatCode="0.0%">
                  <c:v>0.67274899807894728</c:v>
                </c:pt>
                <c:pt idx="20309" formatCode="0.0%">
                  <c:v>0.70050058559111605</c:v>
                </c:pt>
                <c:pt idx="20310" formatCode="0.0%">
                  <c:v>0.7152248146998309</c:v>
                </c:pt>
                <c:pt idx="20311" formatCode="0.0%">
                  <c:v>0.69366391975702968</c:v>
                </c:pt>
                <c:pt idx="20312" formatCode="0.0%">
                  <c:v>0.69017821152752556</c:v>
                </c:pt>
                <c:pt idx="20313" formatCode="0.0%">
                  <c:v>0.69034726857864903</c:v>
                </c:pt>
                <c:pt idx="20314" formatCode="0.0%">
                  <c:v>0.7228569697667715</c:v>
                </c:pt>
                <c:pt idx="20315" formatCode="0.0%">
                  <c:v>0.75758350363369964</c:v>
                </c:pt>
                <c:pt idx="20316" formatCode="0.0%">
                  <c:v>0.78602411291041141</c:v>
                </c:pt>
                <c:pt idx="20317" formatCode="0.0%">
                  <c:v>0.68811278783802643</c:v>
                </c:pt>
                <c:pt idx="20318" formatCode="0.0%">
                  <c:v>0.70147937670335492</c:v>
                </c:pt>
                <c:pt idx="20319" formatCode="0.0%">
                  <c:v>0.69536760981834855</c:v>
                </c:pt>
                <c:pt idx="20320" formatCode="0.0%">
                  <c:v>0.76132770107004022</c:v>
                </c:pt>
                <c:pt idx="20321" formatCode="0.0%">
                  <c:v>0.7798717910482551</c:v>
                </c:pt>
                <c:pt idx="20322" formatCode="0.0%">
                  <c:v>0.77003870567901178</c:v>
                </c:pt>
                <c:pt idx="20323" formatCode="0.0%">
                  <c:v>0.75506288024482859</c:v>
                </c:pt>
                <c:pt idx="20324" formatCode="0.0%">
                  <c:v>0.74880590807229819</c:v>
                </c:pt>
                <c:pt idx="20325" formatCode="0.0%">
                  <c:v>0.75441168446796714</c:v>
                </c:pt>
                <c:pt idx="20326" formatCode="0.0%">
                  <c:v>0.7575220217573807</c:v>
                </c:pt>
                <c:pt idx="20327" formatCode="0.0%">
                  <c:v>0.75489262473837593</c:v>
                </c:pt>
                <c:pt idx="20328" formatCode="0.0%">
                  <c:v>0.73681962000426826</c:v>
                </c:pt>
                <c:pt idx="20329" formatCode="0.0%">
                  <c:v>0.69550901233310214</c:v>
                </c:pt>
                <c:pt idx="20330" formatCode="0.0%">
                  <c:v>0.68017413172463548</c:v>
                </c:pt>
                <c:pt idx="20331" formatCode="0.0%">
                  <c:v>0.69536470069351097</c:v>
                </c:pt>
                <c:pt idx="20332" formatCode="0.0%">
                  <c:v>0.69646797558471396</c:v>
                </c:pt>
                <c:pt idx="20333" formatCode="0.0%">
                  <c:v>0.65903023495633528</c:v>
                </c:pt>
                <c:pt idx="20334" formatCode="0.0%">
                  <c:v>0.59831824581235682</c:v>
                </c:pt>
                <c:pt idx="20335" formatCode="0.0%">
                  <c:v>0.5708947834200544</c:v>
                </c:pt>
                <c:pt idx="20336" formatCode="0.0%">
                  <c:v>0.52893918065619427</c:v>
                </c:pt>
                <c:pt idx="20337" formatCode="0.0%">
                  <c:v>0.52883359222268589</c:v>
                </c:pt>
                <c:pt idx="20338" formatCode="0.0%">
                  <c:v>0.51378018715690232</c:v>
                </c:pt>
                <c:pt idx="20339" formatCode="0.0%">
                  <c:v>0.5123725135720939</c:v>
                </c:pt>
                <c:pt idx="20340" formatCode="0.0%">
                  <c:v>0.38698710800211444</c:v>
                </c:pt>
                <c:pt idx="20341" formatCode="0.0%">
                  <c:v>0.36677707379610358</c:v>
                </c:pt>
                <c:pt idx="20342" formatCode="0.0%">
                  <c:v>0.37182781032720652</c:v>
                </c:pt>
                <c:pt idx="20343" formatCode="0.0%">
                  <c:v>0.35233560376058443</c:v>
                </c:pt>
                <c:pt idx="20344" formatCode="0.0%">
                  <c:v>0.33291539406866699</c:v>
                </c:pt>
                <c:pt idx="20345" formatCode="0.0%">
                  <c:v>0.32726360206022209</c:v>
                </c:pt>
                <c:pt idx="20346" formatCode="0.0%">
                  <c:v>0.31566152266807868</c:v>
                </c:pt>
                <c:pt idx="20347" formatCode="0.0%">
                  <c:v>0.32285616223749691</c:v>
                </c:pt>
                <c:pt idx="20348" formatCode="0.0%">
                  <c:v>0.31637479500908472</c:v>
                </c:pt>
                <c:pt idx="20349" formatCode="0.0%">
                  <c:v>0.3153386725226916</c:v>
                </c:pt>
                <c:pt idx="20350" formatCode="0.0%">
                  <c:v>0.33478737213938065</c:v>
                </c:pt>
                <c:pt idx="20351" formatCode="0.0%">
                  <c:v>0.27440399258561265</c:v>
                </c:pt>
                <c:pt idx="20352" formatCode="0.0%">
                  <c:v>0.27644825768338133</c:v>
                </c:pt>
                <c:pt idx="20353" formatCode="0.0%">
                  <c:v>0.32556238972486612</c:v>
                </c:pt>
                <c:pt idx="20354" formatCode="0.0%">
                  <c:v>0.36586349084920494</c:v>
                </c:pt>
                <c:pt idx="20355" formatCode="0.0%">
                  <c:v>0.36421635177166228</c:v>
                </c:pt>
                <c:pt idx="20356" formatCode="0.0%">
                  <c:v>0.36422667266720044</c:v>
                </c:pt>
                <c:pt idx="20357" formatCode="0.0%">
                  <c:v>0.36416480089544223</c:v>
                </c:pt>
                <c:pt idx="20358" formatCode="0.0%">
                  <c:v>0.36613502218071386</c:v>
                </c:pt>
                <c:pt idx="20359" formatCode="0.0%">
                  <c:v>0.38593389839491404</c:v>
                </c:pt>
                <c:pt idx="20360" formatCode="0.0%">
                  <c:v>0.3930319007754306</c:v>
                </c:pt>
                <c:pt idx="20361" formatCode="0.0%">
                  <c:v>0.39421632802319989</c:v>
                </c:pt>
                <c:pt idx="20362" formatCode="0.0%">
                  <c:v>0.37167564842866513</c:v>
                </c:pt>
                <c:pt idx="20363" formatCode="0.0%">
                  <c:v>0.37964149603058367</c:v>
                </c:pt>
                <c:pt idx="20364" formatCode="0.0%">
                  <c:v>0.37665817754054715</c:v>
                </c:pt>
                <c:pt idx="20365" formatCode="0.0%">
                  <c:v>0.37255797208893943</c:v>
                </c:pt>
                <c:pt idx="20366" formatCode="0.0%">
                  <c:v>0.3869954035518306</c:v>
                </c:pt>
                <c:pt idx="20367" formatCode="0.0%">
                  <c:v>0.38040222951592673</c:v>
                </c:pt>
                <c:pt idx="20368" formatCode="0.0%">
                  <c:v>0.41242393571880648</c:v>
                </c:pt>
                <c:pt idx="20369" formatCode="0.0%">
                  <c:v>0.41385443355319212</c:v>
                </c:pt>
                <c:pt idx="20370" formatCode="0.0%">
                  <c:v>0.39651320226578124</c:v>
                </c:pt>
                <c:pt idx="20371" formatCode="0.0%">
                  <c:v>0.39789313013516131</c:v>
                </c:pt>
                <c:pt idx="20372" formatCode="0.0%">
                  <c:v>0.42779144994407664</c:v>
                </c:pt>
                <c:pt idx="20373" formatCode="0.0%">
                  <c:v>0.3838509484251601</c:v>
                </c:pt>
                <c:pt idx="20374" formatCode="0.0%">
                  <c:v>0.34890368537984945</c:v>
                </c:pt>
                <c:pt idx="20375" formatCode="0.0%">
                  <c:v>0.34750176840871333</c:v>
                </c:pt>
                <c:pt idx="20376" formatCode="0.0%">
                  <c:v>0.36323269980627887</c:v>
                </c:pt>
                <c:pt idx="20377" formatCode="0.0%">
                  <c:v>0.39538175450147761</c:v>
                </c:pt>
                <c:pt idx="20378" formatCode="0.0%">
                  <c:v>0.3920683403587007</c:v>
                </c:pt>
                <c:pt idx="20379" formatCode="0.0%">
                  <c:v>0.36677183888276749</c:v>
                </c:pt>
                <c:pt idx="20380" formatCode="0.0%">
                  <c:v>0.35902884089205045</c:v>
                </c:pt>
                <c:pt idx="20381" formatCode="0.0%">
                  <c:v>0.38355082604940621</c:v>
                </c:pt>
                <c:pt idx="20382" formatCode="0.0%">
                  <c:v>0.38255542431550388</c:v>
                </c:pt>
                <c:pt idx="20383" formatCode="0.0%">
                  <c:v>0.38999538394983552</c:v>
                </c:pt>
                <c:pt idx="20384" formatCode="0.0%">
                  <c:v>0.40964110986320273</c:v>
                </c:pt>
                <c:pt idx="20385" formatCode="0.0%">
                  <c:v>0.40028927012963533</c:v>
                </c:pt>
                <c:pt idx="20386" formatCode="0.0%">
                  <c:v>0.37548342909106652</c:v>
                </c:pt>
                <c:pt idx="20387" formatCode="0.0%">
                  <c:v>0.45720843769739383</c:v>
                </c:pt>
                <c:pt idx="20388" formatCode="0.0%">
                  <c:v>0.4323262363982262</c:v>
                </c:pt>
                <c:pt idx="20389" formatCode="0.0%">
                  <c:v>0.46080353219788889</c:v>
                </c:pt>
                <c:pt idx="20390" formatCode="0.0%">
                  <c:v>0.46248783042265512</c:v>
                </c:pt>
                <c:pt idx="20391" formatCode="0.0%">
                  <c:v>0.46211268681318729</c:v>
                </c:pt>
                <c:pt idx="20392" formatCode="0.0%">
                  <c:v>0.45111916000893809</c:v>
                </c:pt>
                <c:pt idx="20393" formatCode="0.0%">
                  <c:v>0.45743112597591645</c:v>
                </c:pt>
                <c:pt idx="20394" formatCode="0.0%">
                  <c:v>0.45779362084914205</c:v>
                </c:pt>
                <c:pt idx="20395" formatCode="0.0%">
                  <c:v>0.4616721371134459</c:v>
                </c:pt>
                <c:pt idx="20396" formatCode="0.0%">
                  <c:v>0.50172923140716419</c:v>
                </c:pt>
                <c:pt idx="20397" formatCode="0.0%">
                  <c:v>0.49251763472387367</c:v>
                </c:pt>
                <c:pt idx="20398" formatCode="0.0%">
                  <c:v>0.49078568340049317</c:v>
                </c:pt>
                <c:pt idx="20399" formatCode="0.0%">
                  <c:v>0.4902549112850596</c:v>
                </c:pt>
                <c:pt idx="20400" formatCode="0.0%">
                  <c:v>0.48779360886399231</c:v>
                </c:pt>
                <c:pt idx="20401" formatCode="0.0%">
                  <c:v>0.47176996986059322</c:v>
                </c:pt>
                <c:pt idx="20402" formatCode="0.0%">
                  <c:v>0.47011886256351937</c:v>
                </c:pt>
                <c:pt idx="20403" formatCode="0.0%">
                  <c:v>0.46746070106750437</c:v>
                </c:pt>
                <c:pt idx="20404" formatCode="0.0%">
                  <c:v>0.43404809076203171</c:v>
                </c:pt>
                <c:pt idx="20405" formatCode="0.0%">
                  <c:v>0.43280293157374078</c:v>
                </c:pt>
                <c:pt idx="20406" formatCode="0.0%">
                  <c:v>0.43176961339568398</c:v>
                </c:pt>
                <c:pt idx="20407" formatCode="0.0%">
                  <c:v>0.40345689785312072</c:v>
                </c:pt>
                <c:pt idx="20408" formatCode="0.0%">
                  <c:v>0.40363624383718044</c:v>
                </c:pt>
                <c:pt idx="20409" formatCode="0.0%">
                  <c:v>0.40092255993177545</c:v>
                </c:pt>
                <c:pt idx="20410" formatCode="0.0%">
                  <c:v>0.40115277354137124</c:v>
                </c:pt>
                <c:pt idx="20411" formatCode="0.0%">
                  <c:v>0.41089602217874438</c:v>
                </c:pt>
                <c:pt idx="20412" formatCode="0.0%">
                  <c:v>0.40022022782416194</c:v>
                </c:pt>
                <c:pt idx="20413" formatCode="0.0%">
                  <c:v>0.39785473161988777</c:v>
                </c:pt>
                <c:pt idx="20414" formatCode="0.0%">
                  <c:v>0.39254354512742551</c:v>
                </c:pt>
                <c:pt idx="20415" formatCode="0.0%">
                  <c:v>0.42078311176561628</c:v>
                </c:pt>
                <c:pt idx="20416" formatCode="0.0%">
                  <c:v>0.35278470135268325</c:v>
                </c:pt>
                <c:pt idx="20417" formatCode="0.0%">
                  <c:v>0.34487115718520206</c:v>
                </c:pt>
                <c:pt idx="20418" formatCode="0.0%">
                  <c:v>0.34495513503644337</c:v>
                </c:pt>
                <c:pt idx="20419" formatCode="0.0%">
                  <c:v>0.34056763257356965</c:v>
                </c:pt>
                <c:pt idx="20420" formatCode="0.0%">
                  <c:v>0.3333806085021892</c:v>
                </c:pt>
                <c:pt idx="20421" formatCode="0.0%">
                  <c:v>0.30285464270663814</c:v>
                </c:pt>
                <c:pt idx="20422" formatCode="0.0%">
                  <c:v>0.30752204372788006</c:v>
                </c:pt>
                <c:pt idx="20423" formatCode="0.0%">
                  <c:v>0.30478766954511793</c:v>
                </c:pt>
                <c:pt idx="20424" formatCode="0.0%">
                  <c:v>0.29072917408495935</c:v>
                </c:pt>
                <c:pt idx="20425" formatCode="0.0%">
                  <c:v>0.3099093131671683</c:v>
                </c:pt>
                <c:pt idx="20426" formatCode="0.0%">
                  <c:v>0.30796788365042627</c:v>
                </c:pt>
                <c:pt idx="20427" formatCode="0.0%">
                  <c:v>0.29259063737397933</c:v>
                </c:pt>
                <c:pt idx="20428" formatCode="0.0%">
                  <c:v>0.2994945028664549</c:v>
                </c:pt>
                <c:pt idx="20429" formatCode="0.0%">
                  <c:v>0.28334957780045866</c:v>
                </c:pt>
                <c:pt idx="20430" formatCode="0.0%">
                  <c:v>0.29783547145078659</c:v>
                </c:pt>
                <c:pt idx="20431" formatCode="0.0%">
                  <c:v>0.28558893309541783</c:v>
                </c:pt>
                <c:pt idx="20432" formatCode="0.0%">
                  <c:v>0.30387194845924131</c:v>
                </c:pt>
                <c:pt idx="20433" formatCode="0.0%">
                  <c:v>0.30136915056733327</c:v>
                </c:pt>
                <c:pt idx="20434" formatCode="0.0%">
                  <c:v>0.3045545853594343</c:v>
                </c:pt>
                <c:pt idx="20435" formatCode="0.0%">
                  <c:v>0.27238596397043019</c:v>
                </c:pt>
                <c:pt idx="20436" formatCode="0.0%">
                  <c:v>0.26590836321158601</c:v>
                </c:pt>
                <c:pt idx="20437" formatCode="0.0%">
                  <c:v>0.26465142782316664</c:v>
                </c:pt>
                <c:pt idx="20438" formatCode="0.0%">
                  <c:v>0.27294098627896468</c:v>
                </c:pt>
                <c:pt idx="20439" formatCode="0.0%">
                  <c:v>0.26764797633347348</c:v>
                </c:pt>
                <c:pt idx="20440" formatCode="0.0%">
                  <c:v>0.27788567529249264</c:v>
                </c:pt>
                <c:pt idx="20441" formatCode="0.0%">
                  <c:v>0.28828552040255462</c:v>
                </c:pt>
                <c:pt idx="20442" formatCode="0.0%">
                  <c:v>0.28368360662974473</c:v>
                </c:pt>
                <c:pt idx="20443" formatCode="0.0%">
                  <c:v>0.28639783119868784</c:v>
                </c:pt>
                <c:pt idx="20444" formatCode="0.0%">
                  <c:v>0.29767369718529324</c:v>
                </c:pt>
                <c:pt idx="20445" formatCode="0.0%">
                  <c:v>0.27619099013925735</c:v>
                </c:pt>
                <c:pt idx="20446" formatCode="0.0%">
                  <c:v>0.28124872119001904</c:v>
                </c:pt>
                <c:pt idx="20447" formatCode="0.0%">
                  <c:v>0.27765909900215613</c:v>
                </c:pt>
                <c:pt idx="20448" formatCode="0.0%">
                  <c:v>0.27277660739862114</c:v>
                </c:pt>
                <c:pt idx="20449" formatCode="0.0%">
                  <c:v>0.2601433372429508</c:v>
                </c:pt>
                <c:pt idx="20450" formatCode="0.0%">
                  <c:v>0.24654872333696401</c:v>
                </c:pt>
                <c:pt idx="20451" formatCode="0.0%">
                  <c:v>0.2470826158329992</c:v>
                </c:pt>
                <c:pt idx="20452" formatCode="0.0%">
                  <c:v>0.22242049108627307</c:v>
                </c:pt>
                <c:pt idx="20453" formatCode="0.0%">
                  <c:v>0.22096399891436433</c:v>
                </c:pt>
                <c:pt idx="20454" formatCode="0.0%">
                  <c:v>0.23582378285122546</c:v>
                </c:pt>
                <c:pt idx="20455" formatCode="0.0%">
                  <c:v>0.21737541495975732</c:v>
                </c:pt>
                <c:pt idx="20456" formatCode="0.0%">
                  <c:v>0.2173386548439436</c:v>
                </c:pt>
                <c:pt idx="20457" formatCode="0.0%">
                  <c:v>0.21827373592662416</c:v>
                </c:pt>
                <c:pt idx="20458" formatCode="0.0%">
                  <c:v>0.20804840729604618</c:v>
                </c:pt>
                <c:pt idx="20459" formatCode="0.0%">
                  <c:v>0.23856084064162983</c:v>
                </c:pt>
                <c:pt idx="20460" formatCode="0.0%">
                  <c:v>0.21882326187194584</c:v>
                </c:pt>
                <c:pt idx="20461" formatCode="0.0%">
                  <c:v>0.20908493169100925</c:v>
                </c:pt>
                <c:pt idx="20462" formatCode="0.0%">
                  <c:v>0.21561532894143334</c:v>
                </c:pt>
                <c:pt idx="20463" formatCode="0.0%">
                  <c:v>0.2103591537190605</c:v>
                </c:pt>
                <c:pt idx="20464" formatCode="0.0%">
                  <c:v>0.19112307818075194</c:v>
                </c:pt>
                <c:pt idx="20465" formatCode="0.0%">
                  <c:v>0.192721724573783</c:v>
                </c:pt>
                <c:pt idx="20466" formatCode="0.0%">
                  <c:v>0.18786436602178236</c:v>
                </c:pt>
                <c:pt idx="20467" formatCode="0.0%">
                  <c:v>0.20870604674101609</c:v>
                </c:pt>
                <c:pt idx="20468" formatCode="0.0%">
                  <c:v>0.20947930576012486</c:v>
                </c:pt>
                <c:pt idx="20469" formatCode="0.0%">
                  <c:v>0.2185116869662064</c:v>
                </c:pt>
                <c:pt idx="20470" formatCode="0.0%">
                  <c:v>0.21717898335833435</c:v>
                </c:pt>
                <c:pt idx="20471" formatCode="0.0%">
                  <c:v>0.21859215661061171</c:v>
                </c:pt>
                <c:pt idx="20472" formatCode="0.0%">
                  <c:v>0.21588170780793534</c:v>
                </c:pt>
                <c:pt idx="20473" formatCode="0.0%">
                  <c:v>0.23767298330381567</c:v>
                </c:pt>
                <c:pt idx="20474" formatCode="0.0%">
                  <c:v>0.22476417892316314</c:v>
                </c:pt>
                <c:pt idx="20475" formatCode="0.0%">
                  <c:v>0.24407483667741478</c:v>
                </c:pt>
                <c:pt idx="20476" formatCode="0.0%">
                  <c:v>0.2452867374820365</c:v>
                </c:pt>
                <c:pt idx="20477" formatCode="0.0%">
                  <c:v>0.24405542624761423</c:v>
                </c:pt>
                <c:pt idx="20478" formatCode="0.0%">
                  <c:v>0.24666546097360417</c:v>
                </c:pt>
                <c:pt idx="20479" formatCode="0.0%">
                  <c:v>0.21433353377797792</c:v>
                </c:pt>
                <c:pt idx="20480" formatCode="0.0%">
                  <c:v>0.21475050440887319</c:v>
                </c:pt>
                <c:pt idx="20481" formatCode="0.0%">
                  <c:v>0.22584955006471982</c:v>
                </c:pt>
                <c:pt idx="20482" formatCode="0.0%">
                  <c:v>0.21651112461749411</c:v>
                </c:pt>
                <c:pt idx="20483" formatCode="0.0%">
                  <c:v>0.21583600167069789</c:v>
                </c:pt>
                <c:pt idx="20484" formatCode="0.0%">
                  <c:v>0.21571569098766949</c:v>
                </c:pt>
                <c:pt idx="20485" formatCode="0.0%">
                  <c:v>0.21339032109876646</c:v>
                </c:pt>
                <c:pt idx="20486" formatCode="0.0%">
                  <c:v>0.21567918689359375</c:v>
                </c:pt>
                <c:pt idx="20487" formatCode="0.0%">
                  <c:v>0.17787909179047565</c:v>
                </c:pt>
                <c:pt idx="20488" formatCode="0.0%">
                  <c:v>0.18137609868355359</c:v>
                </c:pt>
                <c:pt idx="20489" formatCode="0.0%">
                  <c:v>0.1552640075614404</c:v>
                </c:pt>
                <c:pt idx="20490" formatCode="0.0%">
                  <c:v>0.15620747998290621</c:v>
                </c:pt>
                <c:pt idx="20491" formatCode="0.0%">
                  <c:v>0.16185311226430513</c:v>
                </c:pt>
                <c:pt idx="20492" formatCode="0.0%">
                  <c:v>0.15917047490042172</c:v>
                </c:pt>
                <c:pt idx="20493" formatCode="0.0%">
                  <c:v>0.14861926394724409</c:v>
                </c:pt>
                <c:pt idx="20494" formatCode="0.0%">
                  <c:v>0.16221815302831227</c:v>
                </c:pt>
                <c:pt idx="20495" formatCode="0.0%">
                  <c:v>0.13686821711250172</c:v>
                </c:pt>
                <c:pt idx="20496" formatCode="0.0%">
                  <c:v>0.13618891870073541</c:v>
                </c:pt>
                <c:pt idx="20497" formatCode="0.0%">
                  <c:v>0.14239108588546431</c:v>
                </c:pt>
                <c:pt idx="20498" formatCode="0.0%">
                  <c:v>0.16979233549797704</c:v>
                </c:pt>
                <c:pt idx="20499" formatCode="0.0%">
                  <c:v>0.1724091046273194</c:v>
                </c:pt>
                <c:pt idx="20500" formatCode="0.0%">
                  <c:v>0.17306694808267539</c:v>
                </c:pt>
                <c:pt idx="20501" formatCode="0.0%">
                  <c:v>0.15841965350570433</c:v>
                </c:pt>
                <c:pt idx="20502" formatCode="0.0%">
                  <c:v>0.16938626671525375</c:v>
                </c:pt>
                <c:pt idx="20503" formatCode="0.0%">
                  <c:v>0.16967122622279204</c:v>
                </c:pt>
                <c:pt idx="20504" formatCode="0.0%">
                  <c:v>0.16873209144668194</c:v>
                </c:pt>
                <c:pt idx="20505" formatCode="0.0%">
                  <c:v>0.16696953322691963</c:v>
                </c:pt>
                <c:pt idx="20506" formatCode="0.0%">
                  <c:v>0.16342248223109088</c:v>
                </c:pt>
                <c:pt idx="20507" formatCode="0.0%">
                  <c:v>0.16403053989330293</c:v>
                </c:pt>
                <c:pt idx="20508" formatCode="0.0%">
                  <c:v>0.16003963949485833</c:v>
                </c:pt>
                <c:pt idx="20509" formatCode="0.0%">
                  <c:v>0.1797460701687201</c:v>
                </c:pt>
                <c:pt idx="20510" formatCode="0.0%">
                  <c:v>0.17982315978162469</c:v>
                </c:pt>
                <c:pt idx="20511" formatCode="0.0%">
                  <c:v>0.18135437065336033</c:v>
                </c:pt>
                <c:pt idx="20512" formatCode="0.0%">
                  <c:v>0.18105476929576217</c:v>
                </c:pt>
                <c:pt idx="20513" formatCode="0.0%">
                  <c:v>0.18294332067108615</c:v>
                </c:pt>
                <c:pt idx="20514" formatCode="0.0%">
                  <c:v>0.17704409932506393</c:v>
                </c:pt>
                <c:pt idx="20515" formatCode="0.0%">
                  <c:v>0.1763056743959332</c:v>
                </c:pt>
                <c:pt idx="20516" formatCode="0.0%">
                  <c:v>0.17563274905091822</c:v>
                </c:pt>
                <c:pt idx="20517" formatCode="0.0%">
                  <c:v>0.17227721782891645</c:v>
                </c:pt>
                <c:pt idx="20518" formatCode="0.0%">
                  <c:v>0.14029205007256768</c:v>
                </c:pt>
                <c:pt idx="20519" formatCode="0.0%">
                  <c:v>0.14454617316237645</c:v>
                </c:pt>
                <c:pt idx="20520" formatCode="0.0%">
                  <c:v>0.14609704165642468</c:v>
                </c:pt>
                <c:pt idx="20521" formatCode="0.0%">
                  <c:v>0.14335859222478747</c:v>
                </c:pt>
                <c:pt idx="20522" formatCode="0.0%">
                  <c:v>0.13257690177733739</c:v>
                </c:pt>
                <c:pt idx="20523" formatCode="0.0%">
                  <c:v>0.13327335476354427</c:v>
                </c:pt>
                <c:pt idx="20524" formatCode="0.0%">
                  <c:v>0.14025095505612603</c:v>
                </c:pt>
                <c:pt idx="20525" formatCode="0.0%">
                  <c:v>0.14568186536208763</c:v>
                </c:pt>
                <c:pt idx="20526" formatCode="0.0%">
                  <c:v>0.14771758774088434</c:v>
                </c:pt>
                <c:pt idx="20527" formatCode="0.0%">
                  <c:v>0.15908719852649708</c:v>
                </c:pt>
                <c:pt idx="20528" formatCode="0.0%">
                  <c:v>0.15565532075912739</c:v>
                </c:pt>
                <c:pt idx="20529" formatCode="0.0%">
                  <c:v>0.12853169349009419</c:v>
                </c:pt>
                <c:pt idx="20530" formatCode="0.0%">
                  <c:v>0.16371280600709823</c:v>
                </c:pt>
                <c:pt idx="20531" formatCode="0.0%">
                  <c:v>0.16309700624906959</c:v>
                </c:pt>
                <c:pt idx="20532" formatCode="0.0%">
                  <c:v>0.16488742493828068</c:v>
                </c:pt>
                <c:pt idx="20533" formatCode="0.0%">
                  <c:v>0.16867874333566554</c:v>
                </c:pt>
                <c:pt idx="20534" formatCode="0.0%">
                  <c:v>0.16710742019412361</c:v>
                </c:pt>
                <c:pt idx="20535" formatCode="0.0%">
                  <c:v>0.16527640849423009</c:v>
                </c:pt>
                <c:pt idx="20536" formatCode="0.0%">
                  <c:v>0.16580780621244667</c:v>
                </c:pt>
                <c:pt idx="20537" formatCode="0.0%">
                  <c:v>0.16517953527895826</c:v>
                </c:pt>
                <c:pt idx="20538" formatCode="0.0%">
                  <c:v>0.16562864780919048</c:v>
                </c:pt>
                <c:pt idx="20539" formatCode="0.0%">
                  <c:v>0.16828236113456768</c:v>
                </c:pt>
                <c:pt idx="20540" formatCode="0.0%">
                  <c:v>0.16787228760621545</c:v>
                </c:pt>
                <c:pt idx="20541" formatCode="0.0%">
                  <c:v>0.17117011629540951</c:v>
                </c:pt>
                <c:pt idx="20542" formatCode="0.0%">
                  <c:v>0.17289939192779272</c:v>
                </c:pt>
                <c:pt idx="20543" formatCode="0.0%">
                  <c:v>0.17394782810641377</c:v>
                </c:pt>
                <c:pt idx="20544" formatCode="0.0%">
                  <c:v>0.17296944717759838</c:v>
                </c:pt>
                <c:pt idx="20545" formatCode="0.0%">
                  <c:v>0.17150113065173919</c:v>
                </c:pt>
                <c:pt idx="20546" formatCode="0.0%">
                  <c:v>0.17664730745691801</c:v>
                </c:pt>
                <c:pt idx="20547" formatCode="0.0%">
                  <c:v>0.17214525261237842</c:v>
                </c:pt>
                <c:pt idx="20548" formatCode="0.0%">
                  <c:v>0.17238951362157759</c:v>
                </c:pt>
                <c:pt idx="20549" formatCode="0.0%">
                  <c:v>0.18606432829976832</c:v>
                </c:pt>
                <c:pt idx="20550" formatCode="0.0%">
                  <c:v>0.17747229890873226</c:v>
                </c:pt>
                <c:pt idx="20551" formatCode="0.0%">
                  <c:v>0.20660261145455774</c:v>
                </c:pt>
                <c:pt idx="20552" formatCode="0.0%">
                  <c:v>0.20102863733268603</c:v>
                </c:pt>
                <c:pt idx="20553" formatCode="0.0%">
                  <c:v>0.1948953570220264</c:v>
                </c:pt>
                <c:pt idx="20554" formatCode="0.0%">
                  <c:v>0.19462554612344737</c:v>
                </c:pt>
                <c:pt idx="20555" formatCode="0.0%">
                  <c:v>0.20502194081737687</c:v>
                </c:pt>
                <c:pt idx="20556" formatCode="0.0%">
                  <c:v>0.20419419001038136</c:v>
                </c:pt>
                <c:pt idx="20557" formatCode="0.0%">
                  <c:v>0.21840261442707784</c:v>
                </c:pt>
                <c:pt idx="20558" formatCode="0.0%">
                  <c:v>0.21802554273274363</c:v>
                </c:pt>
                <c:pt idx="20559" formatCode="0.0%">
                  <c:v>0.20989390685833276</c:v>
                </c:pt>
                <c:pt idx="20560" formatCode="0.0%">
                  <c:v>0.2126325213967325</c:v>
                </c:pt>
                <c:pt idx="20561" formatCode="0.0%">
                  <c:v>0.21165930968554211</c:v>
                </c:pt>
                <c:pt idx="20562" formatCode="0.0%">
                  <c:v>0.21522532191574689</c:v>
                </c:pt>
                <c:pt idx="20563" formatCode="0.0%">
                  <c:v>0.2137315889992106</c:v>
                </c:pt>
                <c:pt idx="20564" formatCode="0.0%">
                  <c:v>0.21069536361538524</c:v>
                </c:pt>
                <c:pt idx="20565" formatCode="0.0%">
                  <c:v>0.21394513946770796</c:v>
                </c:pt>
                <c:pt idx="20566" formatCode="0.0%">
                  <c:v>0.20938666934620026</c:v>
                </c:pt>
                <c:pt idx="20567" formatCode="0.0%">
                  <c:v>0.20889444282087644</c:v>
                </c:pt>
                <c:pt idx="20568" formatCode="0.0%">
                  <c:v>0.20822226546255238</c:v>
                </c:pt>
                <c:pt idx="20569" formatCode="0.0%">
                  <c:v>0.19186633778501314</c:v>
                </c:pt>
                <c:pt idx="20570" formatCode="0.0%">
                  <c:v>0.19110960005419117</c:v>
                </c:pt>
                <c:pt idx="20571" formatCode="0.0%">
                  <c:v>0.15581227989696858</c:v>
                </c:pt>
                <c:pt idx="20572" formatCode="0.0%">
                  <c:v>0.1587686250345425</c:v>
                </c:pt>
                <c:pt idx="20573" formatCode="0.0%">
                  <c:v>0.15905405542964549</c:v>
                </c:pt>
                <c:pt idx="20574" formatCode="0.0%">
                  <c:v>0.16404537043271547</c:v>
                </c:pt>
                <c:pt idx="20575" formatCode="0.0%">
                  <c:v>0.15254498084425208</c:v>
                </c:pt>
                <c:pt idx="20576" formatCode="0.0%">
                  <c:v>0.15326634133422648</c:v>
                </c:pt>
                <c:pt idx="20577" formatCode="0.0%">
                  <c:v>0.13830932661915032</c:v>
                </c:pt>
                <c:pt idx="20578" formatCode="0.0%">
                  <c:v>0.1389372805401444</c:v>
                </c:pt>
                <c:pt idx="20579" formatCode="0.0%">
                  <c:v>0.13934058280995321</c:v>
                </c:pt>
                <c:pt idx="20580" formatCode="0.0%">
                  <c:v>0.13412709227147418</c:v>
                </c:pt>
                <c:pt idx="20581" formatCode="0.0%">
                  <c:v>0.13477592781030567</c:v>
                </c:pt>
                <c:pt idx="20582" formatCode="0.0%">
                  <c:v>0.12676395125365619</c:v>
                </c:pt>
                <c:pt idx="20583" formatCode="0.0%">
                  <c:v>0.12678750945089579</c:v>
                </c:pt>
                <c:pt idx="20584" formatCode="0.0%">
                  <c:v>0.13357540790416828</c:v>
                </c:pt>
                <c:pt idx="20585" formatCode="0.0%">
                  <c:v>0.12624764654104564</c:v>
                </c:pt>
                <c:pt idx="20586" formatCode="0.0%">
                  <c:v>0.13038478415442811</c:v>
                </c:pt>
                <c:pt idx="20587" formatCode="0.0%">
                  <c:v>0.12226255328791251</c:v>
                </c:pt>
                <c:pt idx="20588" formatCode="0.0%">
                  <c:v>0.12234875684168818</c:v>
                </c:pt>
                <c:pt idx="20589" formatCode="0.0%">
                  <c:v>0.12268726846676645</c:v>
                </c:pt>
                <c:pt idx="20590" formatCode="0.0%">
                  <c:v>0.10239880231639527</c:v>
                </c:pt>
                <c:pt idx="20591" formatCode="0.0%">
                  <c:v>0.10260941055018474</c:v>
                </c:pt>
                <c:pt idx="20592" formatCode="0.0%">
                  <c:v>9.4640842238738226E-2</c:v>
                </c:pt>
                <c:pt idx="20593" formatCode="0.0%">
                  <c:v>0.10224346416080872</c:v>
                </c:pt>
                <c:pt idx="20594" formatCode="0.0%">
                  <c:v>0.11092564088622188</c:v>
                </c:pt>
                <c:pt idx="20595" formatCode="0.0%">
                  <c:v>0.11010322584034628</c:v>
                </c:pt>
                <c:pt idx="20596" formatCode="0.0%">
                  <c:v>0.10922740687180299</c:v>
                </c:pt>
                <c:pt idx="20597" formatCode="0.0%">
                  <c:v>0.10012450187101986</c:v>
                </c:pt>
                <c:pt idx="20598" formatCode="0.0%">
                  <c:v>0.10001265479899438</c:v>
                </c:pt>
                <c:pt idx="20599" formatCode="0.0%">
                  <c:v>9.9090444353123808E-2</c:v>
                </c:pt>
                <c:pt idx="20600" formatCode="0.0%">
                  <c:v>0.1067416293746192</c:v>
                </c:pt>
                <c:pt idx="20601" formatCode="0.0%">
                  <c:v>0.10778960149649147</c:v>
                </c:pt>
                <c:pt idx="20602" formatCode="0.0%">
                  <c:v>0.10463204285958565</c:v>
                </c:pt>
                <c:pt idx="20603" formatCode="0.0%">
                  <c:v>0.11392232513872862</c:v>
                </c:pt>
                <c:pt idx="20604" formatCode="0.0%">
                  <c:v>0.10949944798632914</c:v>
                </c:pt>
                <c:pt idx="20605" formatCode="0.0%">
                  <c:v>0.11798701169660711</c:v>
                </c:pt>
                <c:pt idx="20606" formatCode="0.0%">
                  <c:v>0.1341284084876507</c:v>
                </c:pt>
                <c:pt idx="20607" formatCode="0.0%">
                  <c:v>0.15524167438888745</c:v>
                </c:pt>
                <c:pt idx="20608" formatCode="0.0%">
                  <c:v>0.15613875264747956</c:v>
                </c:pt>
                <c:pt idx="20609" formatCode="0.0%">
                  <c:v>0.15466830488822747</c:v>
                </c:pt>
                <c:pt idx="20610" formatCode="0.0%">
                  <c:v>0.15608407133504026</c:v>
                </c:pt>
                <c:pt idx="20611" formatCode="0.0%">
                  <c:v>0.16049667338677295</c:v>
                </c:pt>
                <c:pt idx="20612" formatCode="0.0%">
                  <c:v>0.16273220078782072</c:v>
                </c:pt>
                <c:pt idx="20613" formatCode="0.0%">
                  <c:v>0.17010927938752587</c:v>
                </c:pt>
                <c:pt idx="20614" formatCode="0.0%">
                  <c:v>0.16638645455357856</c:v>
                </c:pt>
                <c:pt idx="20615" formatCode="0.0%">
                  <c:v>0.16614148382854707</c:v>
                </c:pt>
                <c:pt idx="20616" formatCode="0.0%">
                  <c:v>0.19668921118596752</c:v>
                </c:pt>
                <c:pt idx="20617" formatCode="0.0%">
                  <c:v>0.19617691800410078</c:v>
                </c:pt>
                <c:pt idx="20618" formatCode="0.0%">
                  <c:v>0.19562013848374335</c:v>
                </c:pt>
                <c:pt idx="20619" formatCode="0.0%">
                  <c:v>0.20386812589758224</c:v>
                </c:pt>
                <c:pt idx="20620" formatCode="0.0%">
                  <c:v>0.20266728780095825</c:v>
                </c:pt>
                <c:pt idx="20621" formatCode="0.0%">
                  <c:v>0.20371277520291972</c:v>
                </c:pt>
                <c:pt idx="20622" formatCode="0.0%">
                  <c:v>0.20270357050038898</c:v>
                </c:pt>
                <c:pt idx="20623" formatCode="0.0%">
                  <c:v>0.21375827503069636</c:v>
                </c:pt>
                <c:pt idx="20624" formatCode="0.0%">
                  <c:v>0.20841690949136721</c:v>
                </c:pt>
                <c:pt idx="20625" formatCode="0.0%">
                  <c:v>0.20817439032332635</c:v>
                </c:pt>
                <c:pt idx="20626" formatCode="0.0%">
                  <c:v>0.19757194069018014</c:v>
                </c:pt>
                <c:pt idx="20627" formatCode="0.0%">
                  <c:v>0.17967681425389262</c:v>
                </c:pt>
                <c:pt idx="20628" formatCode="0.0%">
                  <c:v>0.18470313139991998</c:v>
                </c:pt>
                <c:pt idx="20629" formatCode="0.0%">
                  <c:v>0.18715994243535203</c:v>
                </c:pt>
                <c:pt idx="20630" formatCode="0.0%">
                  <c:v>0.18668071514121751</c:v>
                </c:pt>
                <c:pt idx="20631" formatCode="0.0%">
                  <c:v>0.18109954156669636</c:v>
                </c:pt>
                <c:pt idx="20632" formatCode="0.0%">
                  <c:v>0.17919156128260832</c:v>
                </c:pt>
                <c:pt idx="20633" formatCode="0.0%">
                  <c:v>0.17328387875273904</c:v>
                </c:pt>
                <c:pt idx="20634" formatCode="0.0%">
                  <c:v>0.16780728383932589</c:v>
                </c:pt>
                <c:pt idx="20635" formatCode="0.0%">
                  <c:v>0.16648562652295418</c:v>
                </c:pt>
                <c:pt idx="20636" formatCode="0.0%">
                  <c:v>0.11931489513164795</c:v>
                </c:pt>
                <c:pt idx="20637" formatCode="0.0%">
                  <c:v>0.11999150787522891</c:v>
                </c:pt>
                <c:pt idx="20638" formatCode="0.0%">
                  <c:v>0.11129883406178251</c:v>
                </c:pt>
                <c:pt idx="20639" formatCode="0.0%">
                  <c:v>0.10600815209103533</c:v>
                </c:pt>
                <c:pt idx="20640" formatCode="0.0%">
                  <c:v>0.10391838930835824</c:v>
                </c:pt>
                <c:pt idx="20641" formatCode="0.0%">
                  <c:v>0.10233994611483463</c:v>
                </c:pt>
                <c:pt idx="20642" formatCode="0.0%">
                  <c:v>0.10048201512378663</c:v>
                </c:pt>
                <c:pt idx="20643" formatCode="0.0%">
                  <c:v>8.663870825931827E-2</c:v>
                </c:pt>
                <c:pt idx="20644" formatCode="0.0%">
                  <c:v>8.714659824685024E-2</c:v>
                </c:pt>
                <c:pt idx="20645" formatCode="0.0%">
                  <c:v>8.6782926850140399E-2</c:v>
                </c:pt>
                <c:pt idx="20646" formatCode="0.0%">
                  <c:v>9.0995175239369563E-2</c:v>
                </c:pt>
                <c:pt idx="20647" formatCode="0.0%">
                  <c:v>9.066759131497891E-2</c:v>
                </c:pt>
                <c:pt idx="20648" formatCode="0.0%">
                  <c:v>7.332801873852518E-2</c:v>
                </c:pt>
                <c:pt idx="20649" formatCode="0.0%">
                  <c:v>7.6147565385000809E-2</c:v>
                </c:pt>
                <c:pt idx="20650" formatCode="0.0%">
                  <c:v>7.5840952467706751E-2</c:v>
                </c:pt>
                <c:pt idx="20651" formatCode="0.0%">
                  <c:v>7.6036727730379963E-2</c:v>
                </c:pt>
                <c:pt idx="20652" formatCode="0.0%">
                  <c:v>7.1844879386944865E-2</c:v>
                </c:pt>
                <c:pt idx="20653" formatCode="0.0%">
                  <c:v>7.2378962210137024E-2</c:v>
                </c:pt>
                <c:pt idx="20654" formatCode="0.0%">
                  <c:v>7.4870581721958165E-2</c:v>
                </c:pt>
                <c:pt idx="20655" formatCode="0.0%">
                  <c:v>7.6949289865549733E-2</c:v>
                </c:pt>
                <c:pt idx="20656" formatCode="0.0%">
                  <c:v>6.7380733428651252E-2</c:v>
                </c:pt>
                <c:pt idx="20657" formatCode="0.0%">
                  <c:v>6.6874966627283872E-2</c:v>
                </c:pt>
                <c:pt idx="20658" formatCode="0.0%">
                  <c:v>7.2782082715455068E-2</c:v>
                </c:pt>
                <c:pt idx="20659" formatCode="0.0%">
                  <c:v>7.2329335007320084E-2</c:v>
                </c:pt>
                <c:pt idx="20660" formatCode="0.0%">
                  <c:v>7.4011431121186425E-2</c:v>
                </c:pt>
                <c:pt idx="20661" formatCode="0.0%">
                  <c:v>7.3598845112783362E-2</c:v>
                </c:pt>
                <c:pt idx="20662" formatCode="0.0%">
                  <c:v>7.353924036771578E-2</c:v>
                </c:pt>
                <c:pt idx="20663" formatCode="0.0%">
                  <c:v>7.7835590139524666E-2</c:v>
                </c:pt>
                <c:pt idx="20664" formatCode="0.0%">
                  <c:v>7.6739207818016852E-2</c:v>
                </c:pt>
                <c:pt idx="20665" formatCode="0.0%">
                  <c:v>0.10016463261683733</c:v>
                </c:pt>
                <c:pt idx="20666" formatCode="0.0%">
                  <c:v>9.8042581127544617E-2</c:v>
                </c:pt>
                <c:pt idx="20667" formatCode="0.0%">
                  <c:v>9.9975737376193682E-2</c:v>
                </c:pt>
                <c:pt idx="20668" formatCode="0.0%">
                  <c:v>9.8311608299798903E-2</c:v>
                </c:pt>
                <c:pt idx="20669" formatCode="0.0%">
                  <c:v>9.4948398890461999E-2</c:v>
                </c:pt>
                <c:pt idx="20670" formatCode="0.0%">
                  <c:v>9.586979004771029E-2</c:v>
                </c:pt>
                <c:pt idx="20671" formatCode="0.0%">
                  <c:v>9.8500058106580565E-2</c:v>
                </c:pt>
                <c:pt idx="20672" formatCode="0.0%">
                  <c:v>0.13273006242213825</c:v>
                </c:pt>
                <c:pt idx="20673" formatCode="0.0%">
                  <c:v>0.13440587327482872</c:v>
                </c:pt>
                <c:pt idx="20674" formatCode="0.0%">
                  <c:v>0.14005597904390707</c:v>
                </c:pt>
                <c:pt idx="20675" formatCode="0.0%">
                  <c:v>0.15248095156139216</c:v>
                </c:pt>
                <c:pt idx="20676" formatCode="0.0%">
                  <c:v>0.15687566060540503</c:v>
                </c:pt>
                <c:pt idx="20677" formatCode="0.0%">
                  <c:v>0.17965520580305627</c:v>
                </c:pt>
                <c:pt idx="20678" formatCode="0.0%">
                  <c:v>0.17993715654649986</c:v>
                </c:pt>
                <c:pt idx="20679" formatCode="0.0%">
                  <c:v>0.21223602108286058</c:v>
                </c:pt>
                <c:pt idx="20680" formatCode="0.0%">
                  <c:v>0.2140319640469609</c:v>
                </c:pt>
                <c:pt idx="20681" formatCode="0.0%">
                  <c:v>0.27047644316214797</c:v>
                </c:pt>
                <c:pt idx="20682" formatCode="0.0%">
                  <c:v>0.27041568700384289</c:v>
                </c:pt>
                <c:pt idx="20683" formatCode="0.0%">
                  <c:v>0.27217464329269697</c:v>
                </c:pt>
                <c:pt idx="20684" formatCode="0.0%">
                  <c:v>0.27453580126010341</c:v>
                </c:pt>
                <c:pt idx="20685" formatCode="0.0%">
                  <c:v>0.27653475635049801</c:v>
                </c:pt>
                <c:pt idx="20686" formatCode="0.0%">
                  <c:v>0.27566518227937953</c:v>
                </c:pt>
                <c:pt idx="20687" formatCode="0.0%">
                  <c:v>0.27564131987383589</c:v>
                </c:pt>
                <c:pt idx="20688" formatCode="0.0%">
                  <c:v>0.27549565278779425</c:v>
                </c:pt>
                <c:pt idx="20689" formatCode="0.0%">
                  <c:v>0.30208684006371217</c:v>
                </c:pt>
                <c:pt idx="20690" formatCode="0.0%">
                  <c:v>0.30780655683789354</c:v>
                </c:pt>
                <c:pt idx="20691" formatCode="0.0%">
                  <c:v>0.30885414587407417</c:v>
                </c:pt>
                <c:pt idx="20692" formatCode="0.0%">
                  <c:v>0.30240281499154359</c:v>
                </c:pt>
                <c:pt idx="20693" formatCode="0.0%">
                  <c:v>0.29943979697471396</c:v>
                </c:pt>
                <c:pt idx="20694" formatCode="0.0%">
                  <c:v>0.32237096163312368</c:v>
                </c:pt>
                <c:pt idx="20695" formatCode="0.0%">
                  <c:v>0.32053998693782121</c:v>
                </c:pt>
                <c:pt idx="20696" formatCode="0.0%">
                  <c:v>0.31688264207103284</c:v>
                </c:pt>
                <c:pt idx="20697" formatCode="0.0%">
                  <c:v>0.32760251249117944</c:v>
                </c:pt>
                <c:pt idx="20698" formatCode="0.0%">
                  <c:v>0.32836592092667816</c:v>
                </c:pt>
                <c:pt idx="20699" formatCode="0.0%">
                  <c:v>0.33100021455089429</c:v>
                </c:pt>
                <c:pt idx="20700" formatCode="0.0%">
                  <c:v>0.33015990241799231</c:v>
                </c:pt>
                <c:pt idx="20701" formatCode="0.0%">
                  <c:v>0.28804123617774036</c:v>
                </c:pt>
                <c:pt idx="20702" formatCode="0.0%">
                  <c:v>0.28806661944476913</c:v>
                </c:pt>
                <c:pt idx="20703" formatCode="0.0%">
                  <c:v>0.30565474338017584</c:v>
                </c:pt>
                <c:pt idx="20704" formatCode="0.0%">
                  <c:v>0.30523577943763602</c:v>
                </c:pt>
                <c:pt idx="20705" formatCode="0.0%">
                  <c:v>0.29928758535799854</c:v>
                </c:pt>
                <c:pt idx="20706" formatCode="0.0%">
                  <c:v>0.31240856433175368</c:v>
                </c:pt>
                <c:pt idx="20707" formatCode="0.0%">
                  <c:v>0.30841214992520738</c:v>
                </c:pt>
                <c:pt idx="20708" formatCode="0.0%">
                  <c:v>0.30791036718903542</c:v>
                </c:pt>
                <c:pt idx="20709" formatCode="0.0%">
                  <c:v>0.26963325535272642</c:v>
                </c:pt>
                <c:pt idx="20710" formatCode="0.0%">
                  <c:v>0.26601078460289002</c:v>
                </c:pt>
                <c:pt idx="20711" formatCode="0.0%">
                  <c:v>0.26850731006988826</c:v>
                </c:pt>
                <c:pt idx="20712" formatCode="0.0%">
                  <c:v>0.26887589715447036</c:v>
                </c:pt>
                <c:pt idx="20713" formatCode="0.0%">
                  <c:v>0.27539056117736577</c:v>
                </c:pt>
                <c:pt idx="20714" formatCode="0.0%">
                  <c:v>0.24840322384775154</c:v>
                </c:pt>
                <c:pt idx="20715" formatCode="0.0%">
                  <c:v>0.24487615251661773</c:v>
                </c:pt>
                <c:pt idx="20716" formatCode="0.0%">
                  <c:v>0.26222835119311749</c:v>
                </c:pt>
                <c:pt idx="20717" formatCode="0.0%">
                  <c:v>0.24358773891257643</c:v>
                </c:pt>
                <c:pt idx="20718" formatCode="0.0%">
                  <c:v>0.24209071644018984</c:v>
                </c:pt>
                <c:pt idx="20719" formatCode="0.0%">
                  <c:v>0.21183929737582463</c:v>
                </c:pt>
                <c:pt idx="20720" formatCode="0.0%">
                  <c:v>0.20874371471164188</c:v>
                </c:pt>
                <c:pt idx="20721" formatCode="0.0%">
                  <c:v>0.23435646773541238</c:v>
                </c:pt>
                <c:pt idx="20722" formatCode="0.0%">
                  <c:v>0.23556580689996787</c:v>
                </c:pt>
                <c:pt idx="20723" formatCode="0.0%">
                  <c:v>0.21222684329242469</c:v>
                </c:pt>
                <c:pt idx="20724" formatCode="0.0%">
                  <c:v>0.2115317918265078</c:v>
                </c:pt>
                <c:pt idx="20725" formatCode="0.0%">
                  <c:v>0.21878438656919996</c:v>
                </c:pt>
                <c:pt idx="20726" formatCode="0.0%">
                  <c:v>0.20128079874381358</c:v>
                </c:pt>
                <c:pt idx="20727" formatCode="0.0%">
                  <c:v>0.20141734002764286</c:v>
                </c:pt>
                <c:pt idx="20728" formatCode="0.0%">
                  <c:v>0.22496055859616382</c:v>
                </c:pt>
                <c:pt idx="20729" formatCode="0.0%">
                  <c:v>0.22656342083228076</c:v>
                </c:pt>
                <c:pt idx="20730" formatCode="0.0%">
                  <c:v>0.23139092384215804</c:v>
                </c:pt>
                <c:pt idx="20731" formatCode="0.0%">
                  <c:v>0.22886595397119827</c:v>
                </c:pt>
                <c:pt idx="20732" formatCode="0.0%">
                  <c:v>0.24332725730252669</c:v>
                </c:pt>
                <c:pt idx="20733" formatCode="0.0%">
                  <c:v>0.23626170291410495</c:v>
                </c:pt>
                <c:pt idx="20734" formatCode="0.0%">
                  <c:v>0.23878559422221107</c:v>
                </c:pt>
                <c:pt idx="20735" formatCode="0.0%">
                  <c:v>0.23860211941255333</c:v>
                </c:pt>
                <c:pt idx="20736" formatCode="0.0%">
                  <c:v>0.20696432859922673</c:v>
                </c:pt>
                <c:pt idx="20737" formatCode="0.0%">
                  <c:v>0.20295212020740219</c:v>
                </c:pt>
                <c:pt idx="20738" formatCode="0.0%">
                  <c:v>0.20186866656129096</c:v>
                </c:pt>
                <c:pt idx="20739" formatCode="0.0%">
                  <c:v>0.20938679026031279</c:v>
                </c:pt>
                <c:pt idx="20740" formatCode="0.0%">
                  <c:v>0.21212688828099371</c:v>
                </c:pt>
                <c:pt idx="20741" formatCode="0.0%">
                  <c:v>0.18783529195928275</c:v>
                </c:pt>
                <c:pt idx="20742" formatCode="0.0%">
                  <c:v>0.18689373281784227</c:v>
                </c:pt>
                <c:pt idx="20743" formatCode="0.0%">
                  <c:v>0.18729959894366205</c:v>
                </c:pt>
                <c:pt idx="20744" formatCode="0.0%">
                  <c:v>0.18763324666795939</c:v>
                </c:pt>
                <c:pt idx="20745" formatCode="0.0%">
                  <c:v>0.18315431321814477</c:v>
                </c:pt>
                <c:pt idx="20746" formatCode="0.0%">
                  <c:v>0.21147211012466441</c:v>
                </c:pt>
                <c:pt idx="20747" formatCode="0.0%">
                  <c:v>0.21216244057866659</c:v>
                </c:pt>
                <c:pt idx="20748" formatCode="0.0%">
                  <c:v>0.18401034574167813</c:v>
                </c:pt>
                <c:pt idx="20749" formatCode="0.0%">
                  <c:v>0.18294663379329934</c:v>
                </c:pt>
                <c:pt idx="20750" formatCode="0.0%">
                  <c:v>0.18357565011113314</c:v>
                </c:pt>
                <c:pt idx="20751" formatCode="0.0%">
                  <c:v>0.1767060104677998</c:v>
                </c:pt>
                <c:pt idx="20752" formatCode="0.0%">
                  <c:v>0.16934843670639613</c:v>
                </c:pt>
                <c:pt idx="20753" formatCode="0.0%">
                  <c:v>0.16617422910176488</c:v>
                </c:pt>
                <c:pt idx="20754" formatCode="0.0%">
                  <c:v>0.15955927589101701</c:v>
                </c:pt>
                <c:pt idx="20755" formatCode="0.0%">
                  <c:v>0.16544150777594338</c:v>
                </c:pt>
                <c:pt idx="20756" formatCode="0.0%">
                  <c:v>0.16607621894673416</c:v>
                </c:pt>
                <c:pt idx="20757" formatCode="0.0%">
                  <c:v>0.16706519702948214</c:v>
                </c:pt>
                <c:pt idx="20758" formatCode="0.0%">
                  <c:v>0.1800581046897255</c:v>
                </c:pt>
                <c:pt idx="20759" formatCode="0.0%">
                  <c:v>0.16277377995502115</c:v>
                </c:pt>
                <c:pt idx="20760" formatCode="0.0%">
                  <c:v>0.16328164723325742</c:v>
                </c:pt>
                <c:pt idx="20761" formatCode="0.0%">
                  <c:v>0.19759756225157848</c:v>
                </c:pt>
                <c:pt idx="20762" formatCode="0.0%">
                  <c:v>0.20154014270485712</c:v>
                </c:pt>
                <c:pt idx="20763" formatCode="0.0%">
                  <c:v>0.20797736152342478</c:v>
                </c:pt>
                <c:pt idx="20764" formatCode="0.0%">
                  <c:v>0.20996337254331804</c:v>
                </c:pt>
                <c:pt idx="20765" formatCode="0.0%">
                  <c:v>0.21115566630496893</c:v>
                </c:pt>
                <c:pt idx="20766" formatCode="0.0%">
                  <c:v>0.18494489677564613</c:v>
                </c:pt>
                <c:pt idx="20767" formatCode="0.0%">
                  <c:v>0.18406294232735829</c:v>
                </c:pt>
                <c:pt idx="20768" formatCode="0.0%">
                  <c:v>0.18618172316495871</c:v>
                </c:pt>
                <c:pt idx="20769" formatCode="0.0%">
                  <c:v>0.18631314846673741</c:v>
                </c:pt>
                <c:pt idx="20770" formatCode="0.0%">
                  <c:v>0.18251962350313947</c:v>
                </c:pt>
                <c:pt idx="20771" formatCode="0.0%">
                  <c:v>0.18263526240703604</c:v>
                </c:pt>
                <c:pt idx="20772" formatCode="0.0%">
                  <c:v>0.16920303457019106</c:v>
                </c:pt>
                <c:pt idx="20773" formatCode="0.0%">
                  <c:v>0.17352187309552133</c:v>
                </c:pt>
                <c:pt idx="20774" formatCode="0.0%">
                  <c:v>0.17277836813209313</c:v>
                </c:pt>
                <c:pt idx="20775" formatCode="0.0%">
                  <c:v>0.16252115600152875</c:v>
                </c:pt>
                <c:pt idx="20776" formatCode="0.0%">
                  <c:v>0.1681484879521343</c:v>
                </c:pt>
                <c:pt idx="20777" formatCode="0.0%">
                  <c:v>0.17420129197488629</c:v>
                </c:pt>
                <c:pt idx="20778" formatCode="0.0%">
                  <c:v>0.17197322464533812</c:v>
                </c:pt>
                <c:pt idx="20779" formatCode="0.0%">
                  <c:v>0.15772686929877955</c:v>
                </c:pt>
                <c:pt idx="20780" formatCode="0.0%">
                  <c:v>0.15910636932128422</c:v>
                </c:pt>
                <c:pt idx="20781" formatCode="0.0%">
                  <c:v>0.13135229268116091</c:v>
                </c:pt>
                <c:pt idx="20782" formatCode="0.0%">
                  <c:v>0.12942157436995913</c:v>
                </c:pt>
                <c:pt idx="20783" formatCode="0.0%">
                  <c:v>0.12821762059606032</c:v>
                </c:pt>
                <c:pt idx="20784" formatCode="0.0%">
                  <c:v>0.13565622150632861</c:v>
                </c:pt>
                <c:pt idx="20785" formatCode="0.0%">
                  <c:v>0.13566310524527281</c:v>
                </c:pt>
                <c:pt idx="20786" formatCode="0.0%">
                  <c:v>0.13626731518443166</c:v>
                </c:pt>
                <c:pt idx="20787" formatCode="0.0%">
                  <c:v>0.13664022660278777</c:v>
                </c:pt>
                <c:pt idx="20788" formatCode="0.0%">
                  <c:v>0.13294737646981605</c:v>
                </c:pt>
                <c:pt idx="20789" formatCode="0.0%">
                  <c:v>0.13273836002577627</c:v>
                </c:pt>
                <c:pt idx="20790" formatCode="0.0%">
                  <c:v>0.13383734064207198</c:v>
                </c:pt>
                <c:pt idx="20791" formatCode="0.0%">
                  <c:v>0.13520585291593937</c:v>
                </c:pt>
                <c:pt idx="20792" formatCode="0.0%">
                  <c:v>0.13511848230542078</c:v>
                </c:pt>
                <c:pt idx="20793" formatCode="0.0%">
                  <c:v>0.12784356518478929</c:v>
                </c:pt>
                <c:pt idx="20794" formatCode="0.0%">
                  <c:v>0.14204743182134627</c:v>
                </c:pt>
                <c:pt idx="20795" formatCode="0.0%">
                  <c:v>0.14389389798388982</c:v>
                </c:pt>
                <c:pt idx="20796" formatCode="0.0%">
                  <c:v>0.13870825756432312</c:v>
                </c:pt>
                <c:pt idx="20797" formatCode="0.0%">
                  <c:v>0.12015948826024932</c:v>
                </c:pt>
                <c:pt idx="20798" formatCode="0.0%">
                  <c:v>0.11714850891824377</c:v>
                </c:pt>
                <c:pt idx="20799" formatCode="0.0%">
                  <c:v>0.11677608555758656</c:v>
                </c:pt>
                <c:pt idx="20800" formatCode="0.0%">
                  <c:v>0.11682599170424186</c:v>
                </c:pt>
                <c:pt idx="20801" formatCode="0.0%">
                  <c:v>0.11552339797828799</c:v>
                </c:pt>
                <c:pt idx="20802" formatCode="0.0%">
                  <c:v>0.11537130326855961</c:v>
                </c:pt>
                <c:pt idx="20803" formatCode="0.0%">
                  <c:v>0.10965892722336701</c:v>
                </c:pt>
                <c:pt idx="20804" formatCode="0.0%">
                  <c:v>8.8037577803087338E-2</c:v>
                </c:pt>
                <c:pt idx="20805" formatCode="0.0%">
                  <c:v>8.8035505760706317E-2</c:v>
                </c:pt>
                <c:pt idx="20806" formatCode="0.0%">
                  <c:v>0.10667776394625501</c:v>
                </c:pt>
                <c:pt idx="20807" formatCode="0.0%">
                  <c:v>0.10601849763102351</c:v>
                </c:pt>
                <c:pt idx="20808" formatCode="0.0%">
                  <c:v>0.10699933098122578</c:v>
                </c:pt>
                <c:pt idx="20809" formatCode="0.0%">
                  <c:v>0.1131140212968106</c:v>
                </c:pt>
                <c:pt idx="20810" formatCode="0.0%">
                  <c:v>0.11183683480180244</c:v>
                </c:pt>
                <c:pt idx="20811" formatCode="0.0%">
                  <c:v>0.11223873404089341</c:v>
                </c:pt>
                <c:pt idx="20812" formatCode="0.0%">
                  <c:v>0.12206656179901422</c:v>
                </c:pt>
                <c:pt idx="20813" formatCode="0.0%">
                  <c:v>0.11999445277639864</c:v>
                </c:pt>
                <c:pt idx="20814" formatCode="0.0%">
                  <c:v>0.12060873522667301</c:v>
                </c:pt>
                <c:pt idx="20815" formatCode="0.0%">
                  <c:v>0.11475199283486882</c:v>
                </c:pt>
                <c:pt idx="20816" formatCode="0.0%">
                  <c:v>0.12680759631111091</c:v>
                </c:pt>
                <c:pt idx="20817" formatCode="0.0%">
                  <c:v>0.12683693348940106</c:v>
                </c:pt>
                <c:pt idx="20818" formatCode="0.0%">
                  <c:v>0.12696205888381393</c:v>
                </c:pt>
                <c:pt idx="20819" formatCode="0.0%">
                  <c:v>0.13756078866754251</c:v>
                </c:pt>
                <c:pt idx="20820" formatCode="0.0%">
                  <c:v>0.14707128770947608</c:v>
                </c:pt>
                <c:pt idx="20821" formatCode="0.0%">
                  <c:v>0.14987336004827778</c:v>
                </c:pt>
                <c:pt idx="20822" formatCode="0.0%">
                  <c:v>0.1499667820900899</c:v>
                </c:pt>
                <c:pt idx="20823" formatCode="0.0%">
                  <c:v>0.1515658797165525</c:v>
                </c:pt>
                <c:pt idx="20824" formatCode="0.0%">
                  <c:v>0.16787801013805395</c:v>
                </c:pt>
                <c:pt idx="20825" formatCode="0.0%">
                  <c:v>0.17313634754571816</c:v>
                </c:pt>
                <c:pt idx="20826" formatCode="0.0%">
                  <c:v>0.15960436722051621</c:v>
                </c:pt>
                <c:pt idx="20827" formatCode="0.0%">
                  <c:v>0.15904479539870534</c:v>
                </c:pt>
                <c:pt idx="20828" formatCode="0.0%">
                  <c:v>0.15887780779025651</c:v>
                </c:pt>
                <c:pt idx="20829" formatCode="0.0%">
                  <c:v>0.15639010691060409</c:v>
                </c:pt>
                <c:pt idx="20830" formatCode="0.0%">
                  <c:v>0.1562321396468605</c:v>
                </c:pt>
                <c:pt idx="20831" formatCode="0.0%">
                  <c:v>0.15625602978986058</c:v>
                </c:pt>
                <c:pt idx="20832" formatCode="0.0%">
                  <c:v>0.14867362768042916</c:v>
                </c:pt>
                <c:pt idx="20833" formatCode="0.0%">
                  <c:v>0.1483127458680592</c:v>
                </c:pt>
                <c:pt idx="20834" formatCode="0.0%">
                  <c:v>0.13486566400874186</c:v>
                </c:pt>
                <c:pt idx="20835" formatCode="0.0%">
                  <c:v>0.13526482039123508</c:v>
                </c:pt>
                <c:pt idx="20836" formatCode="0.0%">
                  <c:v>0.12689396336046846</c:v>
                </c:pt>
                <c:pt idx="20837" formatCode="0.0%">
                  <c:v>0.12689447350470343</c:v>
                </c:pt>
                <c:pt idx="20838" formatCode="0.0%">
                  <c:v>0.12696786936698584</c:v>
                </c:pt>
                <c:pt idx="20839" formatCode="0.0%">
                  <c:v>0.11057451715601546</c:v>
                </c:pt>
                <c:pt idx="20840" formatCode="0.0%">
                  <c:v>0.10281621857501687</c:v>
                </c:pt>
                <c:pt idx="20841" formatCode="0.0%">
                  <c:v>9.6307925571685854E-2</c:v>
                </c:pt>
                <c:pt idx="20842" formatCode="0.0%">
                  <c:v>9.5372234883701584E-2</c:v>
                </c:pt>
                <c:pt idx="20843" formatCode="0.0%">
                  <c:v>8.9663803817652821E-2</c:v>
                </c:pt>
                <c:pt idx="20844" formatCode="0.0%">
                  <c:v>6.0235185442031616E-2</c:v>
                </c:pt>
                <c:pt idx="20845" formatCode="0.0%">
                  <c:v>4.5688157430670874E-2</c:v>
                </c:pt>
                <c:pt idx="20846" formatCode="0.0%">
                  <c:v>5.7383319561563388E-2</c:v>
                </c:pt>
                <c:pt idx="20847" formatCode="0.0%">
                  <c:v>5.7394234283791694E-2</c:v>
                </c:pt>
                <c:pt idx="20848" formatCode="0.0%">
                  <c:v>5.8169848696959743E-2</c:v>
                </c:pt>
                <c:pt idx="20849" formatCode="0.0%">
                  <c:v>5.9717881122781272E-2</c:v>
                </c:pt>
                <c:pt idx="20850" formatCode="0.0%">
                  <c:v>6.0576078000609102E-2</c:v>
                </c:pt>
                <c:pt idx="20851" formatCode="0.0%">
                  <c:v>5.9025330070371598E-2</c:v>
                </c:pt>
                <c:pt idx="20852" formatCode="0.0%">
                  <c:v>5.9536237089898414E-2</c:v>
                </c:pt>
                <c:pt idx="20853" formatCode="0.0%">
                  <c:v>6.532934331680415E-2</c:v>
                </c:pt>
                <c:pt idx="20854" formatCode="0.0%">
                  <c:v>6.1561318213954025E-2</c:v>
                </c:pt>
                <c:pt idx="20855" formatCode="0.0%">
                  <c:v>6.2782592136405441E-2</c:v>
                </c:pt>
                <c:pt idx="20856" formatCode="0.0%">
                  <c:v>6.2680718669537713E-2</c:v>
                </c:pt>
                <c:pt idx="20857" formatCode="0.0%">
                  <c:v>7.6064037508508445E-2</c:v>
                </c:pt>
                <c:pt idx="20858" formatCode="0.0%">
                  <c:v>7.4567254735127361E-2</c:v>
                </c:pt>
                <c:pt idx="20859" formatCode="0.0%">
                  <c:v>7.4240334671699534E-2</c:v>
                </c:pt>
                <c:pt idx="20860" formatCode="0.0%">
                  <c:v>7.5478320802749521E-2</c:v>
                </c:pt>
                <c:pt idx="20861" formatCode="0.0%">
                  <c:v>7.5532949285705767E-2</c:v>
                </c:pt>
                <c:pt idx="20862" formatCode="0.0%">
                  <c:v>7.6186054712084297E-2</c:v>
                </c:pt>
                <c:pt idx="20863" formatCode="0.0%">
                  <c:v>7.6208025612121019E-2</c:v>
                </c:pt>
                <c:pt idx="20864" formatCode="0.0%">
                  <c:v>0.10286317465754384</c:v>
                </c:pt>
                <c:pt idx="20865" formatCode="0.0%">
                  <c:v>0.10564743982034668</c:v>
                </c:pt>
                <c:pt idx="20866" formatCode="0.0%">
                  <c:v>0.11376085814027416</c:v>
                </c:pt>
                <c:pt idx="20867" formatCode="0.0%">
                  <c:v>0.11431438379596405</c:v>
                </c:pt>
                <c:pt idx="20868" formatCode="0.0%">
                  <c:v>0.11356833366775615</c:v>
                </c:pt>
                <c:pt idx="20869" formatCode="0.0%">
                  <c:v>0.11302354587815748</c:v>
                </c:pt>
                <c:pt idx="20870" formatCode="0.0%">
                  <c:v>0.11354592463126038</c:v>
                </c:pt>
                <c:pt idx="20871" formatCode="0.0%">
                  <c:v>0.11317222202785263</c:v>
                </c:pt>
                <c:pt idx="20872" formatCode="0.0%">
                  <c:v>0.1143002900139959</c:v>
                </c:pt>
                <c:pt idx="20873" formatCode="0.0%">
                  <c:v>0.11113267611651823</c:v>
                </c:pt>
                <c:pt idx="20874" formatCode="0.0%">
                  <c:v>0.11141844777335108</c:v>
                </c:pt>
                <c:pt idx="20875" formatCode="0.0%">
                  <c:v>0.10947257661372443</c:v>
                </c:pt>
                <c:pt idx="20876" formatCode="0.0%">
                  <c:v>0.11075435265537946</c:v>
                </c:pt>
                <c:pt idx="20877" formatCode="0.0%">
                  <c:v>0.10337202623049054</c:v>
                </c:pt>
                <c:pt idx="20878" formatCode="0.0%">
                  <c:v>0.10264130190906305</c:v>
                </c:pt>
                <c:pt idx="20879" formatCode="0.0%">
                  <c:v>0.10264870011698868</c:v>
                </c:pt>
                <c:pt idx="20880" formatCode="0.0%">
                  <c:v>0.13008632359521</c:v>
                </c:pt>
                <c:pt idx="20881" formatCode="0.0%">
                  <c:v>0.13249324056775613</c:v>
                </c:pt>
                <c:pt idx="20882" formatCode="0.0%">
                  <c:v>0.13191099930203637</c:v>
                </c:pt>
                <c:pt idx="20883" formatCode="0.0%">
                  <c:v>0.13663805504402096</c:v>
                </c:pt>
                <c:pt idx="20884" formatCode="0.0%">
                  <c:v>0.11798586817438959</c:v>
                </c:pt>
                <c:pt idx="20885" formatCode="0.0%">
                  <c:v>0.13167462329722149</c:v>
                </c:pt>
                <c:pt idx="20886" formatCode="0.0%">
                  <c:v>0.11789115004654266</c:v>
                </c:pt>
                <c:pt idx="20887" formatCode="0.0%">
                  <c:v>0.13186548171304369</c:v>
                </c:pt>
                <c:pt idx="20888" formatCode="0.0%">
                  <c:v>0.1350703991236111</c:v>
                </c:pt>
                <c:pt idx="20889" formatCode="0.0%">
                  <c:v>0.13834790586746595</c:v>
                </c:pt>
                <c:pt idx="20890" formatCode="0.0%">
                  <c:v>0.14025261869142955</c:v>
                </c:pt>
                <c:pt idx="20891" formatCode="0.0%">
                  <c:v>0.13949532842261556</c:v>
                </c:pt>
                <c:pt idx="20892" formatCode="0.0%">
                  <c:v>0.1546732347040097</c:v>
                </c:pt>
                <c:pt idx="20893" formatCode="0.0%">
                  <c:v>0.15721015586814011</c:v>
                </c:pt>
                <c:pt idx="20894" formatCode="0.0%">
                  <c:v>0.15655430229074263</c:v>
                </c:pt>
                <c:pt idx="20895" formatCode="0.0%">
                  <c:v>0.15981706216412342</c:v>
                </c:pt>
                <c:pt idx="20896" formatCode="0.0%">
                  <c:v>0.17181834382137148</c:v>
                </c:pt>
                <c:pt idx="20897" formatCode="0.0%">
                  <c:v>0.17842282352716488</c:v>
                </c:pt>
                <c:pt idx="20898" formatCode="0.0%">
                  <c:v>0.17897943227821439</c:v>
                </c:pt>
                <c:pt idx="20899" formatCode="0.0%">
                  <c:v>0.18870857432043639</c:v>
                </c:pt>
                <c:pt idx="20900" formatCode="0.0%">
                  <c:v>0.17507399124826611</c:v>
                </c:pt>
                <c:pt idx="20901" formatCode="0.0%">
                  <c:v>0.17438056897761897</c:v>
                </c:pt>
                <c:pt idx="20902" formatCode="0.0%">
                  <c:v>0.17769365891015113</c:v>
                </c:pt>
                <c:pt idx="20903" formatCode="0.0%">
                  <c:v>0.17388788412808012</c:v>
                </c:pt>
                <c:pt idx="20904" formatCode="0.0%">
                  <c:v>0.17272243517806724</c:v>
                </c:pt>
                <c:pt idx="20905" formatCode="0.0%">
                  <c:v>0.16491124686452077</c:v>
                </c:pt>
                <c:pt idx="20906" formatCode="0.0%">
                  <c:v>0.16633138139718812</c:v>
                </c:pt>
                <c:pt idx="20907" formatCode="0.0%">
                  <c:v>0.15487023020488319</c:v>
                </c:pt>
                <c:pt idx="20908" formatCode="0.0%">
                  <c:v>0.15344270036731605</c:v>
                </c:pt>
                <c:pt idx="20909" formatCode="0.0%">
                  <c:v>0.14989022411679309</c:v>
                </c:pt>
                <c:pt idx="20910" formatCode="0.0%">
                  <c:v>0.14687844338445052</c:v>
                </c:pt>
                <c:pt idx="20911" formatCode="0.0%">
                  <c:v>0.14685207263218586</c:v>
                </c:pt>
                <c:pt idx="20912" formatCode="0.0%">
                  <c:v>0.12768259369850873</c:v>
                </c:pt>
                <c:pt idx="20913" formatCode="0.0%">
                  <c:v>0.12729424773910214</c:v>
                </c:pt>
                <c:pt idx="20914" formatCode="0.0%">
                  <c:v>0.1254331296532801</c:v>
                </c:pt>
                <c:pt idx="20915" formatCode="0.0%">
                  <c:v>0.12146233678317719</c:v>
                </c:pt>
                <c:pt idx="20916" formatCode="0.0%">
                  <c:v>9.3246486252180988E-2</c:v>
                </c:pt>
                <c:pt idx="20917" formatCode="0.0%">
                  <c:v>8.3768225292954482E-2</c:v>
                </c:pt>
                <c:pt idx="20918" formatCode="0.0%">
                  <c:v>8.3610412449846058E-2</c:v>
                </c:pt>
                <c:pt idx="20919" formatCode="0.0%">
                  <c:v>7.9432890397440906E-2</c:v>
                </c:pt>
                <c:pt idx="20920" formatCode="0.0%">
                  <c:v>8.033730133917677E-2</c:v>
                </c:pt>
                <c:pt idx="20921" formatCode="0.0%">
                  <c:v>9.1961825842618292E-2</c:v>
                </c:pt>
                <c:pt idx="20922" formatCode="0.0%">
                  <c:v>8.8326442619212561E-2</c:v>
                </c:pt>
                <c:pt idx="20923" formatCode="0.0%">
                  <c:v>8.8434477292179112E-2</c:v>
                </c:pt>
                <c:pt idx="20924" formatCode="0.0%">
                  <c:v>9.186080702481747E-2</c:v>
                </c:pt>
                <c:pt idx="20925" formatCode="0.0%">
                  <c:v>9.1247653847649934E-2</c:v>
                </c:pt>
                <c:pt idx="20926" formatCode="0.0%">
                  <c:v>8.9497915516216803E-2</c:v>
                </c:pt>
                <c:pt idx="20927" formatCode="0.0%">
                  <c:v>8.884187152941489E-2</c:v>
                </c:pt>
                <c:pt idx="20928" formatCode="0.0%">
                  <c:v>8.847979916713393E-2</c:v>
                </c:pt>
                <c:pt idx="20929" formatCode="0.0%">
                  <c:v>8.9864783467201587E-2</c:v>
                </c:pt>
                <c:pt idx="20930" formatCode="0.0%">
                  <c:v>9.3968131780527805E-2</c:v>
                </c:pt>
                <c:pt idx="20931" formatCode="0.0%">
                  <c:v>9.9737517213555338E-2</c:v>
                </c:pt>
                <c:pt idx="20932" formatCode="0.0%">
                  <c:v>0.10046465085294928</c:v>
                </c:pt>
                <c:pt idx="20933" formatCode="0.0%">
                  <c:v>0.10023889027984953</c:v>
                </c:pt>
                <c:pt idx="20934" formatCode="0.0%">
                  <c:v>0.10260407848880912</c:v>
                </c:pt>
                <c:pt idx="20935" formatCode="0.0%">
                  <c:v>0.10712831392272681</c:v>
                </c:pt>
                <c:pt idx="20936" formatCode="0.0%">
                  <c:v>0.10792046654358571</c:v>
                </c:pt>
                <c:pt idx="20937" formatCode="0.0%">
                  <c:v>0.1129232232564352</c:v>
                </c:pt>
                <c:pt idx="20938" formatCode="0.0%">
                  <c:v>0.11501931810528022</c:v>
                </c:pt>
                <c:pt idx="20939" formatCode="0.0%">
                  <c:v>0.10687476267020668</c:v>
                </c:pt>
                <c:pt idx="20940" formatCode="0.0%">
                  <c:v>0.10921831804008769</c:v>
                </c:pt>
                <c:pt idx="20941" formatCode="0.0%">
                  <c:v>9.9160740493693625E-2</c:v>
                </c:pt>
                <c:pt idx="20942" formatCode="0.0%">
                  <c:v>0.10155403332004023</c:v>
                </c:pt>
                <c:pt idx="20943" formatCode="0.0%">
                  <c:v>0.109881822491925</c:v>
                </c:pt>
                <c:pt idx="20944" formatCode="0.0%">
                  <c:v>0.10385215985531868</c:v>
                </c:pt>
                <c:pt idx="20945" formatCode="0.0%">
                  <c:v>0.10150913183872493</c:v>
                </c:pt>
                <c:pt idx="20946" formatCode="0.0%">
                  <c:v>0.1017703356183372</c:v>
                </c:pt>
                <c:pt idx="20947" formatCode="0.0%">
                  <c:v>0.1027911681919511</c:v>
                </c:pt>
                <c:pt idx="20948" formatCode="0.0%">
                  <c:v>0.11086472229686042</c:v>
                </c:pt>
                <c:pt idx="20949" formatCode="0.0%">
                  <c:v>0.13645352795301127</c:v>
                </c:pt>
                <c:pt idx="20950" formatCode="0.0%">
                  <c:v>0.13500702655007354</c:v>
                </c:pt>
                <c:pt idx="20951" formatCode="0.0%">
                  <c:v>0.13554182777562182</c:v>
                </c:pt>
                <c:pt idx="20952" formatCode="0.0%">
                  <c:v>0.13811060014238163</c:v>
                </c:pt>
                <c:pt idx="20953" formatCode="0.0%">
                  <c:v>0.13598911530636582</c:v>
                </c:pt>
                <c:pt idx="20954" formatCode="0.0%">
                  <c:v>0.13043986427148399</c:v>
                </c:pt>
                <c:pt idx="20955" formatCode="0.0%">
                  <c:v>0.13150762052740098</c:v>
                </c:pt>
                <c:pt idx="20956" formatCode="0.0%">
                  <c:v>0.13547484588321473</c:v>
                </c:pt>
                <c:pt idx="20957" formatCode="0.0%">
                  <c:v>0.13464028589282045</c:v>
                </c:pt>
                <c:pt idx="20958" formatCode="0.0%">
                  <c:v>0.14395040798140543</c:v>
                </c:pt>
                <c:pt idx="20959" formatCode="0.0%">
                  <c:v>0.15459326134717444</c:v>
                </c:pt>
                <c:pt idx="20960" formatCode="0.0%">
                  <c:v>0.14977455511225823</c:v>
                </c:pt>
                <c:pt idx="20961" formatCode="0.0%">
                  <c:v>0.1501865504311439</c:v>
                </c:pt>
                <c:pt idx="20962" formatCode="0.0%">
                  <c:v>0.1516389488890591</c:v>
                </c:pt>
                <c:pt idx="20963" formatCode="0.0%">
                  <c:v>0.15630417341082617</c:v>
                </c:pt>
                <c:pt idx="20964" formatCode="0.0%">
                  <c:v>0.15758682924539558</c:v>
                </c:pt>
                <c:pt idx="20965" formatCode="0.0%">
                  <c:v>0.15685536649169823</c:v>
                </c:pt>
                <c:pt idx="20966" formatCode="0.0%">
                  <c:v>0.15964092303991495</c:v>
                </c:pt>
                <c:pt idx="20967" formatCode="0.0%">
                  <c:v>0.1632593009625137</c:v>
                </c:pt>
                <c:pt idx="20968" formatCode="0.0%">
                  <c:v>0.16580630381548656</c:v>
                </c:pt>
                <c:pt idx="20969" formatCode="0.0%">
                  <c:v>0.14907744501426823</c:v>
                </c:pt>
                <c:pt idx="20970" formatCode="0.0%">
                  <c:v>0.15344601089226714</c:v>
                </c:pt>
                <c:pt idx="20971" formatCode="0.0%">
                  <c:v>0.15626846278311532</c:v>
                </c:pt>
                <c:pt idx="20972" formatCode="0.0%">
                  <c:v>0.14985039800786126</c:v>
                </c:pt>
                <c:pt idx="20973" formatCode="0.0%">
                  <c:v>0.14950311666913141</c:v>
                </c:pt>
                <c:pt idx="20974" formatCode="0.0%">
                  <c:v>0.15036042636789387</c:v>
                </c:pt>
                <c:pt idx="20975" formatCode="0.0%">
                  <c:v>0.15318878436743522</c:v>
                </c:pt>
                <c:pt idx="20976" formatCode="0.0%">
                  <c:v>0.15961687669742491</c:v>
                </c:pt>
                <c:pt idx="20977" formatCode="0.0%">
                  <c:v>0.16115245553530971</c:v>
                </c:pt>
                <c:pt idx="20978" formatCode="0.0%">
                  <c:v>0.15607691545386476</c:v>
                </c:pt>
                <c:pt idx="20979" formatCode="0.0%">
                  <c:v>0.1430138572277902</c:v>
                </c:pt>
                <c:pt idx="20980" formatCode="0.0%">
                  <c:v>0.14366662791264631</c:v>
                </c:pt>
                <c:pt idx="20981" formatCode="0.0%">
                  <c:v>0.14790526659645006</c:v>
                </c:pt>
                <c:pt idx="20982" formatCode="0.0%">
                  <c:v>0.15655164240888636</c:v>
                </c:pt>
                <c:pt idx="20983" formatCode="0.0%">
                  <c:v>0.15071828949480084</c:v>
                </c:pt>
                <c:pt idx="20984" formatCode="0.0%">
                  <c:v>0.15389244514824796</c:v>
                </c:pt>
                <c:pt idx="20985" formatCode="0.0%">
                  <c:v>0.15285452110620915</c:v>
                </c:pt>
                <c:pt idx="20986" formatCode="0.0%">
                  <c:v>0.14675848485009316</c:v>
                </c:pt>
                <c:pt idx="20987" formatCode="0.0%">
                  <c:v>0.14652075819811511</c:v>
                </c:pt>
                <c:pt idx="20988" formatCode="0.0%">
                  <c:v>0.1608620367615054</c:v>
                </c:pt>
                <c:pt idx="20989" formatCode="0.0%">
                  <c:v>0.15849952776905998</c:v>
                </c:pt>
                <c:pt idx="20990" formatCode="0.0%">
                  <c:v>0.15504268180101047</c:v>
                </c:pt>
                <c:pt idx="20991" formatCode="0.0%">
                  <c:v>0.14420136682240037</c:v>
                </c:pt>
                <c:pt idx="20992" formatCode="0.0%">
                  <c:v>0.16718985173471404</c:v>
                </c:pt>
                <c:pt idx="20993" formatCode="0.0%">
                  <c:v>0.16912484457081081</c:v>
                </c:pt>
                <c:pt idx="20994" formatCode="0.0%">
                  <c:v>0.22780641947506997</c:v>
                </c:pt>
                <c:pt idx="20995" formatCode="0.0%">
                  <c:v>0.22857573375948831</c:v>
                </c:pt>
                <c:pt idx="20996" formatCode="0.0%">
                  <c:v>0.31866208682267216</c:v>
                </c:pt>
                <c:pt idx="20997" formatCode="0.0%">
                  <c:v>0.37295643848460308</c:v>
                </c:pt>
                <c:pt idx="20998" formatCode="0.0%">
                  <c:v>0.39648017495366633</c:v>
                </c:pt>
                <c:pt idx="20999" formatCode="0.0%">
                  <c:v>0.43945769538214002</c:v>
                </c:pt>
                <c:pt idx="21000" formatCode="0.0%">
                  <c:v>0.43936192267916724</c:v>
                </c:pt>
                <c:pt idx="21001" formatCode="0.0%">
                  <c:v>0.44952460529301697</c:v>
                </c:pt>
                <c:pt idx="21002" formatCode="0.0%">
                  <c:v>0.44345585285298983</c:v>
                </c:pt>
                <c:pt idx="21003" formatCode="0.0%">
                  <c:v>0.44371805108120649</c:v>
                </c:pt>
                <c:pt idx="21004" formatCode="0.0%">
                  <c:v>0.45995460849215841</c:v>
                </c:pt>
                <c:pt idx="21005" formatCode="0.0%">
                  <c:v>0.45926615220156197</c:v>
                </c:pt>
                <c:pt idx="21006" formatCode="0.0%">
                  <c:v>0.4603155707279511</c:v>
                </c:pt>
                <c:pt idx="21007" formatCode="0.0%">
                  <c:v>0.48427157844613605</c:v>
                </c:pt>
                <c:pt idx="21008" formatCode="0.0%">
                  <c:v>0.48631579568947342</c:v>
                </c:pt>
                <c:pt idx="21009" formatCode="0.0%">
                  <c:v>0.48767884550304558</c:v>
                </c:pt>
                <c:pt idx="21010" formatCode="0.0%">
                  <c:v>0.493189172484995</c:v>
                </c:pt>
                <c:pt idx="21011" formatCode="0.0%">
                  <c:v>0.50658280669504074</c:v>
                </c:pt>
                <c:pt idx="21012" formatCode="0.0%">
                  <c:v>0.49958551849503319</c:v>
                </c:pt>
                <c:pt idx="21013" formatCode="0.0%">
                  <c:v>0.49956910886836492</c:v>
                </c:pt>
                <c:pt idx="21014" formatCode="0.0%">
                  <c:v>0.46941120479106668</c:v>
                </c:pt>
                <c:pt idx="21015" formatCode="0.0%">
                  <c:v>0.47827184275511225</c:v>
                </c:pt>
                <c:pt idx="21016" formatCode="0.0%">
                  <c:v>0.40700366397566468</c:v>
                </c:pt>
                <c:pt idx="21017" formatCode="0.0%">
                  <c:v>0.38538667807749577</c:v>
                </c:pt>
                <c:pt idx="21018" formatCode="0.0%">
                  <c:v>0.34812612755858025</c:v>
                </c:pt>
                <c:pt idx="21019" formatCode="0.0%">
                  <c:v>0.32511914729494895</c:v>
                </c:pt>
                <c:pt idx="21020" formatCode="0.0%">
                  <c:v>0.32559165195882989</c:v>
                </c:pt>
                <c:pt idx="21021" formatCode="0.0%">
                  <c:v>0.31718500791359899</c:v>
                </c:pt>
                <c:pt idx="21022" formatCode="0.0%">
                  <c:v>0.31964902600650891</c:v>
                </c:pt>
                <c:pt idx="21023" formatCode="0.0%">
                  <c:v>0.32544828621990018</c:v>
                </c:pt>
                <c:pt idx="21024" formatCode="0.0%">
                  <c:v>0.2759289201835029</c:v>
                </c:pt>
                <c:pt idx="21025" formatCode="0.0%">
                  <c:v>0.27189117505931698</c:v>
                </c:pt>
                <c:pt idx="21026" formatCode="0.0%">
                  <c:v>0.27227655289127933</c:v>
                </c:pt>
                <c:pt idx="21027" formatCode="0.0%">
                  <c:v>0.27177553005023397</c:v>
                </c:pt>
                <c:pt idx="21028" formatCode="0.0%">
                  <c:v>0.29050452722071618</c:v>
                </c:pt>
                <c:pt idx="21029" formatCode="0.0%">
                  <c:v>0.2872353180997424</c:v>
                </c:pt>
                <c:pt idx="21030" formatCode="0.0%">
                  <c:v>0.29452340704060881</c:v>
                </c:pt>
                <c:pt idx="21031" formatCode="0.0%">
                  <c:v>0.27830440960131908</c:v>
                </c:pt>
                <c:pt idx="21032" formatCode="0.0%">
                  <c:v>0.28622280993206761</c:v>
                </c:pt>
                <c:pt idx="21033" formatCode="0.0%">
                  <c:v>0.28754741319392801</c:v>
                </c:pt>
                <c:pt idx="21034" formatCode="0.0%">
                  <c:v>0.29713101880021764</c:v>
                </c:pt>
                <c:pt idx="21035" formatCode="0.0%">
                  <c:v>0.3006035183567618</c:v>
                </c:pt>
                <c:pt idx="21036" formatCode="0.0%">
                  <c:v>0.31335247216347384</c:v>
                </c:pt>
                <c:pt idx="21037" formatCode="0.0%">
                  <c:v>0.30197799099542622</c:v>
                </c:pt>
                <c:pt idx="21038" formatCode="0.0%">
                  <c:v>0.30866680710932975</c:v>
                </c:pt>
                <c:pt idx="21039" formatCode="0.0%">
                  <c:v>0.29437706097696636</c:v>
                </c:pt>
                <c:pt idx="21040" formatCode="0.0%">
                  <c:v>0.31693134892042202</c:v>
                </c:pt>
                <c:pt idx="21041" formatCode="0.0%">
                  <c:v>0.31562830152813037</c:v>
                </c:pt>
                <c:pt idx="21042" formatCode="0.0%">
                  <c:v>0.31398584917166156</c:v>
                </c:pt>
                <c:pt idx="21043" formatCode="0.0%">
                  <c:v>0.30821901181911809</c:v>
                </c:pt>
                <c:pt idx="21044" formatCode="0.0%">
                  <c:v>0.31382836535201319</c:v>
                </c:pt>
                <c:pt idx="21045" formatCode="0.0%">
                  <c:v>0.31984915514078982</c:v>
                </c:pt>
                <c:pt idx="21046" formatCode="0.0%">
                  <c:v>0.32779003141330709</c:v>
                </c:pt>
                <c:pt idx="21047" formatCode="0.0%">
                  <c:v>0.31171081706351128</c:v>
                </c:pt>
                <c:pt idx="21048" formatCode="0.0%">
                  <c:v>0.28430376624827175</c:v>
                </c:pt>
                <c:pt idx="21049" formatCode="0.0%">
                  <c:v>0.28917210816506517</c:v>
                </c:pt>
                <c:pt idx="21050" formatCode="0.0%">
                  <c:v>0.28254929850509958</c:v>
                </c:pt>
                <c:pt idx="21051" formatCode="0.0%">
                  <c:v>0.293664787590381</c:v>
                </c:pt>
                <c:pt idx="21052" formatCode="0.0%">
                  <c:v>0.28175476108259889</c:v>
                </c:pt>
                <c:pt idx="21053" formatCode="0.0%">
                  <c:v>0.30095853948967571</c:v>
                </c:pt>
                <c:pt idx="21054" formatCode="0.0%">
                  <c:v>0.2796316380185056</c:v>
                </c:pt>
                <c:pt idx="21055" formatCode="0.0%">
                  <c:v>0.27351785268397716</c:v>
                </c:pt>
                <c:pt idx="21056" formatCode="0.0%">
                  <c:v>0.29327042082936661</c:v>
                </c:pt>
                <c:pt idx="21057" formatCode="0.0%">
                  <c:v>0.29226199235577799</c:v>
                </c:pt>
                <c:pt idx="21058" formatCode="0.0%">
                  <c:v>0.29257422264486665</c:v>
                </c:pt>
                <c:pt idx="21059" formatCode="0.0%">
                  <c:v>0.29160780914362466</c:v>
                </c:pt>
                <c:pt idx="21060" formatCode="0.0%">
                  <c:v>0.27031250257473449</c:v>
                </c:pt>
                <c:pt idx="21061" formatCode="0.0%">
                  <c:v>0.27201552708010479</c:v>
                </c:pt>
                <c:pt idx="21062" formatCode="0.0%">
                  <c:v>0.30637270357654167</c:v>
                </c:pt>
                <c:pt idx="21063" formatCode="0.0%">
                  <c:v>0.30717952795081771</c:v>
                </c:pt>
                <c:pt idx="21064" formatCode="0.0%">
                  <c:v>0.30867825140492283</c:v>
                </c:pt>
                <c:pt idx="21065" formatCode="0.0%">
                  <c:v>0.30157684141596325</c:v>
                </c:pt>
                <c:pt idx="21066" formatCode="0.0%">
                  <c:v>0.29415508801514362</c:v>
                </c:pt>
                <c:pt idx="21067" formatCode="0.0%">
                  <c:v>0.29703600272320796</c:v>
                </c:pt>
                <c:pt idx="21068" formatCode="0.0%">
                  <c:v>0.30345887570100866</c:v>
                </c:pt>
                <c:pt idx="21069" formatCode="0.0%">
                  <c:v>0.2953967475559961</c:v>
                </c:pt>
                <c:pt idx="21070" formatCode="0.0%">
                  <c:v>0.29723862957529512</c:v>
                </c:pt>
                <c:pt idx="21071" formatCode="0.0%">
                  <c:v>0.28988624374050254</c:v>
                </c:pt>
                <c:pt idx="21072" formatCode="0.0%">
                  <c:v>0.2949678645009477</c:v>
                </c:pt>
                <c:pt idx="21073" formatCode="0.0%">
                  <c:v>0.26061797809214365</c:v>
                </c:pt>
                <c:pt idx="21074" formatCode="0.0%">
                  <c:v>0.28686431120289907</c:v>
                </c:pt>
                <c:pt idx="21075" formatCode="0.0%">
                  <c:v>0.27612219550433698</c:v>
                </c:pt>
                <c:pt idx="21076" formatCode="0.0%">
                  <c:v>0.30095596741918329</c:v>
                </c:pt>
                <c:pt idx="21077" formatCode="0.0%">
                  <c:v>0.29593479237812692</c:v>
                </c:pt>
                <c:pt idx="21078" formatCode="0.0%">
                  <c:v>0.28789021687375066</c:v>
                </c:pt>
                <c:pt idx="21079" formatCode="0.0%">
                  <c:v>0.28957986705143607</c:v>
                </c:pt>
                <c:pt idx="21080" formatCode="0.0%">
                  <c:v>0.28871022119866446</c:v>
                </c:pt>
                <c:pt idx="21081" formatCode="0.0%">
                  <c:v>0.28550546167302865</c:v>
                </c:pt>
                <c:pt idx="21082" formatCode="0.0%">
                  <c:v>0.26289099019216761</c:v>
                </c:pt>
                <c:pt idx="21083" formatCode="0.0%">
                  <c:v>0.26788602947278672</c:v>
                </c:pt>
                <c:pt idx="21084" formatCode="0.0%">
                  <c:v>0.26381167327878302</c:v>
                </c:pt>
                <c:pt idx="21085" formatCode="0.0%">
                  <c:v>0.2634534779041805</c:v>
                </c:pt>
                <c:pt idx="21086" formatCode="0.0%">
                  <c:v>0.26495716396295654</c:v>
                </c:pt>
                <c:pt idx="21087" formatCode="0.0%">
                  <c:v>0.25950007899721517</c:v>
                </c:pt>
                <c:pt idx="21088" formatCode="0.0%">
                  <c:v>0.25270868992208795</c:v>
                </c:pt>
                <c:pt idx="21089" formatCode="0.0%">
                  <c:v>0.25625106327563041</c:v>
                </c:pt>
                <c:pt idx="21090" formatCode="0.0%">
                  <c:v>0.26726167618098279</c:v>
                </c:pt>
                <c:pt idx="21091" formatCode="0.0%">
                  <c:v>0.26627996599550863</c:v>
                </c:pt>
                <c:pt idx="21092" formatCode="0.0%">
                  <c:v>0.25041040850536211</c:v>
                </c:pt>
                <c:pt idx="21093" formatCode="0.0%">
                  <c:v>0.24981672690941925</c:v>
                </c:pt>
                <c:pt idx="21094" formatCode="0.0%">
                  <c:v>0.23280997645413856</c:v>
                </c:pt>
                <c:pt idx="21095" formatCode="0.0%">
                  <c:v>0.23925716080778828</c:v>
                </c:pt>
                <c:pt idx="21096" formatCode="0.0%">
                  <c:v>0.19002143028323318</c:v>
                </c:pt>
                <c:pt idx="21097" formatCode="0.0%">
                  <c:v>0.19063261598142861</c:v>
                </c:pt>
                <c:pt idx="21098" formatCode="0.0%">
                  <c:v>0.19770586346884039</c:v>
                </c:pt>
                <c:pt idx="21099" formatCode="0.0%">
                  <c:v>0.19488043068982711</c:v>
                </c:pt>
                <c:pt idx="21100" formatCode="0.0%">
                  <c:v>0.19502750099834934</c:v>
                </c:pt>
                <c:pt idx="21101" formatCode="0.0%">
                  <c:v>0.19534875603872731</c:v>
                </c:pt>
                <c:pt idx="21102" formatCode="0.0%">
                  <c:v>0.17716589632310692</c:v>
                </c:pt>
                <c:pt idx="21103" formatCode="0.0%">
                  <c:v>0.17044837918920847</c:v>
                </c:pt>
                <c:pt idx="21104" formatCode="0.0%">
                  <c:v>0.15910386279266983</c:v>
                </c:pt>
                <c:pt idx="21105" formatCode="0.0%">
                  <c:v>0.15377263665494362</c:v>
                </c:pt>
                <c:pt idx="21106" formatCode="0.0%">
                  <c:v>0.14745586133330235</c:v>
                </c:pt>
                <c:pt idx="21107" formatCode="0.0%">
                  <c:v>0.14746402192785701</c:v>
                </c:pt>
                <c:pt idx="21108" formatCode="0.0%">
                  <c:v>0.15013679554155557</c:v>
                </c:pt>
                <c:pt idx="21109" formatCode="0.0%">
                  <c:v>0.13884436249643298</c:v>
                </c:pt>
                <c:pt idx="21110" formatCode="0.0%">
                  <c:v>0.10284613058089381</c:v>
                </c:pt>
                <c:pt idx="21111" formatCode="0.0%">
                  <c:v>0.10315919935304441</c:v>
                </c:pt>
                <c:pt idx="21112" formatCode="0.0%">
                  <c:v>0.1019471175170291</c:v>
                </c:pt>
                <c:pt idx="21113" formatCode="0.0%">
                  <c:v>0.10163748024050548</c:v>
                </c:pt>
                <c:pt idx="21114" formatCode="0.0%">
                  <c:v>0.10540935034928235</c:v>
                </c:pt>
                <c:pt idx="21115" formatCode="0.0%">
                  <c:v>9.1528396935121464E-2</c:v>
                </c:pt>
                <c:pt idx="21116" formatCode="0.0%">
                  <c:v>8.8040212437761611E-2</c:v>
                </c:pt>
                <c:pt idx="21117" formatCode="0.0%">
                  <c:v>8.5453142990307845E-2</c:v>
                </c:pt>
                <c:pt idx="21118" formatCode="0.0%">
                  <c:v>7.4555116530647184E-2</c:v>
                </c:pt>
                <c:pt idx="21119" formatCode="0.0%">
                  <c:v>7.436299589057796E-2</c:v>
                </c:pt>
                <c:pt idx="21120" formatCode="0.0%">
                  <c:v>8.6871798771168032E-2</c:v>
                </c:pt>
                <c:pt idx="21121" formatCode="0.0%">
                  <c:v>8.5580604315496203E-2</c:v>
                </c:pt>
                <c:pt idx="21122" formatCode="0.0%">
                  <c:v>8.5595026131182542E-2</c:v>
                </c:pt>
                <c:pt idx="21123" formatCode="0.0%">
                  <c:v>8.2272116742227355E-2</c:v>
                </c:pt>
                <c:pt idx="21124" formatCode="0.0%">
                  <c:v>8.2022479621641733E-2</c:v>
                </c:pt>
                <c:pt idx="21125" formatCode="0.0%">
                  <c:v>8.8224927475180806E-2</c:v>
                </c:pt>
                <c:pt idx="21126" formatCode="0.0%">
                  <c:v>8.6132003042534752E-2</c:v>
                </c:pt>
                <c:pt idx="21127" formatCode="0.0%">
                  <c:v>8.6791623941195509E-2</c:v>
                </c:pt>
                <c:pt idx="21128" formatCode="0.0%">
                  <c:v>8.4018215495039253E-2</c:v>
                </c:pt>
                <c:pt idx="21129" formatCode="0.0%">
                  <c:v>8.997268315553153E-2</c:v>
                </c:pt>
                <c:pt idx="21130" formatCode="0.0%">
                  <c:v>8.9932253993805486E-2</c:v>
                </c:pt>
                <c:pt idx="21131" formatCode="0.0%">
                  <c:v>8.9891064347131094E-2</c:v>
                </c:pt>
                <c:pt idx="21132" formatCode="0.0%">
                  <c:v>9.1203232887236238E-2</c:v>
                </c:pt>
                <c:pt idx="21133" formatCode="0.0%">
                  <c:v>8.8009634069044509E-2</c:v>
                </c:pt>
                <c:pt idx="21134" formatCode="0.0%">
                  <c:v>8.3852726968083116E-2</c:v>
                </c:pt>
                <c:pt idx="21135" formatCode="0.0%">
                  <c:v>8.2935428700857877E-2</c:v>
                </c:pt>
                <c:pt idx="21136" formatCode="0.0%">
                  <c:v>8.1375541799112397E-2</c:v>
                </c:pt>
                <c:pt idx="21137" formatCode="0.0%">
                  <c:v>8.4598438231123271E-2</c:v>
                </c:pt>
                <c:pt idx="21138" formatCode="0.0%">
                  <c:v>8.2184220894916671E-2</c:v>
                </c:pt>
                <c:pt idx="21139" formatCode="0.0%">
                  <c:v>8.4140675183825786E-2</c:v>
                </c:pt>
                <c:pt idx="21140" formatCode="0.0%">
                  <c:v>7.1156342842620735E-2</c:v>
                </c:pt>
                <c:pt idx="21141" formatCode="0.0%">
                  <c:v>9.1554674745985679E-2</c:v>
                </c:pt>
                <c:pt idx="21142" formatCode="0.0%">
                  <c:v>9.4574435768867773E-2</c:v>
                </c:pt>
                <c:pt idx="21143" formatCode="0.0%">
                  <c:v>0.10034148642009695</c:v>
                </c:pt>
                <c:pt idx="21144" formatCode="0.0%">
                  <c:v>0.10088261526062271</c:v>
                </c:pt>
                <c:pt idx="21145" formatCode="0.0%">
                  <c:v>9.6854725832082614E-2</c:v>
                </c:pt>
                <c:pt idx="21146" formatCode="0.0%">
                  <c:v>0.1125162308393426</c:v>
                </c:pt>
                <c:pt idx="21147" formatCode="0.0%">
                  <c:v>0.11259711706817047</c:v>
                </c:pt>
                <c:pt idx="21148" formatCode="0.0%">
                  <c:v>0.11043377965780773</c:v>
                </c:pt>
                <c:pt idx="21149" formatCode="0.0%">
                  <c:v>0.105442027825135</c:v>
                </c:pt>
                <c:pt idx="21150" formatCode="0.0%">
                  <c:v>0.10573611732284219</c:v>
                </c:pt>
                <c:pt idx="21151" formatCode="0.0%">
                  <c:v>0.10703667208578926</c:v>
                </c:pt>
                <c:pt idx="21152" formatCode="0.0%">
                  <c:v>0.10626224899782331</c:v>
                </c:pt>
                <c:pt idx="21153" formatCode="0.0%">
                  <c:v>0.11025685507839884</c:v>
                </c:pt>
                <c:pt idx="21154" formatCode="0.0%">
                  <c:v>0.11047690701915287</c:v>
                </c:pt>
                <c:pt idx="21155" formatCode="0.0%">
                  <c:v>0.11927264534401522</c:v>
                </c:pt>
                <c:pt idx="21156" formatCode="0.0%">
                  <c:v>0.12018740473980362</c:v>
                </c:pt>
                <c:pt idx="21157" formatCode="0.0%">
                  <c:v>0.12033008801377837</c:v>
                </c:pt>
                <c:pt idx="21158" formatCode="0.0%">
                  <c:v>0.11945555160709399</c:v>
                </c:pt>
                <c:pt idx="21159" formatCode="0.0%">
                  <c:v>0.11867885752276147</c:v>
                </c:pt>
                <c:pt idx="21160" formatCode="0.0%">
                  <c:v>0.11883287751317578</c:v>
                </c:pt>
                <c:pt idx="21161" formatCode="0.0%">
                  <c:v>0.1022771788172136</c:v>
                </c:pt>
                <c:pt idx="21162" formatCode="0.0%">
                  <c:v>0.11039951677560823</c:v>
                </c:pt>
                <c:pt idx="21163" formatCode="0.0%">
                  <c:v>0.10639590222361846</c:v>
                </c:pt>
                <c:pt idx="21164" formatCode="0.0%">
                  <c:v>0.11485229741062737</c:v>
                </c:pt>
                <c:pt idx="21165" formatCode="0.0%">
                  <c:v>0.13083210902611322</c:v>
                </c:pt>
                <c:pt idx="21166" formatCode="0.0%">
                  <c:v>0.11559872872057948</c:v>
                </c:pt>
                <c:pt idx="21167" formatCode="0.0%">
                  <c:v>0.1267682728472222</c:v>
                </c:pt>
                <c:pt idx="21168" formatCode="0.0%">
                  <c:v>0.13170211185398484</c:v>
                </c:pt>
                <c:pt idx="21169" formatCode="0.0%">
                  <c:v>0.13145444163072531</c:v>
                </c:pt>
                <c:pt idx="21170" formatCode="0.0%">
                  <c:v>0.14316123176335957</c:v>
                </c:pt>
                <c:pt idx="21171" formatCode="0.0%">
                  <c:v>0.1434385240613158</c:v>
                </c:pt>
                <c:pt idx="21172" formatCode="0.0%">
                  <c:v>0.14459627746523193</c:v>
                </c:pt>
                <c:pt idx="21173" formatCode="0.0%">
                  <c:v>0.14280711270507676</c:v>
                </c:pt>
                <c:pt idx="21174" formatCode="0.0%">
                  <c:v>0.14479747047443822</c:v>
                </c:pt>
                <c:pt idx="21175" formatCode="0.0%">
                  <c:v>0.13513746066695123</c:v>
                </c:pt>
                <c:pt idx="21176" formatCode="0.0%">
                  <c:v>0.14528803299507781</c:v>
                </c:pt>
                <c:pt idx="21177" formatCode="0.0%">
                  <c:v>0.14670215561005212</c:v>
                </c:pt>
                <c:pt idx="21178" formatCode="0.0%">
                  <c:v>0.14688334364782663</c:v>
                </c:pt>
                <c:pt idx="21179" formatCode="0.0%">
                  <c:v>0.14682376424992488</c:v>
                </c:pt>
                <c:pt idx="21180" formatCode="0.0%">
                  <c:v>0.14566245083738921</c:v>
                </c:pt>
                <c:pt idx="21181" formatCode="0.0%">
                  <c:v>0.14527794995265422</c:v>
                </c:pt>
                <c:pt idx="21182" formatCode="0.0%">
                  <c:v>0.14323850130557744</c:v>
                </c:pt>
                <c:pt idx="21183" formatCode="0.0%">
                  <c:v>0.1541248959730204</c:v>
                </c:pt>
                <c:pt idx="21184" formatCode="0.0%">
                  <c:v>0.14919954897411242</c:v>
                </c:pt>
                <c:pt idx="21185" formatCode="0.0%">
                  <c:v>0.13643203488019828</c:v>
                </c:pt>
                <c:pt idx="21186" formatCode="0.0%">
                  <c:v>0.13572410176504671</c:v>
                </c:pt>
                <c:pt idx="21187" formatCode="0.0%">
                  <c:v>0.12563569927117518</c:v>
                </c:pt>
                <c:pt idx="21188" formatCode="0.0%">
                  <c:v>0.11854550199706676</c:v>
                </c:pt>
                <c:pt idx="21189" formatCode="0.0%">
                  <c:v>0.12431871401246862</c:v>
                </c:pt>
                <c:pt idx="21190" formatCode="0.0%">
                  <c:v>0.10872356452106278</c:v>
                </c:pt>
                <c:pt idx="21191" formatCode="0.0%">
                  <c:v>0.10880979789809886</c:v>
                </c:pt>
                <c:pt idx="21192" formatCode="0.0%">
                  <c:v>0.11755695082853457</c:v>
                </c:pt>
                <c:pt idx="21193" formatCode="0.0%">
                  <c:v>0.1177708184147043</c:v>
                </c:pt>
                <c:pt idx="21194" formatCode="0.0%">
                  <c:v>0.13379585031063598</c:v>
                </c:pt>
                <c:pt idx="21195" formatCode="0.0%">
                  <c:v>0.13250752942576519</c:v>
                </c:pt>
                <c:pt idx="21196" formatCode="0.0%">
                  <c:v>0.12008039709071759</c:v>
                </c:pt>
                <c:pt idx="21197" formatCode="0.0%">
                  <c:v>0.11604659056593095</c:v>
                </c:pt>
                <c:pt idx="21198" formatCode="0.0%">
                  <c:v>0.11438511829822706</c:v>
                </c:pt>
                <c:pt idx="21199" formatCode="0.0%">
                  <c:v>0.12485765795910503</c:v>
                </c:pt>
                <c:pt idx="21200" formatCode="0.0%">
                  <c:v>0.12801099349822051</c:v>
                </c:pt>
                <c:pt idx="21201" formatCode="0.0%">
                  <c:v>0.12803403304836883</c:v>
                </c:pt>
                <c:pt idx="21202" formatCode="0.0%">
                  <c:v>0.1486967727404831</c:v>
                </c:pt>
                <c:pt idx="21203" formatCode="0.0%">
                  <c:v>0.1423619465089685</c:v>
                </c:pt>
                <c:pt idx="21204" formatCode="0.0%">
                  <c:v>0.14548975875397557</c:v>
                </c:pt>
                <c:pt idx="21205" formatCode="0.0%">
                  <c:v>0.17204583571803292</c:v>
                </c:pt>
                <c:pt idx="21206" formatCode="0.0%">
                  <c:v>0.17114188103106862</c:v>
                </c:pt>
                <c:pt idx="21207" formatCode="0.0%">
                  <c:v>0.17398382779442689</c:v>
                </c:pt>
                <c:pt idx="21208" formatCode="0.0%">
                  <c:v>0.17861171390938652</c:v>
                </c:pt>
                <c:pt idx="21209" formatCode="0.0%">
                  <c:v>0.18080424361643641</c:v>
                </c:pt>
                <c:pt idx="21210" formatCode="0.0%">
                  <c:v>0.18135421794233278</c:v>
                </c:pt>
                <c:pt idx="21211" formatCode="0.0%">
                  <c:v>0.18507570939747697</c:v>
                </c:pt>
                <c:pt idx="21212" formatCode="0.0%">
                  <c:v>0.17907117923108831</c:v>
                </c:pt>
                <c:pt idx="21213" formatCode="0.0%">
                  <c:v>0.17599915135221048</c:v>
                </c:pt>
                <c:pt idx="21214" formatCode="0.0%">
                  <c:v>0.1707784026156105</c:v>
                </c:pt>
                <c:pt idx="21215" formatCode="0.0%">
                  <c:v>0.17113543464214742</c:v>
                </c:pt>
                <c:pt idx="21216" formatCode="0.0%">
                  <c:v>0.19110667920307348</c:v>
                </c:pt>
                <c:pt idx="21217" formatCode="0.0%">
                  <c:v>0.19264948614062474</c:v>
                </c:pt>
                <c:pt idx="21218" formatCode="0.0%">
                  <c:v>0.20137845100551327</c:v>
                </c:pt>
                <c:pt idx="21219" formatCode="0.0%">
                  <c:v>0.19796982637622745</c:v>
                </c:pt>
                <c:pt idx="21220" formatCode="0.0%">
                  <c:v>0.19343296535952922</c:v>
                </c:pt>
                <c:pt idx="21221" formatCode="0.0%">
                  <c:v>0.19339971273518497</c:v>
                </c:pt>
                <c:pt idx="21222" formatCode="0.0%">
                  <c:v>0.18608257436471878</c:v>
                </c:pt>
                <c:pt idx="21223" formatCode="0.0%">
                  <c:v>0.18575222482034423</c:v>
                </c:pt>
                <c:pt idx="21224" formatCode="0.0%">
                  <c:v>0.18584703172858963</c:v>
                </c:pt>
                <c:pt idx="21225" formatCode="0.0%">
                  <c:v>0.17283277080668166</c:v>
                </c:pt>
                <c:pt idx="21226" formatCode="0.0%">
                  <c:v>0.17745471639973046</c:v>
                </c:pt>
                <c:pt idx="21227" formatCode="0.0%">
                  <c:v>0.17601247355761898</c:v>
                </c:pt>
                <c:pt idx="21228" formatCode="0.0%">
                  <c:v>0.17201670124862473</c:v>
                </c:pt>
                <c:pt idx="21229" formatCode="0.0%">
                  <c:v>0.167626286209554</c:v>
                </c:pt>
                <c:pt idx="21230" formatCode="0.0%">
                  <c:v>0.16653646700879815</c:v>
                </c:pt>
                <c:pt idx="21231" formatCode="0.0%">
                  <c:v>0.17210007145353221</c:v>
                </c:pt>
                <c:pt idx="21232" formatCode="0.0%">
                  <c:v>0.1688961500209826</c:v>
                </c:pt>
                <c:pt idx="21233" formatCode="0.0%">
                  <c:v>0.17068863723747016</c:v>
                </c:pt>
                <c:pt idx="21234" formatCode="0.0%">
                  <c:v>0.16884391133029497</c:v>
                </c:pt>
                <c:pt idx="21235" formatCode="0.0%">
                  <c:v>0.16879579006726012</c:v>
                </c:pt>
                <c:pt idx="21236" formatCode="0.0%">
                  <c:v>0.15090840928512228</c:v>
                </c:pt>
                <c:pt idx="21237" formatCode="0.0%">
                  <c:v>0.1535447141911985</c:v>
                </c:pt>
                <c:pt idx="21238" formatCode="0.0%">
                  <c:v>0.14525630459060795</c:v>
                </c:pt>
                <c:pt idx="21239" formatCode="0.0%">
                  <c:v>0.14459518905990107</c:v>
                </c:pt>
                <c:pt idx="21240" formatCode="0.0%">
                  <c:v>0.15246675637349111</c:v>
                </c:pt>
                <c:pt idx="21241" formatCode="0.0%">
                  <c:v>0.16446569746121892</c:v>
                </c:pt>
                <c:pt idx="21242" formatCode="0.0%">
                  <c:v>0.14140211601827149</c:v>
                </c:pt>
                <c:pt idx="21243" formatCode="0.0%">
                  <c:v>0.14242114661922969</c:v>
                </c:pt>
                <c:pt idx="21244" formatCode="0.0%">
                  <c:v>0.14128245132007819</c:v>
                </c:pt>
                <c:pt idx="21245" formatCode="0.0%">
                  <c:v>0.14280260110138382</c:v>
                </c:pt>
                <c:pt idx="21246" formatCode="0.0%">
                  <c:v>0.15316004095786551</c:v>
                </c:pt>
                <c:pt idx="21247" formatCode="0.0%">
                  <c:v>0.1527891397273605</c:v>
                </c:pt>
                <c:pt idx="21248" formatCode="0.0%">
                  <c:v>0.14884411948137216</c:v>
                </c:pt>
                <c:pt idx="21249" formatCode="0.0%">
                  <c:v>0.14873815637123847</c:v>
                </c:pt>
                <c:pt idx="21250" formatCode="0.0%">
                  <c:v>0.14647465647359459</c:v>
                </c:pt>
                <c:pt idx="21251" formatCode="0.0%">
                  <c:v>0.13699893055643131</c:v>
                </c:pt>
                <c:pt idx="21252" formatCode="0.0%">
                  <c:v>0.13662867451570848</c:v>
                </c:pt>
                <c:pt idx="21253" formatCode="0.0%">
                  <c:v>0.13517406198600851</c:v>
                </c:pt>
                <c:pt idx="21254" formatCode="0.0%">
                  <c:v>0.1337685702357444</c:v>
                </c:pt>
                <c:pt idx="21255" formatCode="0.0%">
                  <c:v>0.13531938932045348</c:v>
                </c:pt>
                <c:pt idx="21256" formatCode="0.0%">
                  <c:v>0.12830476643634633</c:v>
                </c:pt>
                <c:pt idx="21257" formatCode="0.0%">
                  <c:v>0.12196056225778597</c:v>
                </c:pt>
                <c:pt idx="21258" formatCode="0.0%">
                  <c:v>0.116452293286353</c:v>
                </c:pt>
                <c:pt idx="21259" formatCode="0.0%">
                  <c:v>0.11628118218241945</c:v>
                </c:pt>
                <c:pt idx="21260" formatCode="0.0%">
                  <c:v>0.11050520065184263</c:v>
                </c:pt>
                <c:pt idx="21261" formatCode="0.0%">
                  <c:v>9.1775943605690205E-2</c:v>
                </c:pt>
                <c:pt idx="21262" formatCode="0.0%">
                  <c:v>9.1777056343024674E-2</c:v>
                </c:pt>
                <c:pt idx="21263" formatCode="0.0%">
                  <c:v>8.9952024913360629E-2</c:v>
                </c:pt>
                <c:pt idx="21264" formatCode="0.0%">
                  <c:v>8.8645537020351717E-2</c:v>
                </c:pt>
                <c:pt idx="21265" formatCode="0.0%">
                  <c:v>8.9221827112676011E-2</c:v>
                </c:pt>
                <c:pt idx="21266" formatCode="0.0%">
                  <c:v>6.2547205067999198E-2</c:v>
                </c:pt>
                <c:pt idx="21267" formatCode="0.0%">
                  <c:v>6.2465653258379751E-2</c:v>
                </c:pt>
                <c:pt idx="21268" formatCode="0.0%">
                  <c:v>6.0087748870902305E-2</c:v>
                </c:pt>
                <c:pt idx="21269" formatCode="0.0%">
                  <c:v>9.3505118199575396E-2</c:v>
                </c:pt>
                <c:pt idx="21270" formatCode="0.0%">
                  <c:v>9.4060306280710368E-2</c:v>
                </c:pt>
                <c:pt idx="21271" formatCode="0.0%">
                  <c:v>9.7550047229074899E-2</c:v>
                </c:pt>
                <c:pt idx="21272" formatCode="0.0%">
                  <c:v>9.7558205807588561E-2</c:v>
                </c:pt>
                <c:pt idx="21273" formatCode="0.0%">
                  <c:v>9.752336812175498E-2</c:v>
                </c:pt>
                <c:pt idx="21274" formatCode="0.0%">
                  <c:v>0.11116089216478191</c:v>
                </c:pt>
                <c:pt idx="21275" formatCode="0.0%">
                  <c:v>0.10977648709270953</c:v>
                </c:pt>
                <c:pt idx="21276" formatCode="0.0%">
                  <c:v>0.11112684582087688</c:v>
                </c:pt>
                <c:pt idx="21277" formatCode="0.0%">
                  <c:v>0.11144415240715334</c:v>
                </c:pt>
                <c:pt idx="21278" formatCode="0.0%">
                  <c:v>0.10992261134895773</c:v>
                </c:pt>
                <c:pt idx="21279" formatCode="0.0%">
                  <c:v>0.11008949844961631</c:v>
                </c:pt>
                <c:pt idx="21280" formatCode="0.0%">
                  <c:v>0.10420686021130339</c:v>
                </c:pt>
                <c:pt idx="21281" formatCode="0.0%">
                  <c:v>0.10388968982798892</c:v>
                </c:pt>
                <c:pt idx="21282" formatCode="0.0%">
                  <c:v>0.11237042396594464</c:v>
                </c:pt>
                <c:pt idx="21283" formatCode="0.0%">
                  <c:v>0.11482376523439436</c:v>
                </c:pt>
                <c:pt idx="21284" formatCode="0.0%">
                  <c:v>0.11895739790972108</c:v>
                </c:pt>
                <c:pt idx="21285" formatCode="0.0%">
                  <c:v>0.11611249021766168</c:v>
                </c:pt>
                <c:pt idx="21286" formatCode="0.0%">
                  <c:v>0.11543144284704909</c:v>
                </c:pt>
                <c:pt idx="21287" formatCode="0.0%">
                  <c:v>0.11507296585065713</c:v>
                </c:pt>
                <c:pt idx="21288" formatCode="0.0%">
                  <c:v>0.11492261873860558</c:v>
                </c:pt>
                <c:pt idx="21289" formatCode="0.0%">
                  <c:v>9.443727661428547E-2</c:v>
                </c:pt>
                <c:pt idx="21290" formatCode="0.0%">
                  <c:v>9.3848864578991123E-2</c:v>
                </c:pt>
                <c:pt idx="21291" formatCode="0.0%">
                  <c:v>9.1654082595865938E-2</c:v>
                </c:pt>
                <c:pt idx="21292" formatCode="0.0%">
                  <c:v>9.8940848490801564E-2</c:v>
                </c:pt>
                <c:pt idx="21293" formatCode="0.0%">
                  <c:v>0.10128018898371875</c:v>
                </c:pt>
                <c:pt idx="21294" formatCode="0.0%">
                  <c:v>8.0982978791201227E-2</c:v>
                </c:pt>
                <c:pt idx="21295" formatCode="0.0%">
                  <c:v>7.9146241568211304E-2</c:v>
                </c:pt>
                <c:pt idx="21296" formatCode="0.0%">
                  <c:v>8.5385789237949275E-2</c:v>
                </c:pt>
                <c:pt idx="21297" formatCode="0.0%">
                  <c:v>9.3740879213605105E-2</c:v>
                </c:pt>
                <c:pt idx="21298" formatCode="0.0%">
                  <c:v>9.4861304236977889E-2</c:v>
                </c:pt>
                <c:pt idx="21299" formatCode="0.0%">
                  <c:v>9.5244592481333865E-2</c:v>
                </c:pt>
                <c:pt idx="21300" formatCode="0.0%">
                  <c:v>0.11201445377636339</c:v>
                </c:pt>
                <c:pt idx="21301" formatCode="0.0%">
                  <c:v>0.11200404233842842</c:v>
                </c:pt>
                <c:pt idx="21302" formatCode="0.0%">
                  <c:v>0.11738443088028105</c:v>
                </c:pt>
                <c:pt idx="21303" formatCode="0.0%">
                  <c:v>0.11632937536846573</c:v>
                </c:pt>
                <c:pt idx="21304" formatCode="0.0%">
                  <c:v>0.11066868970828994</c:v>
                </c:pt>
                <c:pt idx="21305" formatCode="0.0%">
                  <c:v>0.10998759387623688</c:v>
                </c:pt>
                <c:pt idx="21306" formatCode="0.0%">
                  <c:v>0.10924233033621074</c:v>
                </c:pt>
                <c:pt idx="21307" formatCode="0.0%">
                  <c:v>0.11714938078088155</c:v>
                </c:pt>
                <c:pt idx="21308" formatCode="0.0%">
                  <c:v>0.11998662710194864</c:v>
                </c:pt>
                <c:pt idx="21309" formatCode="0.0%">
                  <c:v>0.11659570132375872</c:v>
                </c:pt>
                <c:pt idx="21310" formatCode="0.0%">
                  <c:v>0.12121087761407018</c:v>
                </c:pt>
                <c:pt idx="21311" formatCode="0.0%">
                  <c:v>0.14585557116390854</c:v>
                </c:pt>
                <c:pt idx="21312" formatCode="0.0%">
                  <c:v>0.1477367862585722</c:v>
                </c:pt>
                <c:pt idx="21313" formatCode="0.0%">
                  <c:v>0.1476068726470138</c:v>
                </c:pt>
                <c:pt idx="21314" formatCode="0.0%">
                  <c:v>0.14759496439306793</c:v>
                </c:pt>
                <c:pt idx="21315" formatCode="0.0%">
                  <c:v>0.14774000087929817</c:v>
                </c:pt>
                <c:pt idx="21316" formatCode="0.0%">
                  <c:v>0.14867108314189348</c:v>
                </c:pt>
                <c:pt idx="21317" formatCode="0.0%">
                  <c:v>0.14039479736895175</c:v>
                </c:pt>
                <c:pt idx="21318" formatCode="0.0%">
                  <c:v>0.14094232616826091</c:v>
                </c:pt>
                <c:pt idx="21319" formatCode="0.0%">
                  <c:v>0.16338051459711761</c:v>
                </c:pt>
                <c:pt idx="21320" formatCode="0.0%">
                  <c:v>0.15471633475266536</c:v>
                </c:pt>
                <c:pt idx="21321" formatCode="0.0%">
                  <c:v>0.15518899378321396</c:v>
                </c:pt>
                <c:pt idx="21322" formatCode="0.0%">
                  <c:v>0.15524554114443639</c:v>
                </c:pt>
                <c:pt idx="21323" formatCode="0.0%">
                  <c:v>0.1550240908912337</c:v>
                </c:pt>
                <c:pt idx="21324" formatCode="0.0%">
                  <c:v>0.15560848818434561</c:v>
                </c:pt>
                <c:pt idx="21325" formatCode="0.0%">
                  <c:v>0.15837867500499914</c:v>
                </c:pt>
                <c:pt idx="21326" formatCode="0.0%">
                  <c:v>0.1591252020491912</c:v>
                </c:pt>
                <c:pt idx="21327" formatCode="0.0%">
                  <c:v>0.15400291003628475</c:v>
                </c:pt>
                <c:pt idx="21328" formatCode="0.0%">
                  <c:v>0.1512426429341871</c:v>
                </c:pt>
                <c:pt idx="21329" formatCode="0.0%">
                  <c:v>0.15107622809006502</c:v>
                </c:pt>
                <c:pt idx="21330" formatCode="0.0%">
                  <c:v>0.14818925464294788</c:v>
                </c:pt>
                <c:pt idx="21331" formatCode="0.0%">
                  <c:v>0.12026913810409033</c:v>
                </c:pt>
                <c:pt idx="21332" formatCode="0.0%">
                  <c:v>0.11020756504648739</c:v>
                </c:pt>
                <c:pt idx="21333" formatCode="0.0%">
                  <c:v>0.11027281812252394</c:v>
                </c:pt>
                <c:pt idx="21334" formatCode="0.0%">
                  <c:v>0.11163859904992622</c:v>
                </c:pt>
                <c:pt idx="21335" formatCode="0.0%">
                  <c:v>0.10972976390646691</c:v>
                </c:pt>
                <c:pt idx="21336" formatCode="0.0%">
                  <c:v>9.7808731801313789E-2</c:v>
                </c:pt>
                <c:pt idx="21337" formatCode="0.0%">
                  <c:v>9.9559807609557266E-2</c:v>
                </c:pt>
                <c:pt idx="21338" formatCode="0.0%">
                  <c:v>0.10495187307065956</c:v>
                </c:pt>
                <c:pt idx="21339" formatCode="0.0%">
                  <c:v>9.0123629252441578E-2</c:v>
                </c:pt>
                <c:pt idx="21340" formatCode="0.0%">
                  <c:v>9.6463088505128608E-2</c:v>
                </c:pt>
                <c:pt idx="21341" formatCode="0.0%">
                  <c:v>9.737701744348963E-2</c:v>
                </c:pt>
                <c:pt idx="21342" formatCode="0.0%">
                  <c:v>9.5962925183217224E-2</c:v>
                </c:pt>
                <c:pt idx="21343" formatCode="0.0%">
                  <c:v>9.6131565054086293E-2</c:v>
                </c:pt>
                <c:pt idx="21344" formatCode="0.0%">
                  <c:v>9.5780836775158043E-2</c:v>
                </c:pt>
                <c:pt idx="21345" formatCode="0.0%">
                  <c:v>9.2222980990502468E-2</c:v>
                </c:pt>
                <c:pt idx="21346" formatCode="0.0%">
                  <c:v>9.9312388133719592E-2</c:v>
                </c:pt>
                <c:pt idx="21347" formatCode="0.0%">
                  <c:v>0.11676551579450267</c:v>
                </c:pt>
                <c:pt idx="21348" formatCode="0.0%">
                  <c:v>0.14426149805327881</c:v>
                </c:pt>
                <c:pt idx="21349" formatCode="0.0%">
                  <c:v>0.14439068073819042</c:v>
                </c:pt>
                <c:pt idx="21350" formatCode="0.0%">
                  <c:v>0.14478396781707603</c:v>
                </c:pt>
                <c:pt idx="21351" formatCode="0.0%">
                  <c:v>0.14580611982809025</c:v>
                </c:pt>
                <c:pt idx="21352" formatCode="0.0%">
                  <c:v>0.14674450477136461</c:v>
                </c:pt>
                <c:pt idx="21353" formatCode="0.0%">
                  <c:v>0.14676087055253109</c:v>
                </c:pt>
                <c:pt idx="21354" formatCode="0.0%">
                  <c:v>0.14728187299115597</c:v>
                </c:pt>
                <c:pt idx="21355" formatCode="0.0%">
                  <c:v>0.1473405308238154</c:v>
                </c:pt>
                <c:pt idx="21356" formatCode="0.0%">
                  <c:v>0.14474927411578431</c:v>
                </c:pt>
                <c:pt idx="21357" formatCode="0.0%">
                  <c:v>0.14309128812586888</c:v>
                </c:pt>
                <c:pt idx="21358" formatCode="0.0%">
                  <c:v>0.13844194606403368</c:v>
                </c:pt>
                <c:pt idx="21359" formatCode="0.0%">
                  <c:v>0.13437858904124209</c:v>
                </c:pt>
                <c:pt idx="21360" formatCode="0.0%">
                  <c:v>0.13045931011607198</c:v>
                </c:pt>
                <c:pt idx="21361" formatCode="0.0%">
                  <c:v>0.1301097695276732</c:v>
                </c:pt>
                <c:pt idx="21362" formatCode="0.0%">
                  <c:v>0.12336606995768903</c:v>
                </c:pt>
                <c:pt idx="21363" formatCode="0.0%">
                  <c:v>0.1224432168963857</c:v>
                </c:pt>
                <c:pt idx="21364" formatCode="0.0%">
                  <c:v>0.11989772846249012</c:v>
                </c:pt>
                <c:pt idx="21365" formatCode="0.0%">
                  <c:v>0.1202025653195012</c:v>
                </c:pt>
                <c:pt idx="21366" formatCode="0.0%">
                  <c:v>0.10849746555997022</c:v>
                </c:pt>
                <c:pt idx="21367" formatCode="0.0%">
                  <c:v>9.9683404780659082E-2</c:v>
                </c:pt>
                <c:pt idx="21368" formatCode="0.0%">
                  <c:v>5.5398015334717894E-2</c:v>
                </c:pt>
                <c:pt idx="21369" formatCode="0.0%">
                  <c:v>6.2084800844344187E-2</c:v>
                </c:pt>
                <c:pt idx="21370" formatCode="0.0%">
                  <c:v>7.7066323176378626E-2</c:v>
                </c:pt>
                <c:pt idx="21371" formatCode="0.0%">
                  <c:v>8.2217603868745964E-2</c:v>
                </c:pt>
                <c:pt idx="21372" formatCode="0.0%">
                  <c:v>8.0292795654302668E-2</c:v>
                </c:pt>
                <c:pt idx="21373" formatCode="0.0%">
                  <c:v>8.1257409044544246E-2</c:v>
                </c:pt>
                <c:pt idx="21374" formatCode="0.0%">
                  <c:v>7.9661424535488926E-2</c:v>
                </c:pt>
                <c:pt idx="21375" formatCode="0.0%">
                  <c:v>7.9832882263766419E-2</c:v>
                </c:pt>
                <c:pt idx="21376" formatCode="0.0%">
                  <c:v>7.9312692130276891E-2</c:v>
                </c:pt>
                <c:pt idx="21377" formatCode="0.0%">
                  <c:v>7.9380507863915012E-2</c:v>
                </c:pt>
                <c:pt idx="21378" formatCode="0.0%">
                  <c:v>7.9283787994450905E-2</c:v>
                </c:pt>
                <c:pt idx="21379" formatCode="0.0%">
                  <c:v>7.8352769274383186E-2</c:v>
                </c:pt>
                <c:pt idx="21380" formatCode="0.0%">
                  <c:v>8.0933484054466445E-2</c:v>
                </c:pt>
                <c:pt idx="21381" formatCode="0.0%">
                  <c:v>9.4001852311174833E-2</c:v>
                </c:pt>
                <c:pt idx="21382" formatCode="0.0%">
                  <c:v>9.7107738689017314E-2</c:v>
                </c:pt>
                <c:pt idx="21383" formatCode="0.0%">
                  <c:v>0.10164855448354577</c:v>
                </c:pt>
                <c:pt idx="21384" formatCode="0.0%">
                  <c:v>0.12053672977940402</c:v>
                </c:pt>
                <c:pt idx="21385" formatCode="0.0%">
                  <c:v>0.12263889892982856</c:v>
                </c:pt>
                <c:pt idx="21386" formatCode="0.0%">
                  <c:v>0.12961883569786745</c:v>
                </c:pt>
                <c:pt idx="21387" formatCode="0.0%">
                  <c:v>0.12876559478158275</c:v>
                </c:pt>
                <c:pt idx="21388" formatCode="0.0%">
                  <c:v>0.12842957604108635</c:v>
                </c:pt>
                <c:pt idx="21389" formatCode="0.0%">
                  <c:v>0.12459511135096377</c:v>
                </c:pt>
                <c:pt idx="21390" formatCode="0.0%">
                  <c:v>0.12009070925795141</c:v>
                </c:pt>
                <c:pt idx="21391" formatCode="0.0%">
                  <c:v>0.115384010152819</c:v>
                </c:pt>
                <c:pt idx="21392" formatCode="0.0%">
                  <c:v>0.11540757314255522</c:v>
                </c:pt>
                <c:pt idx="21393" formatCode="0.0%">
                  <c:v>0.11549662036192064</c:v>
                </c:pt>
                <c:pt idx="21394" formatCode="0.0%">
                  <c:v>0.11462937545267005</c:v>
                </c:pt>
                <c:pt idx="21395" formatCode="0.0%">
                  <c:v>0.11519170507003741</c:v>
                </c:pt>
                <c:pt idx="21396" formatCode="0.0%">
                  <c:v>0.1151818442800288</c:v>
                </c:pt>
                <c:pt idx="21397" formatCode="0.0%">
                  <c:v>0.11622587630320516</c:v>
                </c:pt>
                <c:pt idx="21398" formatCode="0.0%">
                  <c:v>0.11669897893096694</c:v>
                </c:pt>
                <c:pt idx="21399" formatCode="0.0%">
                  <c:v>0.11894287469987234</c:v>
                </c:pt>
                <c:pt idx="21400" formatCode="0.0%">
                  <c:v>0.117155977488226</c:v>
                </c:pt>
                <c:pt idx="21401" formatCode="0.0%">
                  <c:v>0.10825743339110469</c:v>
                </c:pt>
                <c:pt idx="21402" formatCode="0.0%">
                  <c:v>0.11038455023465719</c:v>
                </c:pt>
                <c:pt idx="21403" formatCode="0.0%">
                  <c:v>0.10912802073055622</c:v>
                </c:pt>
                <c:pt idx="21404" formatCode="0.0%">
                  <c:v>8.2685134576401947E-2</c:v>
                </c:pt>
                <c:pt idx="21405" formatCode="0.0%">
                  <c:v>8.3951482096090754E-2</c:v>
                </c:pt>
                <c:pt idx="21406" formatCode="0.0%">
                  <c:v>7.4712701911551244E-2</c:v>
                </c:pt>
                <c:pt idx="21407" formatCode="0.0%">
                  <c:v>7.4666507512215236E-2</c:v>
                </c:pt>
                <c:pt idx="21408" formatCode="0.0%">
                  <c:v>7.7837321044439078E-2</c:v>
                </c:pt>
                <c:pt idx="21409" formatCode="0.0%">
                  <c:v>7.8164017889572168E-2</c:v>
                </c:pt>
                <c:pt idx="21410" formatCode="0.0%">
                  <c:v>8.3106266271076021E-2</c:v>
                </c:pt>
                <c:pt idx="21411" formatCode="0.0%">
                  <c:v>8.4062703897943153E-2</c:v>
                </c:pt>
                <c:pt idx="21412" formatCode="0.0%">
                  <c:v>8.5677672936800175E-2</c:v>
                </c:pt>
                <c:pt idx="21413" formatCode="0.0%">
                  <c:v>8.7080019080438997E-2</c:v>
                </c:pt>
                <c:pt idx="21414" formatCode="0.0%">
                  <c:v>8.7214410742387588E-2</c:v>
                </c:pt>
                <c:pt idx="21415" formatCode="0.0%">
                  <c:v>9.583217515665976E-2</c:v>
                </c:pt>
                <c:pt idx="21416" formatCode="0.0%">
                  <c:v>9.6218025483988168E-2</c:v>
                </c:pt>
                <c:pt idx="21417" formatCode="0.0%">
                  <c:v>9.5810800247718306E-2</c:v>
                </c:pt>
                <c:pt idx="21418" formatCode="0.0%">
                  <c:v>0.12830006251376599</c:v>
                </c:pt>
                <c:pt idx="21419" formatCode="0.0%">
                  <c:v>0.13643526454211424</c:v>
                </c:pt>
                <c:pt idx="21420" formatCode="0.0%">
                  <c:v>0.1463969988145383</c:v>
                </c:pt>
                <c:pt idx="21421" formatCode="0.0%">
                  <c:v>0.14616325193300897</c:v>
                </c:pt>
                <c:pt idx="21422" formatCode="0.0%">
                  <c:v>0.14673621211335061</c:v>
                </c:pt>
                <c:pt idx="21423" formatCode="0.0%">
                  <c:v>0.14545328520071898</c:v>
                </c:pt>
                <c:pt idx="21424" formatCode="0.0%">
                  <c:v>0.14914125816309365</c:v>
                </c:pt>
                <c:pt idx="21425" formatCode="0.0%">
                  <c:v>0.14691338626701253</c:v>
                </c:pt>
                <c:pt idx="21426" formatCode="0.0%">
                  <c:v>0.14738166975722225</c:v>
                </c:pt>
                <c:pt idx="21427" formatCode="0.0%">
                  <c:v>0.14709455114197081</c:v>
                </c:pt>
                <c:pt idx="21428" formatCode="0.0%">
                  <c:v>0.14775777357164102</c:v>
                </c:pt>
                <c:pt idx="21429" formatCode="0.0%">
                  <c:v>0.14706140101453882</c:v>
                </c:pt>
                <c:pt idx="21430" formatCode="0.0%">
                  <c:v>0.1458301550838112</c:v>
                </c:pt>
                <c:pt idx="21431" formatCode="0.0%">
                  <c:v>0.14853781758964313</c:v>
                </c:pt>
                <c:pt idx="21432" formatCode="0.0%">
                  <c:v>0.15053993972744004</c:v>
                </c:pt>
                <c:pt idx="21433" formatCode="0.0%">
                  <c:v>0.14966060463741002</c:v>
                </c:pt>
                <c:pt idx="21434" formatCode="0.0%">
                  <c:v>0.15005043259265607</c:v>
                </c:pt>
                <c:pt idx="21435" formatCode="0.0%">
                  <c:v>0.145370589254357</c:v>
                </c:pt>
                <c:pt idx="21436" formatCode="0.0%">
                  <c:v>0.14621968891846762</c:v>
                </c:pt>
                <c:pt idx="21437" formatCode="0.0%">
                  <c:v>0.14590972668222235</c:v>
                </c:pt>
                <c:pt idx="21438" formatCode="0.0%">
                  <c:v>0.11362738320232389</c:v>
                </c:pt>
                <c:pt idx="21439" formatCode="0.0%">
                  <c:v>0.10887104860633003</c:v>
                </c:pt>
                <c:pt idx="21440" formatCode="0.0%">
                  <c:v>8.924805225135965E-2</c:v>
                </c:pt>
                <c:pt idx="21441" formatCode="0.0%">
                  <c:v>8.6880050818345184E-2</c:v>
                </c:pt>
                <c:pt idx="21442" formatCode="0.0%">
                  <c:v>8.8205194506880746E-2</c:v>
                </c:pt>
                <c:pt idx="21443" formatCode="0.0%">
                  <c:v>8.9308765729674874E-2</c:v>
                </c:pt>
                <c:pt idx="21444" formatCode="0.0%">
                  <c:v>8.531207450067714E-2</c:v>
                </c:pt>
                <c:pt idx="21445" formatCode="0.0%">
                  <c:v>9.3603713365004601E-2</c:v>
                </c:pt>
                <c:pt idx="21446" formatCode="0.0%">
                  <c:v>9.5210573332296627E-2</c:v>
                </c:pt>
                <c:pt idx="21447" formatCode="0.0%">
                  <c:v>9.4623718207158092E-2</c:v>
                </c:pt>
                <c:pt idx="21448" formatCode="0.0%">
                  <c:v>9.4071820791700136E-2</c:v>
                </c:pt>
                <c:pt idx="21449" formatCode="0.0%">
                  <c:v>9.9440786924848909E-2</c:v>
                </c:pt>
                <c:pt idx="21450" formatCode="0.0%">
                  <c:v>9.0851721191557058E-2</c:v>
                </c:pt>
                <c:pt idx="21451" formatCode="0.0%">
                  <c:v>0.10424866428505239</c:v>
                </c:pt>
                <c:pt idx="21452" formatCode="0.0%">
                  <c:v>9.9931188389671161E-2</c:v>
                </c:pt>
                <c:pt idx="21453" formatCode="0.0%">
                  <c:v>0.10229335746939074</c:v>
                </c:pt>
                <c:pt idx="21454" formatCode="0.0%">
                  <c:v>0.11238863123042078</c:v>
                </c:pt>
                <c:pt idx="21455" formatCode="0.0%">
                  <c:v>0.11576278857704089</c:v>
                </c:pt>
                <c:pt idx="21456" formatCode="0.0%">
                  <c:v>0.1238246174704771</c:v>
                </c:pt>
                <c:pt idx="21457" formatCode="0.0%">
                  <c:v>0.12302942954386636</c:v>
                </c:pt>
                <c:pt idx="21458" formatCode="0.0%">
                  <c:v>0.12854364099935531</c:v>
                </c:pt>
                <c:pt idx="21459" formatCode="0.0%">
                  <c:v>0.12557046430407906</c:v>
                </c:pt>
                <c:pt idx="21460" formatCode="0.0%">
                  <c:v>0.13606306731840423</c:v>
                </c:pt>
                <c:pt idx="21461" formatCode="0.0%">
                  <c:v>0.13647081404608949</c:v>
                </c:pt>
                <c:pt idx="21462" formatCode="0.0%">
                  <c:v>0.1338970234266168</c:v>
                </c:pt>
                <c:pt idx="21463" formatCode="0.0%">
                  <c:v>0.13735441768786968</c:v>
                </c:pt>
                <c:pt idx="21464" formatCode="0.0%">
                  <c:v>0.1451315371727338</c:v>
                </c:pt>
                <c:pt idx="21465" formatCode="0.0%">
                  <c:v>0.16707330149421723</c:v>
                </c:pt>
                <c:pt idx="21466" formatCode="0.0%">
                  <c:v>0.16787079480193845</c:v>
                </c:pt>
                <c:pt idx="21467" formatCode="0.0%">
                  <c:v>0.17179133049820988</c:v>
                </c:pt>
                <c:pt idx="21468" formatCode="0.0%">
                  <c:v>0.17423584352905383</c:v>
                </c:pt>
                <c:pt idx="21469" formatCode="0.0%">
                  <c:v>0.17803795432920569</c:v>
                </c:pt>
                <c:pt idx="21470" formatCode="0.0%">
                  <c:v>0.17920541756841046</c:v>
                </c:pt>
                <c:pt idx="21471" formatCode="0.0%">
                  <c:v>0.17284645052084421</c:v>
                </c:pt>
                <c:pt idx="21472" formatCode="0.0%">
                  <c:v>0.17258546082808471</c:v>
                </c:pt>
                <c:pt idx="21473" formatCode="0.0%">
                  <c:v>0.1716727975146827</c:v>
                </c:pt>
                <c:pt idx="21474" formatCode="0.0%">
                  <c:v>0.16429100606936889</c:v>
                </c:pt>
                <c:pt idx="21475" formatCode="0.0%">
                  <c:v>0.16552627983292653</c:v>
                </c:pt>
                <c:pt idx="21476" formatCode="0.0%">
                  <c:v>0.1600826446092849</c:v>
                </c:pt>
                <c:pt idx="21477" formatCode="0.0%">
                  <c:v>0.1621515421554735</c:v>
                </c:pt>
                <c:pt idx="21478" formatCode="0.0%">
                  <c:v>0.15735686131332471</c:v>
                </c:pt>
                <c:pt idx="21479" formatCode="0.0%">
                  <c:v>0.15950710499695148</c:v>
                </c:pt>
                <c:pt idx="21480" formatCode="0.0%">
                  <c:v>0.15233969222745949</c:v>
                </c:pt>
                <c:pt idx="21481" formatCode="0.0%">
                  <c:v>0.14993381354689461</c:v>
                </c:pt>
                <c:pt idx="21482" formatCode="0.0%">
                  <c:v>0.14942769961551625</c:v>
                </c:pt>
                <c:pt idx="21483" formatCode="0.0%">
                  <c:v>0.14752512418021749</c:v>
                </c:pt>
                <c:pt idx="21484" formatCode="0.0%">
                  <c:v>0.13725729201916287</c:v>
                </c:pt>
                <c:pt idx="21485" formatCode="0.0%">
                  <c:v>9.2641356470192851E-2</c:v>
                </c:pt>
                <c:pt idx="21486" formatCode="0.0%">
                  <c:v>9.2714450684874591E-2</c:v>
                </c:pt>
                <c:pt idx="21487" formatCode="0.0%">
                  <c:v>7.5680011110771078E-2</c:v>
                </c:pt>
                <c:pt idx="21488" formatCode="0.0%">
                  <c:v>7.6848395836545749E-2</c:v>
                </c:pt>
                <c:pt idx="21489" formatCode="0.0%">
                  <c:v>7.2843678684482688E-2</c:v>
                </c:pt>
                <c:pt idx="21490" formatCode="0.0%">
                  <c:v>7.1866122384868322E-2</c:v>
                </c:pt>
                <c:pt idx="21491" formatCode="0.0%">
                  <c:v>7.1205628318723152E-2</c:v>
                </c:pt>
                <c:pt idx="21492" formatCode="0.0%">
                  <c:v>7.0638300704679996E-2</c:v>
                </c:pt>
                <c:pt idx="21493" formatCode="0.0%">
                  <c:v>7.0446060464259941E-2</c:v>
                </c:pt>
                <c:pt idx="21494" formatCode="0.0%">
                  <c:v>7.9077907049663207E-2</c:v>
                </c:pt>
                <c:pt idx="21495" formatCode="0.0%">
                  <c:v>7.4136113401057788E-2</c:v>
                </c:pt>
                <c:pt idx="21496" formatCode="0.0%">
                  <c:v>7.447388214605645E-2</c:v>
                </c:pt>
                <c:pt idx="21497" formatCode="0.0%">
                  <c:v>7.6602060752333945E-2</c:v>
                </c:pt>
                <c:pt idx="21498" formatCode="0.0%">
                  <c:v>7.8690687039409429E-2</c:v>
                </c:pt>
                <c:pt idx="21499" formatCode="0.0%">
                  <c:v>6.494533012557939E-2</c:v>
                </c:pt>
                <c:pt idx="21500" formatCode="0.0%">
                  <c:v>6.5953008236562249E-2</c:v>
                </c:pt>
                <c:pt idx="21501" formatCode="0.0%">
                  <c:v>6.6034134798741331E-2</c:v>
                </c:pt>
                <c:pt idx="21502" formatCode="0.0%">
                  <c:v>6.4929449625510866E-2</c:v>
                </c:pt>
                <c:pt idx="21503" formatCode="0.0%">
                  <c:v>6.7390207517696823E-2</c:v>
                </c:pt>
                <c:pt idx="21504" formatCode="0.0%">
                  <c:v>8.2281749866094128E-2</c:v>
                </c:pt>
                <c:pt idx="21505" formatCode="0.0%">
                  <c:v>8.219489852785937E-2</c:v>
                </c:pt>
                <c:pt idx="21506" formatCode="0.0%">
                  <c:v>8.3039196486905151E-2</c:v>
                </c:pt>
                <c:pt idx="21507" formatCode="0.0%">
                  <c:v>8.511257208378406E-2</c:v>
                </c:pt>
                <c:pt idx="21508" formatCode="0.0%">
                  <c:v>8.6203125615979689E-2</c:v>
                </c:pt>
                <c:pt idx="21509" formatCode="0.0%">
                  <c:v>9.2220672884324506E-2</c:v>
                </c:pt>
                <c:pt idx="21510" formatCode="0.0%">
                  <c:v>9.3685838194877954E-2</c:v>
                </c:pt>
                <c:pt idx="21511" formatCode="0.0%">
                  <c:v>9.3817330038687016E-2</c:v>
                </c:pt>
                <c:pt idx="21512" formatCode="0.0%">
                  <c:v>0.10792102893315836</c:v>
                </c:pt>
                <c:pt idx="21513" formatCode="0.0%">
                  <c:v>0.10894440877509827</c:v>
                </c:pt>
                <c:pt idx="21514" formatCode="0.0%">
                  <c:v>9.6751657012657408E-2</c:v>
                </c:pt>
                <c:pt idx="21515" formatCode="0.0%">
                  <c:v>9.5819507589684202E-2</c:v>
                </c:pt>
                <c:pt idx="21516" formatCode="0.0%">
                  <c:v>9.8505802071349777E-2</c:v>
                </c:pt>
                <c:pt idx="21517" formatCode="0.0%">
                  <c:v>0.10365704807961199</c:v>
                </c:pt>
                <c:pt idx="21518" formatCode="0.0%">
                  <c:v>0.10358918101307484</c:v>
                </c:pt>
                <c:pt idx="21519" formatCode="0.0%">
                  <c:v>0.1020440605664141</c:v>
                </c:pt>
                <c:pt idx="21520" formatCode="0.0%">
                  <c:v>0.10902324644157678</c:v>
                </c:pt>
                <c:pt idx="21521" formatCode="0.0%">
                  <c:v>0.11252996845429057</c:v>
                </c:pt>
                <c:pt idx="21522" formatCode="0.0%">
                  <c:v>0.11262944720254008</c:v>
                </c:pt>
                <c:pt idx="21523" formatCode="0.0%">
                  <c:v>0.11173701483790113</c:v>
                </c:pt>
                <c:pt idx="21524" formatCode="0.0%">
                  <c:v>9.8341273106232668E-2</c:v>
                </c:pt>
                <c:pt idx="21525" formatCode="0.0%">
                  <c:v>9.8538031802950246E-2</c:v>
                </c:pt>
                <c:pt idx="21526" formatCode="0.0%">
                  <c:v>9.5276370396757071E-2</c:v>
                </c:pt>
                <c:pt idx="21527" formatCode="0.0%">
                  <c:v>0.10196560822359589</c:v>
                </c:pt>
                <c:pt idx="21528" formatCode="0.0%">
                  <c:v>9.8787809761739606E-2</c:v>
                </c:pt>
                <c:pt idx="21529" formatCode="0.0%">
                  <c:v>0.1015097921458937</c:v>
                </c:pt>
                <c:pt idx="21530" formatCode="0.0%">
                  <c:v>0.10347522169544954</c:v>
                </c:pt>
                <c:pt idx="21531" formatCode="0.0%">
                  <c:v>0.10263708975110317</c:v>
                </c:pt>
                <c:pt idx="21532" formatCode="0.0%">
                  <c:v>8.1825796863112241E-2</c:v>
                </c:pt>
                <c:pt idx="21533" formatCode="0.0%">
                  <c:v>8.1970944192264986E-2</c:v>
                </c:pt>
                <c:pt idx="21534" formatCode="0.0%">
                  <c:v>8.4684203233151123E-2</c:v>
                </c:pt>
                <c:pt idx="21535" formatCode="0.0%">
                  <c:v>8.7403601027874089E-2</c:v>
                </c:pt>
                <c:pt idx="21536" formatCode="0.0%">
                  <c:v>8.9968531766784918E-2</c:v>
                </c:pt>
                <c:pt idx="21537" formatCode="0.0%">
                  <c:v>8.6989270412812569E-2</c:v>
                </c:pt>
                <c:pt idx="21538" formatCode="0.0%">
                  <c:v>9.4277002838146245E-2</c:v>
                </c:pt>
                <c:pt idx="21539" formatCode="0.0%">
                  <c:v>9.6851437305307708E-2</c:v>
                </c:pt>
                <c:pt idx="21540" formatCode="0.0%">
                  <c:v>9.6581668259674278E-2</c:v>
                </c:pt>
                <c:pt idx="21541" formatCode="0.0%">
                  <c:v>0.10232602166817605</c:v>
                </c:pt>
                <c:pt idx="21542" formatCode="0.0%">
                  <c:v>0.10144775339133931</c:v>
                </c:pt>
                <c:pt idx="21543" formatCode="0.0%">
                  <c:v>0.12868398763928837</c:v>
                </c:pt>
                <c:pt idx="21544" formatCode="0.0%">
                  <c:v>0.13018842822964138</c:v>
                </c:pt>
                <c:pt idx="21545" formatCode="0.0%">
                  <c:v>0.12945397537571154</c:v>
                </c:pt>
                <c:pt idx="21546" formatCode="0.0%">
                  <c:v>0.13120789047399425</c:v>
                </c:pt>
                <c:pt idx="21547" formatCode="0.0%">
                  <c:v>0.13334309056771859</c:v>
                </c:pt>
                <c:pt idx="21548" formatCode="0.0%">
                  <c:v>0.13532185641530928</c:v>
                </c:pt>
                <c:pt idx="21549" formatCode="0.0%">
                  <c:v>0.1339450179015734</c:v>
                </c:pt>
                <c:pt idx="21550" formatCode="0.0%">
                  <c:v>0.13229148112598305</c:v>
                </c:pt>
                <c:pt idx="21551" formatCode="0.0%">
                  <c:v>0.13238301127261018</c:v>
                </c:pt>
                <c:pt idx="21552" formatCode="0.0%">
                  <c:v>0.13344638610246956</c:v>
                </c:pt>
                <c:pt idx="21553" formatCode="0.0%">
                  <c:v>0.13340557361667094</c:v>
                </c:pt>
                <c:pt idx="21554" formatCode="0.0%">
                  <c:v>0.13204520139840289</c:v>
                </c:pt>
                <c:pt idx="21555" formatCode="0.0%">
                  <c:v>0.12865671808608992</c:v>
                </c:pt>
                <c:pt idx="21556" formatCode="0.0%">
                  <c:v>0.12754241831287999</c:v>
                </c:pt>
                <c:pt idx="21557" formatCode="0.0%">
                  <c:v>0.129671858086017</c:v>
                </c:pt>
                <c:pt idx="21558" formatCode="0.0%">
                  <c:v>0.12505416136532904</c:v>
                </c:pt>
                <c:pt idx="21559" formatCode="0.0%">
                  <c:v>0.12382202393909915</c:v>
                </c:pt>
                <c:pt idx="21560" formatCode="0.0%">
                  <c:v>0.11735988684985442</c:v>
                </c:pt>
                <c:pt idx="21561" formatCode="0.0%">
                  <c:v>0.10533642414712621</c:v>
                </c:pt>
                <c:pt idx="21562" formatCode="0.0%">
                  <c:v>0.10495394190555597</c:v>
                </c:pt>
                <c:pt idx="21563" formatCode="0.0%">
                  <c:v>9.7157595158312224E-2</c:v>
                </c:pt>
                <c:pt idx="21564" formatCode="0.0%">
                  <c:v>0.10463018996082808</c:v>
                </c:pt>
                <c:pt idx="21565" formatCode="0.0%">
                  <c:v>0.10440217615905689</c:v>
                </c:pt>
                <c:pt idx="21566" formatCode="0.0%">
                  <c:v>0.10035645807154168</c:v>
                </c:pt>
                <c:pt idx="21567" formatCode="0.0%">
                  <c:v>9.3344637355326041E-2</c:v>
                </c:pt>
                <c:pt idx="21568" formatCode="0.0%">
                  <c:v>9.2235014331128212E-2</c:v>
                </c:pt>
                <c:pt idx="21569" formatCode="0.0%">
                  <c:v>9.0962610851011122E-2</c:v>
                </c:pt>
                <c:pt idx="21570" formatCode="0.0%">
                  <c:v>9.2731924978980543E-2</c:v>
                </c:pt>
                <c:pt idx="21571" formatCode="0.0%">
                  <c:v>9.1943621956776883E-2</c:v>
                </c:pt>
                <c:pt idx="21572" formatCode="0.0%">
                  <c:v>9.1127077905941684E-2</c:v>
                </c:pt>
                <c:pt idx="21573" formatCode="0.0%">
                  <c:v>9.4287363595756013E-2</c:v>
                </c:pt>
                <c:pt idx="21574" formatCode="0.0%">
                  <c:v>9.4558228900315747E-2</c:v>
                </c:pt>
                <c:pt idx="21575" formatCode="0.0%">
                  <c:v>9.4981010922486661E-2</c:v>
                </c:pt>
                <c:pt idx="21576" formatCode="0.0%">
                  <c:v>9.356133808017407E-2</c:v>
                </c:pt>
                <c:pt idx="21577" formatCode="0.0%">
                  <c:v>9.118160311057126E-2</c:v>
                </c:pt>
                <c:pt idx="21578" formatCode="0.0%">
                  <c:v>8.9554068299909459E-2</c:v>
                </c:pt>
                <c:pt idx="21579" formatCode="0.0%">
                  <c:v>9.0510104263738927E-2</c:v>
                </c:pt>
                <c:pt idx="21580" formatCode="0.0%">
                  <c:v>9.1250164394227326E-2</c:v>
                </c:pt>
                <c:pt idx="21581" formatCode="0.0%">
                  <c:v>9.0622654406749312E-2</c:v>
                </c:pt>
                <c:pt idx="21582" formatCode="0.0%">
                  <c:v>9.1463037860965629E-2</c:v>
                </c:pt>
                <c:pt idx="21583" formatCode="0.0%">
                  <c:v>8.381336338408249E-2</c:v>
                </c:pt>
                <c:pt idx="21584" formatCode="0.0%">
                  <c:v>7.1549364209550048E-2</c:v>
                </c:pt>
                <c:pt idx="21585" formatCode="0.0%">
                  <c:v>7.3117300810071423E-2</c:v>
                </c:pt>
                <c:pt idx="21586" formatCode="0.0%">
                  <c:v>8.450513656305228E-2</c:v>
                </c:pt>
                <c:pt idx="21587" formatCode="0.0%">
                  <c:v>8.0646005568179371E-2</c:v>
                </c:pt>
                <c:pt idx="21588" formatCode="0.0%">
                  <c:v>7.8454351841160383E-2</c:v>
                </c:pt>
                <c:pt idx="21589" formatCode="0.0%">
                  <c:v>8.0417385503365413E-2</c:v>
                </c:pt>
                <c:pt idx="21590" formatCode="0.0%">
                  <c:v>8.0110841264342841E-2</c:v>
                </c:pt>
                <c:pt idx="21591" formatCode="0.0%">
                  <c:v>9.9472024372909015E-2</c:v>
                </c:pt>
                <c:pt idx="21592" formatCode="0.0%">
                  <c:v>9.8313577519476614E-2</c:v>
                </c:pt>
                <c:pt idx="21593" formatCode="0.0%">
                  <c:v>9.5729764166742823E-2</c:v>
                </c:pt>
                <c:pt idx="21594" formatCode="0.0%">
                  <c:v>9.5950538713816147E-2</c:v>
                </c:pt>
                <c:pt idx="21595" formatCode="0.0%">
                  <c:v>9.5996611828032541E-2</c:v>
                </c:pt>
                <c:pt idx="21596" formatCode="0.0%">
                  <c:v>9.6928990720287059E-2</c:v>
                </c:pt>
                <c:pt idx="21597" formatCode="0.0%">
                  <c:v>9.6903658077734156E-2</c:v>
                </c:pt>
                <c:pt idx="21598" formatCode="0.0%">
                  <c:v>9.678445587067698E-2</c:v>
                </c:pt>
                <c:pt idx="21599" formatCode="0.0%">
                  <c:v>9.6308406629788942E-2</c:v>
                </c:pt>
                <c:pt idx="21600" formatCode="0.0%">
                  <c:v>0.10181245029029452</c:v>
                </c:pt>
                <c:pt idx="21601" formatCode="0.0%">
                  <c:v>0.10157702111609229</c:v>
                </c:pt>
                <c:pt idx="21602" formatCode="0.0%">
                  <c:v>0.10048346931481879</c:v>
                </c:pt>
                <c:pt idx="21603" formatCode="0.0%">
                  <c:v>9.5223641987126378E-2</c:v>
                </c:pt>
                <c:pt idx="21604" formatCode="0.0%">
                  <c:v>9.5237145516492372E-2</c:v>
                </c:pt>
                <c:pt idx="21605" formatCode="0.0%">
                  <c:v>9.4096064457760795E-2</c:v>
                </c:pt>
                <c:pt idx="21606" formatCode="0.0%">
                  <c:v>8.2025200813267654E-2</c:v>
                </c:pt>
                <c:pt idx="21607" formatCode="0.0%">
                  <c:v>9.4878024159153529E-2</c:v>
                </c:pt>
                <c:pt idx="21608" formatCode="0.0%">
                  <c:v>0.10054223527934841</c:v>
                </c:pt>
                <c:pt idx="21609" formatCode="0.0%">
                  <c:v>9.9935610699773317E-2</c:v>
                </c:pt>
                <c:pt idx="21610" formatCode="0.0%">
                  <c:v>9.9004604174945665E-2</c:v>
                </c:pt>
                <c:pt idx="21611" formatCode="0.0%">
                  <c:v>8.4147690785908322E-2</c:v>
                </c:pt>
                <c:pt idx="21612" formatCode="0.0%">
                  <c:v>8.4275635944401558E-2</c:v>
                </c:pt>
                <c:pt idx="21613" formatCode="0.0%">
                  <c:v>8.302703755679694E-2</c:v>
                </c:pt>
                <c:pt idx="21614" formatCode="0.0%">
                  <c:v>8.7846856443823451E-2</c:v>
                </c:pt>
                <c:pt idx="21615" formatCode="0.0%">
                  <c:v>0.1146014961794217</c:v>
                </c:pt>
                <c:pt idx="21616" formatCode="0.0%">
                  <c:v>0.11308682206516771</c:v>
                </c:pt>
                <c:pt idx="21617" formatCode="0.0%">
                  <c:v>0.11637189000486575</c:v>
                </c:pt>
                <c:pt idx="21618" formatCode="0.0%">
                  <c:v>0.12046283554550782</c:v>
                </c:pt>
                <c:pt idx="21619" formatCode="0.0%">
                  <c:v>0.1276326223145744</c:v>
                </c:pt>
                <c:pt idx="21620" formatCode="0.0%">
                  <c:v>0.12604998700583772</c:v>
                </c:pt>
                <c:pt idx="21621" formatCode="0.0%">
                  <c:v>0.14762670061123076</c:v>
                </c:pt>
                <c:pt idx="21622" formatCode="0.0%">
                  <c:v>0.15193123025916569</c:v>
                </c:pt>
                <c:pt idx="21623" formatCode="0.0%">
                  <c:v>0.14892175245915865</c:v>
                </c:pt>
                <c:pt idx="21624" formatCode="0.0%">
                  <c:v>0.15780053273180225</c:v>
                </c:pt>
                <c:pt idx="21625" formatCode="0.0%">
                  <c:v>0.16646652779061341</c:v>
                </c:pt>
                <c:pt idx="21626" formatCode="0.0%">
                  <c:v>0.16628550043794468</c:v>
                </c:pt>
                <c:pt idx="21627" formatCode="0.0%">
                  <c:v>0.16581125087151496</c:v>
                </c:pt>
                <c:pt idx="21628" formatCode="0.0%">
                  <c:v>0.16088055791101102</c:v>
                </c:pt>
                <c:pt idx="21629" formatCode="0.0%">
                  <c:v>0.16119664671054076</c:v>
                </c:pt>
                <c:pt idx="21630" formatCode="0.0%">
                  <c:v>0.16224275677089689</c:v>
                </c:pt>
                <c:pt idx="21631" formatCode="0.0%">
                  <c:v>0.16170325299950786</c:v>
                </c:pt>
                <c:pt idx="21632" formatCode="0.0%">
                  <c:v>0.16300543792851435</c:v>
                </c:pt>
                <c:pt idx="21633" formatCode="0.0%">
                  <c:v>0.16457671046545988</c:v>
                </c:pt>
                <c:pt idx="21634" formatCode="0.0%">
                  <c:v>0.16146196164472487</c:v>
                </c:pt>
                <c:pt idx="21635" formatCode="0.0%">
                  <c:v>0.14150929424470562</c:v>
                </c:pt>
                <c:pt idx="21636" formatCode="0.0%">
                  <c:v>0.13991361117505838</c:v>
                </c:pt>
                <c:pt idx="21637" formatCode="0.0%">
                  <c:v>0.13906004779729653</c:v>
                </c:pt>
                <c:pt idx="21638" formatCode="0.0%">
                  <c:v>0.13239104651003994</c:v>
                </c:pt>
                <c:pt idx="21639" formatCode="0.0%">
                  <c:v>0.12810612333354149</c:v>
                </c:pt>
                <c:pt idx="21640" formatCode="0.0%">
                  <c:v>0.12893265223020073</c:v>
                </c:pt>
                <c:pt idx="21641" formatCode="0.0%">
                  <c:v>9.9284826601595197E-2</c:v>
                </c:pt>
                <c:pt idx="21642" formatCode="0.0%">
                  <c:v>9.895848111170627E-2</c:v>
                </c:pt>
                <c:pt idx="21643" formatCode="0.0%">
                  <c:v>9.7174570427262519E-2</c:v>
                </c:pt>
                <c:pt idx="21644" formatCode="0.0%">
                  <c:v>9.1712339727621495E-2</c:v>
                </c:pt>
                <c:pt idx="21645" formatCode="0.0%">
                  <c:v>8.3747795006836045E-2</c:v>
                </c:pt>
                <c:pt idx="21646" formatCode="0.0%">
                  <c:v>8.7644588847553967E-2</c:v>
                </c:pt>
                <c:pt idx="21647" formatCode="0.0%">
                  <c:v>8.0784970700758366E-2</c:v>
                </c:pt>
                <c:pt idx="21648" formatCode="0.0%">
                  <c:v>9.3143757508545533E-2</c:v>
                </c:pt>
                <c:pt idx="21649" formatCode="0.0%">
                  <c:v>9.195746671087883E-2</c:v>
                </c:pt>
                <c:pt idx="21650" formatCode="0.0%">
                  <c:v>9.6493437788960273E-2</c:v>
                </c:pt>
                <c:pt idx="21651" formatCode="0.0%">
                  <c:v>9.93374251303073E-2</c:v>
                </c:pt>
                <c:pt idx="21652" formatCode="0.0%">
                  <c:v>9.8956338387534717E-2</c:v>
                </c:pt>
                <c:pt idx="21653" formatCode="0.0%">
                  <c:v>9.8962559459112573E-2</c:v>
                </c:pt>
                <c:pt idx="21654" formatCode="0.0%">
                  <c:v>9.9407245391330668E-2</c:v>
                </c:pt>
                <c:pt idx="21655" formatCode="0.0%">
                  <c:v>9.9253810360533226E-2</c:v>
                </c:pt>
                <c:pt idx="21656" formatCode="0.0%">
                  <c:v>0.10010500525293194</c:v>
                </c:pt>
                <c:pt idx="21657" formatCode="0.0%">
                  <c:v>0.10366234768301165</c:v>
                </c:pt>
                <c:pt idx="21658" formatCode="0.0%">
                  <c:v>0.10235243420652192</c:v>
                </c:pt>
                <c:pt idx="21659" formatCode="0.0%">
                  <c:v>0.103259625482628</c:v>
                </c:pt>
                <c:pt idx="21660" formatCode="0.0%">
                  <c:v>0.10308314252504668</c:v>
                </c:pt>
                <c:pt idx="21661" formatCode="0.0%">
                  <c:v>9.134668654778301E-2</c:v>
                </c:pt>
                <c:pt idx="21662" formatCode="0.0%">
                  <c:v>9.1774114108233218E-2</c:v>
                </c:pt>
                <c:pt idx="21663" formatCode="0.0%">
                  <c:v>9.1810244423627813E-2</c:v>
                </c:pt>
                <c:pt idx="21664" formatCode="0.0%">
                  <c:v>0.1026182034961544</c:v>
                </c:pt>
                <c:pt idx="21665" formatCode="0.0%">
                  <c:v>0.10913820210745895</c:v>
                </c:pt>
                <c:pt idx="21666" formatCode="0.0%">
                  <c:v>0.10910221707457723</c:v>
                </c:pt>
                <c:pt idx="21667" formatCode="0.0%">
                  <c:v>0.11623293463703326</c:v>
                </c:pt>
                <c:pt idx="21668" formatCode="0.0%">
                  <c:v>0.13247427625551217</c:v>
                </c:pt>
                <c:pt idx="21669" formatCode="0.0%">
                  <c:v>0.13621557405292836</c:v>
                </c:pt>
                <c:pt idx="21670" formatCode="0.0%">
                  <c:v>0.1349148149831518</c:v>
                </c:pt>
                <c:pt idx="21671" formatCode="0.0%">
                  <c:v>0.13456502722801192</c:v>
                </c:pt>
                <c:pt idx="21672" formatCode="0.0%">
                  <c:v>0.13861494245327552</c:v>
                </c:pt>
                <c:pt idx="21673" formatCode="0.0%">
                  <c:v>0.13692487212590865</c:v>
                </c:pt>
                <c:pt idx="21674" formatCode="0.0%">
                  <c:v>0.13721000961408342</c:v>
                </c:pt>
                <c:pt idx="21675" formatCode="0.0%">
                  <c:v>0.1365466500329974</c:v>
                </c:pt>
                <c:pt idx="21676" formatCode="0.0%">
                  <c:v>0.13612041245690146</c:v>
                </c:pt>
                <c:pt idx="21677" formatCode="0.0%">
                  <c:v>0.13342431039532199</c:v>
                </c:pt>
                <c:pt idx="21678" formatCode="0.0%">
                  <c:v>0.1368217994869588</c:v>
                </c:pt>
                <c:pt idx="21679" formatCode="0.0%">
                  <c:v>0.13633575950427265</c:v>
                </c:pt>
                <c:pt idx="21680" formatCode="0.0%">
                  <c:v>0.13446275772014951</c:v>
                </c:pt>
                <c:pt idx="21681" formatCode="0.0%">
                  <c:v>0.13248508992102401</c:v>
                </c:pt>
                <c:pt idx="21682" formatCode="0.0%">
                  <c:v>0.13204412928302126</c:v>
                </c:pt>
                <c:pt idx="21683" formatCode="0.0%">
                  <c:v>0.13206737487924672</c:v>
                </c:pt>
                <c:pt idx="21684" formatCode="0.0%">
                  <c:v>0.1237561080105702</c:v>
                </c:pt>
                <c:pt idx="21685" formatCode="0.0%">
                  <c:v>0.12174022441543282</c:v>
                </c:pt>
                <c:pt idx="21686" formatCode="0.0%">
                  <c:v>0.12254987222078621</c:v>
                </c:pt>
                <c:pt idx="21687" formatCode="0.0%">
                  <c:v>0.11665630126911405</c:v>
                </c:pt>
                <c:pt idx="21688" formatCode="0.0%">
                  <c:v>8.5652672284214831E-2</c:v>
                </c:pt>
                <c:pt idx="21689" formatCode="0.0%">
                  <c:v>8.0593076427944221E-2</c:v>
                </c:pt>
                <c:pt idx="21690" formatCode="0.0%">
                  <c:v>7.7578843909922632E-2</c:v>
                </c:pt>
                <c:pt idx="21691" formatCode="0.0%">
                  <c:v>7.8542901478842825E-2</c:v>
                </c:pt>
                <c:pt idx="21692" formatCode="0.0%">
                  <c:v>7.9245912302693705E-2</c:v>
                </c:pt>
                <c:pt idx="21693" formatCode="0.0%">
                  <c:v>8.0141253477009872E-2</c:v>
                </c:pt>
                <c:pt idx="21694" formatCode="0.0%">
                  <c:v>8.018092730652604E-2</c:v>
                </c:pt>
                <c:pt idx="21695" formatCode="0.0%">
                  <c:v>8.2436225044944619E-2</c:v>
                </c:pt>
                <c:pt idx="21696" formatCode="0.0%">
                  <c:v>8.7039135027542375E-2</c:v>
                </c:pt>
                <c:pt idx="21697" formatCode="0.0%">
                  <c:v>8.7204374436266302E-2</c:v>
                </c:pt>
                <c:pt idx="21698" formatCode="0.0%">
                  <c:v>8.2123327224521772E-2</c:v>
                </c:pt>
                <c:pt idx="21699" formatCode="0.0%">
                  <c:v>8.3677043992160249E-2</c:v>
                </c:pt>
                <c:pt idx="21700" formatCode="0.0%">
                  <c:v>8.2892063230949262E-2</c:v>
                </c:pt>
                <c:pt idx="21701" formatCode="0.0%">
                  <c:v>8.4124495780508443E-2</c:v>
                </c:pt>
                <c:pt idx="21702" formatCode="0.0%">
                  <c:v>8.407790859924022E-2</c:v>
                </c:pt>
                <c:pt idx="21703" formatCode="0.0%">
                  <c:v>8.3614486508047203E-2</c:v>
                </c:pt>
                <c:pt idx="21704" formatCode="0.0%">
                  <c:v>8.3739354508267902E-2</c:v>
                </c:pt>
                <c:pt idx="21705" formatCode="0.0%">
                  <c:v>7.4822133693749043E-2</c:v>
                </c:pt>
                <c:pt idx="21706" formatCode="0.0%">
                  <c:v>7.5530510124092176E-2</c:v>
                </c:pt>
                <c:pt idx="21707" formatCode="0.0%">
                  <c:v>7.5363208298491968E-2</c:v>
                </c:pt>
                <c:pt idx="21708" formatCode="0.0%">
                  <c:v>7.5433312500355926E-2</c:v>
                </c:pt>
                <c:pt idx="21709" formatCode="0.0%">
                  <c:v>6.9965162636396516E-2</c:v>
                </c:pt>
                <c:pt idx="21710" formatCode="0.0%">
                  <c:v>7.2089317776669562E-2</c:v>
                </c:pt>
                <c:pt idx="21711" formatCode="0.0%">
                  <c:v>7.5145445914532205E-2</c:v>
                </c:pt>
                <c:pt idx="21712" formatCode="0.0%">
                  <c:v>6.431992885746908E-2</c:v>
                </c:pt>
                <c:pt idx="21713" formatCode="0.0%">
                  <c:v>6.3932539250635106E-2</c:v>
                </c:pt>
                <c:pt idx="21714" formatCode="0.0%">
                  <c:v>6.3420329174190881E-2</c:v>
                </c:pt>
                <c:pt idx="21715" formatCode="0.0%">
                  <c:v>5.9566415026665057E-2</c:v>
                </c:pt>
                <c:pt idx="21716" formatCode="0.0%">
                  <c:v>5.5400587893333686E-2</c:v>
                </c:pt>
                <c:pt idx="21717" formatCode="0.0%">
                  <c:v>5.5369989643893655E-2</c:v>
                </c:pt>
                <c:pt idx="21718" formatCode="0.0%">
                  <c:v>5.5015908689134516E-2</c:v>
                </c:pt>
                <c:pt idx="21719" formatCode="0.0%">
                  <c:v>5.9449238842670428E-2</c:v>
                </c:pt>
                <c:pt idx="21720" formatCode="0.0%">
                  <c:v>6.0444360249789351E-2</c:v>
                </c:pt>
                <c:pt idx="21721" formatCode="0.0%">
                  <c:v>5.9046306652815295E-2</c:v>
                </c:pt>
                <c:pt idx="21722" formatCode="0.0%">
                  <c:v>5.9060075702596915E-2</c:v>
                </c:pt>
                <c:pt idx="21723" formatCode="0.0%">
                  <c:v>5.9246874813681412E-2</c:v>
                </c:pt>
                <c:pt idx="21724" formatCode="0.0%">
                  <c:v>6.2398873934042996E-2</c:v>
                </c:pt>
                <c:pt idx="21725" formatCode="0.0%">
                  <c:v>6.238691577579606E-2</c:v>
                </c:pt>
                <c:pt idx="21726" formatCode="0.0%">
                  <c:v>6.1314119179026565E-2</c:v>
                </c:pt>
                <c:pt idx="21727" formatCode="0.0%">
                  <c:v>6.2394046799921707E-2</c:v>
                </c:pt>
                <c:pt idx="21728" formatCode="0.0%">
                  <c:v>6.8228290774675834E-2</c:v>
                </c:pt>
                <c:pt idx="21729" formatCode="0.0%">
                  <c:v>6.9872250875369829E-2</c:v>
                </c:pt>
                <c:pt idx="21730" formatCode="0.0%">
                  <c:v>7.0367275075050376E-2</c:v>
                </c:pt>
                <c:pt idx="21731" formatCode="0.0%">
                  <c:v>6.4334813725850176E-2</c:v>
                </c:pt>
                <c:pt idx="21732" formatCode="0.0%">
                  <c:v>6.5371194987380532E-2</c:v>
                </c:pt>
                <c:pt idx="21733" formatCode="0.0%">
                  <c:v>6.6223248203353749E-2</c:v>
                </c:pt>
                <c:pt idx="21734" formatCode="0.0%">
                  <c:v>6.7117498056709468E-2</c:v>
                </c:pt>
                <c:pt idx="21735" formatCode="0.0%">
                  <c:v>7.6615742995444852E-2</c:v>
                </c:pt>
                <c:pt idx="21736" formatCode="0.0%">
                  <c:v>8.4686567383617462E-2</c:v>
                </c:pt>
                <c:pt idx="21737" formatCode="0.0%">
                  <c:v>8.5111795466438461E-2</c:v>
                </c:pt>
                <c:pt idx="21738" formatCode="0.0%">
                  <c:v>8.6724320592570972E-2</c:v>
                </c:pt>
                <c:pt idx="21739" formatCode="0.0%">
                  <c:v>8.2758116953793245E-2</c:v>
                </c:pt>
                <c:pt idx="21740" formatCode="0.0%">
                  <c:v>8.1439484827532979E-2</c:v>
                </c:pt>
                <c:pt idx="21741" formatCode="0.0%">
                  <c:v>8.3598571137771582E-2</c:v>
                </c:pt>
                <c:pt idx="21742" formatCode="0.0%">
                  <c:v>8.344349713994563E-2</c:v>
                </c:pt>
                <c:pt idx="21743" formatCode="0.0%">
                  <c:v>8.5281605305405545E-2</c:v>
                </c:pt>
                <c:pt idx="21744" formatCode="0.0%">
                  <c:v>8.1852966770230948E-2</c:v>
                </c:pt>
                <c:pt idx="21745" formatCode="0.0%">
                  <c:v>0.10850313285099636</c:v>
                </c:pt>
                <c:pt idx="21746" formatCode="0.0%">
                  <c:v>0.10578749149075264</c:v>
                </c:pt>
                <c:pt idx="21747" formatCode="0.0%">
                  <c:v>0.10972110251271378</c:v>
                </c:pt>
                <c:pt idx="21748" formatCode="0.0%">
                  <c:v>0.11205847471511654</c:v>
                </c:pt>
                <c:pt idx="21749" formatCode="0.0%">
                  <c:v>0.11009545197408081</c:v>
                </c:pt>
                <c:pt idx="21750" formatCode="0.0%">
                  <c:v>0.11069247485631997</c:v>
                </c:pt>
                <c:pt idx="21751" formatCode="0.0%">
                  <c:v>0.11949315263272263</c:v>
                </c:pt>
                <c:pt idx="21752" formatCode="0.0%">
                  <c:v>0.11838914916082299</c:v>
                </c:pt>
                <c:pt idx="21753" formatCode="0.0%">
                  <c:v>0.11836371671764385</c:v>
                </c:pt>
                <c:pt idx="21754" formatCode="0.0%">
                  <c:v>0.12013458751369593</c:v>
                </c:pt>
                <c:pt idx="21755" formatCode="0.0%">
                  <c:v>0.11405853226241848</c:v>
                </c:pt>
                <c:pt idx="21756" formatCode="0.0%">
                  <c:v>0.10740394905808213</c:v>
                </c:pt>
                <c:pt idx="21757" formatCode="0.0%">
                  <c:v>0.11185997509850855</c:v>
                </c:pt>
                <c:pt idx="21758" formatCode="0.0%">
                  <c:v>0.11185076340677222</c:v>
                </c:pt>
                <c:pt idx="21759" formatCode="0.0%">
                  <c:v>0.11203416246286203</c:v>
                </c:pt>
                <c:pt idx="21760" formatCode="0.0%">
                  <c:v>0.11251837470343316</c:v>
                </c:pt>
                <c:pt idx="21761" formatCode="0.0%">
                  <c:v>0.11129206963398365</c:v>
                </c:pt>
                <c:pt idx="21762" formatCode="0.0%">
                  <c:v>0.11244487373428123</c:v>
                </c:pt>
                <c:pt idx="21763" formatCode="0.0%">
                  <c:v>0.11087729358124566</c:v>
                </c:pt>
                <c:pt idx="21764" formatCode="0.0%">
                  <c:v>0.11087820979610424</c:v>
                </c:pt>
                <c:pt idx="21765" formatCode="0.0%">
                  <c:v>7.9498895003185285E-2</c:v>
                </c:pt>
                <c:pt idx="21766" formatCode="0.0%">
                  <c:v>7.7820646603821597E-2</c:v>
                </c:pt>
                <c:pt idx="21767" formatCode="0.0%">
                  <c:v>7.5809929924943398E-2</c:v>
                </c:pt>
                <c:pt idx="21768" formatCode="0.0%">
                  <c:v>6.3751727228354274E-2</c:v>
                </c:pt>
                <c:pt idx="21769" formatCode="0.0%">
                  <c:v>6.4641045422700424E-2</c:v>
                </c:pt>
                <c:pt idx="21770" formatCode="0.0%">
                  <c:v>5.8919506982288636E-2</c:v>
                </c:pt>
                <c:pt idx="21771" formatCode="0.0%">
                  <c:v>5.1769449086311183E-2</c:v>
                </c:pt>
                <c:pt idx="21772" formatCode="0.0%">
                  <c:v>5.9442862090913838E-2</c:v>
                </c:pt>
                <c:pt idx="21773" formatCode="0.0%">
                  <c:v>5.8918010103985938E-2</c:v>
                </c:pt>
                <c:pt idx="21774" formatCode="0.0%">
                  <c:v>5.576108399828969E-2</c:v>
                </c:pt>
                <c:pt idx="21775" formatCode="0.0%">
                  <c:v>6.0130620943437081E-2</c:v>
                </c:pt>
                <c:pt idx="21776" formatCode="0.0%">
                  <c:v>6.0293607914269597E-2</c:v>
                </c:pt>
                <c:pt idx="21777" formatCode="0.0%">
                  <c:v>5.8609872506246691E-2</c:v>
                </c:pt>
                <c:pt idx="21778" formatCode="0.0%">
                  <c:v>5.6440267982898674E-2</c:v>
                </c:pt>
                <c:pt idx="21779" formatCode="0.0%">
                  <c:v>5.8174043689041964E-2</c:v>
                </c:pt>
                <c:pt idx="21780" formatCode="0.0%">
                  <c:v>5.7626699697936823E-2</c:v>
                </c:pt>
                <c:pt idx="21781" formatCode="0.0%">
                  <c:v>6.461144324464356E-2</c:v>
                </c:pt>
                <c:pt idx="21782" formatCode="0.0%">
                  <c:v>6.5456643029751793E-2</c:v>
                </c:pt>
                <c:pt idx="21783" formatCode="0.0%">
                  <c:v>7.1520646993548473E-2</c:v>
                </c:pt>
                <c:pt idx="21784" formatCode="0.0%">
                  <c:v>9.1888443561981586E-2</c:v>
                </c:pt>
                <c:pt idx="21785" formatCode="0.0%">
                  <c:v>9.7656608134109354E-2</c:v>
                </c:pt>
                <c:pt idx="21786" formatCode="0.0%">
                  <c:v>9.6954658793997894E-2</c:v>
                </c:pt>
                <c:pt idx="21787" formatCode="0.0%">
                  <c:v>9.7251747598846361E-2</c:v>
                </c:pt>
                <c:pt idx="21788" formatCode="0.0%">
                  <c:v>0.10701936892183365</c:v>
                </c:pt>
                <c:pt idx="21789" formatCode="0.0%">
                  <c:v>0.10712981169679026</c:v>
                </c:pt>
                <c:pt idx="21790" formatCode="0.0%">
                  <c:v>0.11385684628617333</c:v>
                </c:pt>
                <c:pt idx="21791" formatCode="0.0%">
                  <c:v>0.11361738885498406</c:v>
                </c:pt>
                <c:pt idx="21792" formatCode="0.0%">
                  <c:v>0.12310644222922452</c:v>
                </c:pt>
                <c:pt idx="21793" formatCode="0.0%">
                  <c:v>0.13900779960507359</c:v>
                </c:pt>
                <c:pt idx="21794" formatCode="0.0%">
                  <c:v>0.15617261741695332</c:v>
                </c:pt>
                <c:pt idx="21795" formatCode="0.0%">
                  <c:v>0.15935933081936762</c:v>
                </c:pt>
                <c:pt idx="21796" formatCode="0.0%">
                  <c:v>0.16738494355130162</c:v>
                </c:pt>
                <c:pt idx="21797" formatCode="0.0%">
                  <c:v>0.16385419554829289</c:v>
                </c:pt>
                <c:pt idx="21798" formatCode="0.0%">
                  <c:v>0.16389545802715788</c:v>
                </c:pt>
                <c:pt idx="21799" formatCode="0.0%">
                  <c:v>0.16149046884237703</c:v>
                </c:pt>
                <c:pt idx="21800" formatCode="0.0%">
                  <c:v>0.17171094175265336</c:v>
                </c:pt>
                <c:pt idx="21801" formatCode="0.0%">
                  <c:v>0.17599206871600995</c:v>
                </c:pt>
                <c:pt idx="21802" formatCode="0.0%">
                  <c:v>0.19141288615148222</c:v>
                </c:pt>
                <c:pt idx="21803" formatCode="0.0%">
                  <c:v>0.18965054391165262</c:v>
                </c:pt>
                <c:pt idx="21804" formatCode="0.0%">
                  <c:v>0.18777428699198956</c:v>
                </c:pt>
                <c:pt idx="21805" formatCode="0.0%">
                  <c:v>0.18689634704081332</c:v>
                </c:pt>
                <c:pt idx="21806" formatCode="0.0%">
                  <c:v>0.1867781486356857</c:v>
                </c:pt>
                <c:pt idx="21807" formatCode="0.0%">
                  <c:v>0.19148936982425338</c:v>
                </c:pt>
                <c:pt idx="21808" formatCode="0.0%">
                  <c:v>0.18476339044982121</c:v>
                </c:pt>
                <c:pt idx="21809" formatCode="0.0%">
                  <c:v>0.18566675974657046</c:v>
                </c:pt>
                <c:pt idx="21810" formatCode="0.0%">
                  <c:v>0.18607152804445401</c:v>
                </c:pt>
                <c:pt idx="21811" formatCode="0.0%">
                  <c:v>0.1858509136750347</c:v>
                </c:pt>
                <c:pt idx="21812" formatCode="0.0%">
                  <c:v>0.17614170119718495</c:v>
                </c:pt>
                <c:pt idx="21813" formatCode="0.0%">
                  <c:v>0.16730800943445839</c:v>
                </c:pt>
                <c:pt idx="21814" formatCode="0.0%">
                  <c:v>0.1452613138863503</c:v>
                </c:pt>
                <c:pt idx="21815" formatCode="0.0%">
                  <c:v>0.13575997149625471</c:v>
                </c:pt>
                <c:pt idx="21816" formatCode="0.0%">
                  <c:v>0.11389949049482967</c:v>
                </c:pt>
                <c:pt idx="21817" formatCode="0.0%">
                  <c:v>0.11420919434814067</c:v>
                </c:pt>
                <c:pt idx="21818" formatCode="0.0%">
                  <c:v>0.10639845369846657</c:v>
                </c:pt>
                <c:pt idx="21819" formatCode="0.0%">
                  <c:v>0.10619772159298149</c:v>
                </c:pt>
                <c:pt idx="21820" formatCode="0.0%">
                  <c:v>0.10251461922286741</c:v>
                </c:pt>
                <c:pt idx="21821" formatCode="0.0%">
                  <c:v>0.10117757056136212</c:v>
                </c:pt>
                <c:pt idx="21822" formatCode="0.0%">
                  <c:v>8.2358982837991548E-2</c:v>
                </c:pt>
                <c:pt idx="21823" formatCode="0.0%">
                  <c:v>7.5172459215733872E-2</c:v>
                </c:pt>
                <c:pt idx="21824" formatCode="0.0%">
                  <c:v>6.6947610064948176E-2</c:v>
                </c:pt>
                <c:pt idx="21825" formatCode="0.0%">
                  <c:v>6.563835201961396E-2</c:v>
                </c:pt>
                <c:pt idx="21826" formatCode="0.0%">
                  <c:v>6.3953522516381076E-2</c:v>
                </c:pt>
                <c:pt idx="21827" formatCode="0.0%">
                  <c:v>5.5232179355016092E-2</c:v>
                </c:pt>
                <c:pt idx="21828" formatCode="0.0%">
                  <c:v>5.3784736175794629E-2</c:v>
                </c:pt>
                <c:pt idx="21829" formatCode="0.0%">
                  <c:v>5.4174941270435054E-2</c:v>
                </c:pt>
                <c:pt idx="21830" formatCode="0.0%">
                  <c:v>4.9070228222150993E-2</c:v>
                </c:pt>
                <c:pt idx="21831" formatCode="0.0%">
                  <c:v>5.2607291969866743E-2</c:v>
                </c:pt>
                <c:pt idx="21832" formatCode="0.0%">
                  <c:v>5.109618129624776E-2</c:v>
                </c:pt>
                <c:pt idx="21833" formatCode="0.0%">
                  <c:v>4.9454060407263953E-2</c:v>
                </c:pt>
                <c:pt idx="21834" formatCode="0.0%">
                  <c:v>4.8549402095986786E-2</c:v>
                </c:pt>
                <c:pt idx="21835" formatCode="0.0%">
                  <c:v>5.6903618027343457E-2</c:v>
                </c:pt>
                <c:pt idx="21836" formatCode="0.0%">
                  <c:v>5.6252118356921135E-2</c:v>
                </c:pt>
                <c:pt idx="21837" formatCode="0.0%">
                  <c:v>8.25026185509974E-2</c:v>
                </c:pt>
                <c:pt idx="21838" formatCode="0.0%">
                  <c:v>8.4260553324111906E-2</c:v>
                </c:pt>
                <c:pt idx="21839" formatCode="0.0%">
                  <c:v>0.10207431818325702</c:v>
                </c:pt>
                <c:pt idx="21840" formatCode="0.0%">
                  <c:v>0.10375980958962702</c:v>
                </c:pt>
                <c:pt idx="21841" formatCode="0.0%">
                  <c:v>0.10658351137565332</c:v>
                </c:pt>
                <c:pt idx="21842" formatCode="0.0%">
                  <c:v>0.13010651103476795</c:v>
                </c:pt>
                <c:pt idx="21843" formatCode="0.0%">
                  <c:v>0.15679865927801714</c:v>
                </c:pt>
                <c:pt idx="21844" formatCode="0.0%">
                  <c:v>0.15743232352118278</c:v>
                </c:pt>
                <c:pt idx="21845" formatCode="0.0%">
                  <c:v>0.15693930399566192</c:v>
                </c:pt>
                <c:pt idx="21846" formatCode="0.0%">
                  <c:v>0.15675381161137569</c:v>
                </c:pt>
                <c:pt idx="21847" formatCode="0.0%">
                  <c:v>0.15667012021980339</c:v>
                </c:pt>
                <c:pt idx="21848" formatCode="0.0%">
                  <c:v>0.15678408462070173</c:v>
                </c:pt>
                <c:pt idx="21849" formatCode="0.0%">
                  <c:v>0.15640596432186998</c:v>
                </c:pt>
                <c:pt idx="21850" formatCode="0.0%">
                  <c:v>0.15532975656373868</c:v>
                </c:pt>
                <c:pt idx="21851" formatCode="0.0%">
                  <c:v>0.15848706686488981</c:v>
                </c:pt>
                <c:pt idx="21852" formatCode="0.0%">
                  <c:v>0.15780087680319319</c:v>
                </c:pt>
                <c:pt idx="21853" formatCode="0.0%">
                  <c:v>0.17035126862308234</c:v>
                </c:pt>
                <c:pt idx="21854" formatCode="0.0%">
                  <c:v>0.17208765310932209</c:v>
                </c:pt>
                <c:pt idx="21855" formatCode="0.0%">
                  <c:v>0.17703220719605348</c:v>
                </c:pt>
                <c:pt idx="21856" formatCode="0.0%">
                  <c:v>0.18893477433585401</c:v>
                </c:pt>
                <c:pt idx="21857" formatCode="0.0%">
                  <c:v>0.18160736116342296</c:v>
                </c:pt>
                <c:pt idx="21858" formatCode="0.0%">
                  <c:v>0.18339380865350779</c:v>
                </c:pt>
                <c:pt idx="21859" formatCode="0.0%">
                  <c:v>0.17353840357790151</c:v>
                </c:pt>
                <c:pt idx="21860" formatCode="0.0%">
                  <c:v>0.17326846712556221</c:v>
                </c:pt>
                <c:pt idx="21861" formatCode="0.0%">
                  <c:v>0.17382026204227402</c:v>
                </c:pt>
                <c:pt idx="21862" formatCode="0.0%">
                  <c:v>0.16506930871735506</c:v>
                </c:pt>
                <c:pt idx="21863" formatCode="0.0%">
                  <c:v>0.13992544243736527</c:v>
                </c:pt>
                <c:pt idx="21864" formatCode="0.0%">
                  <c:v>0.14001052382840112</c:v>
                </c:pt>
                <c:pt idx="21865" formatCode="0.0%">
                  <c:v>0.15051374871649534</c:v>
                </c:pt>
                <c:pt idx="21866" formatCode="0.0%">
                  <c:v>0.1513599990149177</c:v>
                </c:pt>
                <c:pt idx="21867" formatCode="0.0%">
                  <c:v>0.15180475086904441</c:v>
                </c:pt>
                <c:pt idx="21868" formatCode="0.0%">
                  <c:v>0.1576575902550531</c:v>
                </c:pt>
                <c:pt idx="21869" formatCode="0.0%">
                  <c:v>0.16311069080181331</c:v>
                </c:pt>
                <c:pt idx="21870" formatCode="0.0%">
                  <c:v>0.16783418451288742</c:v>
                </c:pt>
                <c:pt idx="21871" formatCode="0.0%">
                  <c:v>0.17000931462345054</c:v>
                </c:pt>
                <c:pt idx="21872" formatCode="0.0%">
                  <c:v>0.1775911348703601</c:v>
                </c:pt>
                <c:pt idx="21873" formatCode="0.0%">
                  <c:v>0.1727271385094899</c:v>
                </c:pt>
                <c:pt idx="21874" formatCode="0.0%">
                  <c:v>0.16999902965743324</c:v>
                </c:pt>
                <c:pt idx="21875" formatCode="0.0%">
                  <c:v>0.16896588672268575</c:v>
                </c:pt>
                <c:pt idx="21876" formatCode="0.0%">
                  <c:v>0.15729402475340165</c:v>
                </c:pt>
                <c:pt idx="21877" formatCode="0.0%">
                  <c:v>0.15505935136357668</c:v>
                </c:pt>
                <c:pt idx="21878" formatCode="0.0%">
                  <c:v>0.15622603595864651</c:v>
                </c:pt>
                <c:pt idx="21879" formatCode="0.0%">
                  <c:v>0.1557150711442109</c:v>
                </c:pt>
                <c:pt idx="21880" formatCode="0.0%">
                  <c:v>0.15622195375222167</c:v>
                </c:pt>
                <c:pt idx="21881" formatCode="0.0%">
                  <c:v>0.15064541272772541</c:v>
                </c:pt>
                <c:pt idx="21882" formatCode="0.0%">
                  <c:v>0.14516357465695798</c:v>
                </c:pt>
                <c:pt idx="21883" formatCode="0.0%">
                  <c:v>0.14538480010884286</c:v>
                </c:pt>
                <c:pt idx="21884" formatCode="0.0%">
                  <c:v>0.14533086309631532</c:v>
                </c:pt>
                <c:pt idx="21885" formatCode="0.0%">
                  <c:v>0.13746015743791562</c:v>
                </c:pt>
                <c:pt idx="21886" formatCode="0.0%">
                  <c:v>0.13535295014529511</c:v>
                </c:pt>
                <c:pt idx="21887" formatCode="0.0%">
                  <c:v>0.1353764788145905</c:v>
                </c:pt>
                <c:pt idx="21888" formatCode="0.0%">
                  <c:v>0.12387922440563817</c:v>
                </c:pt>
                <c:pt idx="21889" formatCode="0.0%">
                  <c:v>0.11034189771346994</c:v>
                </c:pt>
                <c:pt idx="21890" formatCode="0.0%">
                  <c:v>0.10893354235294993</c:v>
                </c:pt>
                <c:pt idx="21891" formatCode="0.0%">
                  <c:v>9.3925192548561603E-2</c:v>
                </c:pt>
                <c:pt idx="21892" formatCode="0.0%">
                  <c:v>8.9840758158743553E-2</c:v>
                </c:pt>
                <c:pt idx="21893" formatCode="0.0%">
                  <c:v>8.0098337895097044E-2</c:v>
                </c:pt>
                <c:pt idx="21894" formatCode="0.0%">
                  <c:v>7.7584577475301827E-2</c:v>
                </c:pt>
                <c:pt idx="21895" formatCode="0.0%">
                  <c:v>8.870057746584939E-2</c:v>
                </c:pt>
                <c:pt idx="21896" formatCode="0.0%">
                  <c:v>8.8547349505508618E-2</c:v>
                </c:pt>
                <c:pt idx="21897" formatCode="0.0%">
                  <c:v>0.10756288448876847</c:v>
                </c:pt>
                <c:pt idx="21898" formatCode="0.0%">
                  <c:v>9.9989163952031598E-2</c:v>
                </c:pt>
                <c:pt idx="21899" formatCode="0.0%">
                  <c:v>0.11046712379901341</c:v>
                </c:pt>
                <c:pt idx="21900" formatCode="0.0%">
                  <c:v>0.10622733097013644</c:v>
                </c:pt>
                <c:pt idx="21901" formatCode="0.0%">
                  <c:v>0.11667942010864893</c:v>
                </c:pt>
                <c:pt idx="21902" formatCode="0.0%">
                  <c:v>0.11688263891040071</c:v>
                </c:pt>
                <c:pt idx="21903" formatCode="0.0%">
                  <c:v>0.12530240566945092</c:v>
                </c:pt>
                <c:pt idx="21904" formatCode="0.0%">
                  <c:v>0.12645960599646972</c:v>
                </c:pt>
                <c:pt idx="21905" formatCode="0.0%">
                  <c:v>0.1287415073734022</c:v>
                </c:pt>
                <c:pt idx="21906" formatCode="0.0%">
                  <c:v>0.12888080862428533</c:v>
                </c:pt>
                <c:pt idx="21907" formatCode="0.0%">
                  <c:v>0.13011736163592136</c:v>
                </c:pt>
                <c:pt idx="21908" formatCode="0.0%">
                  <c:v>0.13941743529774228</c:v>
                </c:pt>
                <c:pt idx="21909" formatCode="0.0%">
                  <c:v>0.13947250796961363</c:v>
                </c:pt>
                <c:pt idx="21910" formatCode="0.0%">
                  <c:v>0.13991728437463602</c:v>
                </c:pt>
                <c:pt idx="21911" formatCode="0.0%">
                  <c:v>0.14555965008365598</c:v>
                </c:pt>
                <c:pt idx="21912" formatCode="0.0%">
                  <c:v>0.14782400174992219</c:v>
                </c:pt>
                <c:pt idx="21913" formatCode="0.0%">
                  <c:v>0.14770039709590893</c:v>
                </c:pt>
                <c:pt idx="21914" formatCode="0.0%">
                  <c:v>0.14837521176940008</c:v>
                </c:pt>
                <c:pt idx="21915" formatCode="0.0%">
                  <c:v>0.14160404840581267</c:v>
                </c:pt>
                <c:pt idx="21916" formatCode="0.0%">
                  <c:v>0.1411193393653829</c:v>
                </c:pt>
                <c:pt idx="21917" formatCode="0.0%">
                  <c:v>0.12612691958478883</c:v>
                </c:pt>
                <c:pt idx="21918" formatCode="0.0%">
                  <c:v>0.12625417235555031</c:v>
                </c:pt>
                <c:pt idx="21919" formatCode="0.0%">
                  <c:v>0.12008984236807896</c:v>
                </c:pt>
                <c:pt idx="21920" formatCode="0.0%">
                  <c:v>0.11904951182718095</c:v>
                </c:pt>
                <c:pt idx="21921" formatCode="0.0%">
                  <c:v>0.10960672742584376</c:v>
                </c:pt>
                <c:pt idx="21922" formatCode="0.0%">
                  <c:v>0.10995674773531117</c:v>
                </c:pt>
                <c:pt idx="21923" formatCode="0.0%">
                  <c:v>0.10156644236806066</c:v>
                </c:pt>
                <c:pt idx="21924" formatCode="0.0%">
                  <c:v>0.10821357867979879</c:v>
                </c:pt>
                <c:pt idx="21925" formatCode="0.0%">
                  <c:v>0.10846374938298325</c:v>
                </c:pt>
                <c:pt idx="21926" formatCode="0.0%">
                  <c:v>0.1084170654296622</c:v>
                </c:pt>
                <c:pt idx="21927" formatCode="0.0%">
                  <c:v>0.10751595940023849</c:v>
                </c:pt>
                <c:pt idx="21928" formatCode="0.0%">
                  <c:v>9.1713515482277588E-2</c:v>
                </c:pt>
                <c:pt idx="21929" formatCode="0.0%">
                  <c:v>9.0755093530740544E-2</c:v>
                </c:pt>
                <c:pt idx="21930" formatCode="0.0%">
                  <c:v>9.2829791900695E-2</c:v>
                </c:pt>
                <c:pt idx="21931" formatCode="0.0%">
                  <c:v>8.3574194524172113E-2</c:v>
                </c:pt>
                <c:pt idx="21932" formatCode="0.0%">
                  <c:v>7.7633253048996292E-2</c:v>
                </c:pt>
                <c:pt idx="21933" formatCode="0.0%">
                  <c:v>8.5558651238096223E-2</c:v>
                </c:pt>
                <c:pt idx="21934" formatCode="0.0%">
                  <c:v>9.2541582799583716E-2</c:v>
                </c:pt>
                <c:pt idx="21935" formatCode="0.0%">
                  <c:v>9.0497855741677929E-2</c:v>
                </c:pt>
                <c:pt idx="21936" formatCode="0.0%">
                  <c:v>0.10080001498168922</c:v>
                </c:pt>
                <c:pt idx="21937" formatCode="0.0%">
                  <c:v>0.10176359204494378</c:v>
                </c:pt>
                <c:pt idx="21938" formatCode="0.0%">
                  <c:v>0.10139319634161907</c:v>
                </c:pt>
                <c:pt idx="21939" formatCode="0.0%">
                  <c:v>0.11075094782585169</c:v>
                </c:pt>
                <c:pt idx="21940" formatCode="0.0%">
                  <c:v>0.11106658653402024</c:v>
                </c:pt>
                <c:pt idx="21941" formatCode="0.0%">
                  <c:v>0.11153378418541618</c:v>
                </c:pt>
                <c:pt idx="21942" formatCode="0.0%">
                  <c:v>0.10992241882076463</c:v>
                </c:pt>
                <c:pt idx="21943" formatCode="0.0%">
                  <c:v>0.11649434243739516</c:v>
                </c:pt>
                <c:pt idx="21944" formatCode="0.0%">
                  <c:v>0.10789731145249208</c:v>
                </c:pt>
                <c:pt idx="21945" formatCode="0.0%">
                  <c:v>0.10382675256145439</c:v>
                </c:pt>
                <c:pt idx="21946" formatCode="0.0%">
                  <c:v>0.10363765537146513</c:v>
                </c:pt>
                <c:pt idx="21947" formatCode="0.0%">
                  <c:v>0.10247898390952805</c:v>
                </c:pt>
                <c:pt idx="21948" formatCode="0.0%">
                  <c:v>0.10247405722372835</c:v>
                </c:pt>
                <c:pt idx="21949" formatCode="0.0%">
                  <c:v>0.10264954470210982</c:v>
                </c:pt>
                <c:pt idx="21950" formatCode="0.0%">
                  <c:v>0.10831534534227832</c:v>
                </c:pt>
                <c:pt idx="21951" formatCode="0.0%">
                  <c:v>0.11281073558261501</c:v>
                </c:pt>
                <c:pt idx="21952" formatCode="0.0%">
                  <c:v>0.1119986944550351</c:v>
                </c:pt>
                <c:pt idx="21953" formatCode="0.0%">
                  <c:v>0.10797472536757692</c:v>
                </c:pt>
                <c:pt idx="21954" formatCode="0.0%">
                  <c:v>0.10109309893130471</c:v>
                </c:pt>
                <c:pt idx="21955" formatCode="0.0%">
                  <c:v>0.10058411615698384</c:v>
                </c:pt>
                <c:pt idx="21956" formatCode="0.0%">
                  <c:v>9.0600758395943032E-2</c:v>
                </c:pt>
                <c:pt idx="21957" formatCode="0.0%">
                  <c:v>9.482769158505866E-2</c:v>
                </c:pt>
                <c:pt idx="21958" formatCode="0.0%">
                  <c:v>9.4156351761563645E-2</c:v>
                </c:pt>
                <c:pt idx="21959" formatCode="0.0%">
                  <c:v>8.2789033150601141E-2</c:v>
                </c:pt>
                <c:pt idx="21960" formatCode="0.0%">
                  <c:v>8.1359348835573483E-2</c:v>
                </c:pt>
                <c:pt idx="21961" formatCode="0.0%">
                  <c:v>9.2166008675526323E-2</c:v>
                </c:pt>
                <c:pt idx="21962" formatCode="0.0%">
                  <c:v>9.2318799373335134E-2</c:v>
                </c:pt>
                <c:pt idx="21963" formatCode="0.0%">
                  <c:v>8.6942122248301057E-2</c:v>
                </c:pt>
                <c:pt idx="21964" formatCode="0.0%">
                  <c:v>8.7890447472025027E-2</c:v>
                </c:pt>
                <c:pt idx="21965" formatCode="0.0%">
                  <c:v>8.9932036261571119E-2</c:v>
                </c:pt>
                <c:pt idx="21966" formatCode="0.0%">
                  <c:v>9.0464112840779459E-2</c:v>
                </c:pt>
                <c:pt idx="21967" formatCode="0.0%">
                  <c:v>9.7817753476713926E-2</c:v>
                </c:pt>
                <c:pt idx="21968" formatCode="0.0%">
                  <c:v>9.9046249683996196E-2</c:v>
                </c:pt>
                <c:pt idx="21969" formatCode="0.0%">
                  <c:v>0.10146923883515692</c:v>
                </c:pt>
                <c:pt idx="21970" formatCode="0.0%">
                  <c:v>9.3951185428198414E-2</c:v>
                </c:pt>
                <c:pt idx="21971" formatCode="0.0%">
                  <c:v>9.204557903793166E-2</c:v>
                </c:pt>
                <c:pt idx="21972" formatCode="0.0%">
                  <c:v>9.2470466941585047E-2</c:v>
                </c:pt>
                <c:pt idx="21973" formatCode="0.0%">
                  <c:v>8.9808292532227371E-2</c:v>
                </c:pt>
                <c:pt idx="21974" formatCode="0.0%">
                  <c:v>0.11604172296579891</c:v>
                </c:pt>
                <c:pt idx="21975" formatCode="0.0%">
                  <c:v>0.11688819805765419</c:v>
                </c:pt>
                <c:pt idx="21976" formatCode="0.0%">
                  <c:v>0.11984825435980279</c:v>
                </c:pt>
                <c:pt idx="21977" formatCode="0.0%">
                  <c:v>0.11626488706608426</c:v>
                </c:pt>
                <c:pt idx="21978" formatCode="0.0%">
                  <c:v>0.11685588644242997</c:v>
                </c:pt>
                <c:pt idx="21979" formatCode="0.0%">
                  <c:v>0.11692418686363572</c:v>
                </c:pt>
                <c:pt idx="21980" formatCode="0.0%">
                  <c:v>0.13128349223001287</c:v>
                </c:pt>
                <c:pt idx="21981" formatCode="0.0%">
                  <c:v>0.12300859549174264</c:v>
                </c:pt>
                <c:pt idx="21982" formatCode="0.0%">
                  <c:v>0.13181108915261125</c:v>
                </c:pt>
                <c:pt idx="21983" formatCode="0.0%">
                  <c:v>0.13594113306207214</c:v>
                </c:pt>
                <c:pt idx="21984" formatCode="0.0%">
                  <c:v>0.13553959905806232</c:v>
                </c:pt>
                <c:pt idx="21985" formatCode="0.0%">
                  <c:v>0.1342511552528452</c:v>
                </c:pt>
                <c:pt idx="21986" formatCode="0.0%">
                  <c:v>0.13693301761340315</c:v>
                </c:pt>
                <c:pt idx="21987" formatCode="0.0%">
                  <c:v>0.13251133760466483</c:v>
                </c:pt>
                <c:pt idx="21988" formatCode="0.0%">
                  <c:v>0.13094647554013134</c:v>
                </c:pt>
                <c:pt idx="21989" formatCode="0.0%">
                  <c:v>0.13017926838725805</c:v>
                </c:pt>
                <c:pt idx="21990" formatCode="0.0%">
                  <c:v>0.1303998249881361</c:v>
                </c:pt>
                <c:pt idx="21991" formatCode="0.0%">
                  <c:v>0.12930627821676088</c:v>
                </c:pt>
                <c:pt idx="21992" formatCode="0.0%">
                  <c:v>0.13441227549868309</c:v>
                </c:pt>
                <c:pt idx="21993" formatCode="0.0%">
                  <c:v>0.1356928740887674</c:v>
                </c:pt>
                <c:pt idx="21994" formatCode="0.0%">
                  <c:v>0.12043452352416577</c:v>
                </c:pt>
                <c:pt idx="21995" formatCode="0.0%">
                  <c:v>0.12246006495451686</c:v>
                </c:pt>
                <c:pt idx="21996" formatCode="0.0%">
                  <c:v>0.12054192234812777</c:v>
                </c:pt>
                <c:pt idx="21997" formatCode="0.0%">
                  <c:v>0.12097112780968783</c:v>
                </c:pt>
                <c:pt idx="21998" formatCode="0.0%">
                  <c:v>0.12048521179168055</c:v>
                </c:pt>
                <c:pt idx="21999" formatCode="0.0%">
                  <c:v>0.11918737767870798</c:v>
                </c:pt>
                <c:pt idx="22000" formatCode="0.0%">
                  <c:v>0.10089326890860691</c:v>
                </c:pt>
                <c:pt idx="22001" formatCode="0.0%">
                  <c:v>0.10578209909841332</c:v>
                </c:pt>
                <c:pt idx="22002" formatCode="0.0%">
                  <c:v>9.7295973764265797E-2</c:v>
                </c:pt>
                <c:pt idx="22003" formatCode="0.0%">
                  <c:v>0.10002700013979776</c:v>
                </c:pt>
                <c:pt idx="22004" formatCode="0.0%">
                  <c:v>0.10429009331447733</c:v>
                </c:pt>
                <c:pt idx="22005" formatCode="0.0%">
                  <c:v>0.1044310834571643</c:v>
                </c:pt>
                <c:pt idx="22006" formatCode="0.0%">
                  <c:v>9.9500691313388928E-2</c:v>
                </c:pt>
                <c:pt idx="22007" formatCode="0.0%">
                  <c:v>0.10076366919589352</c:v>
                </c:pt>
                <c:pt idx="22008" formatCode="0.0%">
                  <c:v>0.10290048636464723</c:v>
                </c:pt>
                <c:pt idx="22009" formatCode="0.0%">
                  <c:v>0.10228918967324434</c:v>
                </c:pt>
                <c:pt idx="22010" formatCode="0.0%">
                  <c:v>0.10579609432155776</c:v>
                </c:pt>
                <c:pt idx="22011" formatCode="0.0%">
                  <c:v>0.12763789035560635</c:v>
                </c:pt>
                <c:pt idx="22012" formatCode="0.0%">
                  <c:v>0.16559742742036138</c:v>
                </c:pt>
                <c:pt idx="22013" formatCode="0.0%">
                  <c:v>0.21256948634366241</c:v>
                </c:pt>
                <c:pt idx="22014" formatCode="0.0%">
                  <c:v>0.20532453225954064</c:v>
                </c:pt>
                <c:pt idx="22015" formatCode="0.0%">
                  <c:v>0.25485653280449111</c:v>
                </c:pt>
                <c:pt idx="22016" formatCode="0.0%">
                  <c:v>0.27359878564767925</c:v>
                </c:pt>
                <c:pt idx="22017" formatCode="0.0%">
                  <c:v>0.27388499672456357</c:v>
                </c:pt>
                <c:pt idx="22018" formatCode="0.0%">
                  <c:v>0.27460910770119284</c:v>
                </c:pt>
                <c:pt idx="22019" formatCode="0.0%">
                  <c:v>0.29070209667766861</c:v>
                </c:pt>
                <c:pt idx="22020" formatCode="0.0%">
                  <c:v>0.30062216301298106</c:v>
                </c:pt>
                <c:pt idx="22021" formatCode="0.0%">
                  <c:v>0.30070015771710806</c:v>
                </c:pt>
                <c:pt idx="22022" formatCode="0.0%">
                  <c:v>0.30377025471466895</c:v>
                </c:pt>
                <c:pt idx="22023" formatCode="0.0%">
                  <c:v>0.31531243772722584</c:v>
                </c:pt>
                <c:pt idx="22024" formatCode="0.0%">
                  <c:v>0.31685671443229213</c:v>
                </c:pt>
                <c:pt idx="22025" formatCode="0.0%">
                  <c:v>0.3180334976334484</c:v>
                </c:pt>
                <c:pt idx="22026" formatCode="0.0%">
                  <c:v>0.31917589978087035</c:v>
                </c:pt>
                <c:pt idx="22027" formatCode="0.0%">
                  <c:v>0.31813371434215981</c:v>
                </c:pt>
                <c:pt idx="22028" formatCode="0.0%">
                  <c:v>0.32195523353032302</c:v>
                </c:pt>
                <c:pt idx="22029" formatCode="0.0%">
                  <c:v>0.3246363891539808</c:v>
                </c:pt>
                <c:pt idx="22030" formatCode="0.0%">
                  <c:v>0.32391369871974807</c:v>
                </c:pt>
                <c:pt idx="22031" formatCode="0.0%">
                  <c:v>0.32044770736105588</c:v>
                </c:pt>
                <c:pt idx="22032" formatCode="0.0%">
                  <c:v>0.30011150826241084</c:v>
                </c:pt>
                <c:pt idx="22033" formatCode="0.0%">
                  <c:v>0.26498859753393744</c:v>
                </c:pt>
                <c:pt idx="22034" formatCode="0.0%">
                  <c:v>0.25948348253132181</c:v>
                </c:pt>
                <c:pt idx="22035" formatCode="0.0%">
                  <c:v>0.22124737766840147</c:v>
                </c:pt>
                <c:pt idx="22036" formatCode="0.0%">
                  <c:v>0.20192393112709661</c:v>
                </c:pt>
                <c:pt idx="22037" formatCode="0.0%">
                  <c:v>0.21966128158990958</c:v>
                </c:pt>
                <c:pt idx="22038" formatCode="0.0%">
                  <c:v>0.2190355916899181</c:v>
                </c:pt>
                <c:pt idx="22039" formatCode="0.0%">
                  <c:v>0.20526857192499987</c:v>
                </c:pt>
                <c:pt idx="22040" formatCode="0.0%">
                  <c:v>0.19422749141944107</c:v>
                </c:pt>
                <c:pt idx="22041" formatCode="0.0%">
                  <c:v>0.20123819205763221</c:v>
                </c:pt>
                <c:pt idx="22042" formatCode="0.0%">
                  <c:v>0.20232594247924512</c:v>
                </c:pt>
                <c:pt idx="22043" formatCode="0.0%">
                  <c:v>0.18357857754371115</c:v>
                </c:pt>
                <c:pt idx="22044" formatCode="0.0%">
                  <c:v>0.1774168401977522</c:v>
                </c:pt>
                <c:pt idx="22045" formatCode="0.0%">
                  <c:v>0.17887422585330945</c:v>
                </c:pt>
                <c:pt idx="22046" formatCode="0.0%">
                  <c:v>0.17855318499008041</c:v>
                </c:pt>
                <c:pt idx="22047" formatCode="0.0%">
                  <c:v>0.17739195394597856</c:v>
                </c:pt>
                <c:pt idx="22048" formatCode="0.0%">
                  <c:v>0.17470833372941275</c:v>
                </c:pt>
                <c:pt idx="22049" formatCode="0.0%">
                  <c:v>0.17300991841025432</c:v>
                </c:pt>
                <c:pt idx="22050" formatCode="0.0%">
                  <c:v>0.18039379109874154</c:v>
                </c:pt>
                <c:pt idx="22051" formatCode="0.0%">
                  <c:v>0.16894686219944416</c:v>
                </c:pt>
                <c:pt idx="22052" formatCode="0.0%">
                  <c:v>0.16873187803111428</c:v>
                </c:pt>
                <c:pt idx="22053" formatCode="0.0%">
                  <c:v>0.1609176506156654</c:v>
                </c:pt>
                <c:pt idx="22054" formatCode="0.0%">
                  <c:v>0.16280282206670194</c:v>
                </c:pt>
                <c:pt idx="22055" formatCode="0.0%">
                  <c:v>0.16921045934062198</c:v>
                </c:pt>
                <c:pt idx="22056" formatCode="0.0%">
                  <c:v>0.17094678178780606</c:v>
                </c:pt>
                <c:pt idx="22057" formatCode="0.0%">
                  <c:v>0.1327614943686736</c:v>
                </c:pt>
                <c:pt idx="22058" formatCode="0.0%">
                  <c:v>0.13477657980868757</c:v>
                </c:pt>
                <c:pt idx="22059" formatCode="0.0%">
                  <c:v>0.12689940059472041</c:v>
                </c:pt>
                <c:pt idx="22060" formatCode="0.0%">
                  <c:v>0.12776410991855985</c:v>
                </c:pt>
                <c:pt idx="22061" formatCode="0.0%">
                  <c:v>0.1256851122342669</c:v>
                </c:pt>
                <c:pt idx="22062" formatCode="0.0%">
                  <c:v>0.1174474714410219</c:v>
                </c:pt>
                <c:pt idx="22063" formatCode="0.0%">
                  <c:v>0.11495643239044319</c:v>
                </c:pt>
                <c:pt idx="22064" formatCode="0.0%">
                  <c:v>0.11583534409167034</c:v>
                </c:pt>
                <c:pt idx="22065" formatCode="0.0%">
                  <c:v>0.11415188388671671</c:v>
                </c:pt>
                <c:pt idx="22066" formatCode="0.0%">
                  <c:v>0.11438689955904567</c:v>
                </c:pt>
                <c:pt idx="22067" formatCode="0.0%">
                  <c:v>0.12197877922879018</c:v>
                </c:pt>
                <c:pt idx="22068" formatCode="0.0%">
                  <c:v>0.11793950811706333</c:v>
                </c:pt>
                <c:pt idx="22069" formatCode="0.0%">
                  <c:v>0.11693921641584373</c:v>
                </c:pt>
                <c:pt idx="22070" formatCode="0.0%">
                  <c:v>0.11996389004287589</c:v>
                </c:pt>
                <c:pt idx="22071" formatCode="0.0%">
                  <c:v>0.12594551762551187</c:v>
                </c:pt>
                <c:pt idx="22072" formatCode="0.0%">
                  <c:v>0.13681968998027255</c:v>
                </c:pt>
                <c:pt idx="22073" formatCode="0.0%">
                  <c:v>0.13680492827801624</c:v>
                </c:pt>
                <c:pt idx="22074" formatCode="0.0%">
                  <c:v>0.14517334932112097</c:v>
                </c:pt>
                <c:pt idx="22075" formatCode="0.0%">
                  <c:v>0.13422250192975618</c:v>
                </c:pt>
                <c:pt idx="22076" formatCode="0.0%">
                  <c:v>0.12926511206267652</c:v>
                </c:pt>
                <c:pt idx="22077" formatCode="0.0%">
                  <c:v>0.12913060523428688</c:v>
                </c:pt>
                <c:pt idx="22078" formatCode="0.0%">
                  <c:v>0.12869007488996126</c:v>
                </c:pt>
                <c:pt idx="22079" formatCode="0.0%">
                  <c:v>0.12168227995168601</c:v>
                </c:pt>
                <c:pt idx="22080" formatCode="0.0%">
                  <c:v>0.1216915086159243</c:v>
                </c:pt>
                <c:pt idx="22081" formatCode="0.0%">
                  <c:v>0.12160339377607426</c:v>
                </c:pt>
                <c:pt idx="22082" formatCode="0.0%">
                  <c:v>0.12015098224907601</c:v>
                </c:pt>
                <c:pt idx="22083" formatCode="0.0%">
                  <c:v>0.12578135371207236</c:v>
                </c:pt>
                <c:pt idx="22084" formatCode="0.0%">
                  <c:v>0.13470359192995882</c:v>
                </c:pt>
                <c:pt idx="22085" formatCode="0.0%">
                  <c:v>0.15498489318555847</c:v>
                </c:pt>
                <c:pt idx="22086" formatCode="0.0%">
                  <c:v>0.15686617194409111</c:v>
                </c:pt>
                <c:pt idx="22087" formatCode="0.0%">
                  <c:v>0.15464995696550723</c:v>
                </c:pt>
                <c:pt idx="22088" formatCode="0.0%">
                  <c:v>0.15665491659710887</c:v>
                </c:pt>
                <c:pt idx="22089" formatCode="0.0%">
                  <c:v>0.15674611053847137</c:v>
                </c:pt>
                <c:pt idx="22090" formatCode="0.0%">
                  <c:v>0.1641275369019192</c:v>
                </c:pt>
                <c:pt idx="22091" formatCode="0.0%">
                  <c:v>0.16041579730410122</c:v>
                </c:pt>
                <c:pt idx="22092" formatCode="0.0%">
                  <c:v>0.15587009319917774</c:v>
                </c:pt>
                <c:pt idx="22093" formatCode="0.0%">
                  <c:v>0.16419863095619583</c:v>
                </c:pt>
                <c:pt idx="22094" formatCode="0.0%">
                  <c:v>0.16250175652363133</c:v>
                </c:pt>
                <c:pt idx="22095" formatCode="0.0%">
                  <c:v>0.17328555569920762</c:v>
                </c:pt>
                <c:pt idx="22096" formatCode="0.0%">
                  <c:v>0.17554447613084712</c:v>
                </c:pt>
                <c:pt idx="22097" formatCode="0.0%">
                  <c:v>0.17941775248985176</c:v>
                </c:pt>
                <c:pt idx="22098" formatCode="0.0%">
                  <c:v>0.18560605091210286</c:v>
                </c:pt>
                <c:pt idx="22099" formatCode="0.0%">
                  <c:v>0.1856301671305173</c:v>
                </c:pt>
                <c:pt idx="22100" formatCode="0.0%">
                  <c:v>0.18564058329098615</c:v>
                </c:pt>
                <c:pt idx="22101" formatCode="0.0%">
                  <c:v>0.18929317504001275</c:v>
                </c:pt>
                <c:pt idx="22102" formatCode="0.0%">
                  <c:v>0.18653610950438251</c:v>
                </c:pt>
                <c:pt idx="22103" formatCode="0.0%">
                  <c:v>0.18546875835485926</c:v>
                </c:pt>
                <c:pt idx="22104" formatCode="0.0%">
                  <c:v>0.18641594820418672</c:v>
                </c:pt>
                <c:pt idx="22105" formatCode="0.0%">
                  <c:v>0.16930768070565594</c:v>
                </c:pt>
                <c:pt idx="22106" formatCode="0.0%">
                  <c:v>0.17320309065569975</c:v>
                </c:pt>
                <c:pt idx="22107" formatCode="0.0%">
                  <c:v>0.18940847250671491</c:v>
                </c:pt>
                <c:pt idx="22108" formatCode="0.0%">
                  <c:v>0.19077204566193554</c:v>
                </c:pt>
                <c:pt idx="22109" formatCode="0.0%">
                  <c:v>0.19031043094566438</c:v>
                </c:pt>
                <c:pt idx="22110" formatCode="0.0%">
                  <c:v>0.18376440847676062</c:v>
                </c:pt>
                <c:pt idx="22111" formatCode="0.0%">
                  <c:v>0.19966222415973434</c:v>
                </c:pt>
                <c:pt idx="22112" formatCode="0.0%">
                  <c:v>0.20623585425100532</c:v>
                </c:pt>
                <c:pt idx="22113" formatCode="0.0%">
                  <c:v>0.20562788423149581</c:v>
                </c:pt>
                <c:pt idx="22114" formatCode="0.0%">
                  <c:v>0.20274992089857577</c:v>
                </c:pt>
                <c:pt idx="22115" formatCode="0.0%">
                  <c:v>0.19827528239189771</c:v>
                </c:pt>
                <c:pt idx="22116" formatCode="0.0%">
                  <c:v>0.19649663136239562</c:v>
                </c:pt>
                <c:pt idx="22117" formatCode="0.0%">
                  <c:v>0.2098229854451322</c:v>
                </c:pt>
                <c:pt idx="22118" formatCode="0.0%">
                  <c:v>0.20562250201744292</c:v>
                </c:pt>
                <c:pt idx="22119" formatCode="0.0%">
                  <c:v>0.21604039891345683</c:v>
                </c:pt>
                <c:pt idx="22120" formatCode="0.0%">
                  <c:v>0.21730444800303225</c:v>
                </c:pt>
                <c:pt idx="22121" formatCode="0.0%">
                  <c:v>0.21338424161856134</c:v>
                </c:pt>
                <c:pt idx="22122" formatCode="0.0%">
                  <c:v>0.2366953769230267</c:v>
                </c:pt>
                <c:pt idx="22123" formatCode="0.0%">
                  <c:v>0.23563290542368612</c:v>
                </c:pt>
                <c:pt idx="22124" formatCode="0.0%">
                  <c:v>0.23846341601139487</c:v>
                </c:pt>
                <c:pt idx="22125" formatCode="0.0%">
                  <c:v>0.23948867063819212</c:v>
                </c:pt>
                <c:pt idx="22126" formatCode="0.0%">
                  <c:v>0.2365717395982482</c:v>
                </c:pt>
                <c:pt idx="22127" formatCode="0.0%">
                  <c:v>0.23065782061224238</c:v>
                </c:pt>
                <c:pt idx="22128" formatCode="0.0%">
                  <c:v>0.23274178107256094</c:v>
                </c:pt>
                <c:pt idx="22129" formatCode="0.0%">
                  <c:v>0.23257322713746068</c:v>
                </c:pt>
                <c:pt idx="22130" formatCode="0.0%">
                  <c:v>0.22988640987203604</c:v>
                </c:pt>
                <c:pt idx="22131" formatCode="0.0%">
                  <c:v>0.21696927415004014</c:v>
                </c:pt>
                <c:pt idx="22132" formatCode="0.0%">
                  <c:v>0.22025202121185355</c:v>
                </c:pt>
                <c:pt idx="22133" formatCode="0.0%">
                  <c:v>0.2151872689919733</c:v>
                </c:pt>
                <c:pt idx="22134" formatCode="0.0%">
                  <c:v>0.22250929769062289</c:v>
                </c:pt>
                <c:pt idx="22135" formatCode="0.0%">
                  <c:v>0.21842044888230472</c:v>
                </c:pt>
                <c:pt idx="22136" formatCode="0.0%">
                  <c:v>0.2180535318763287</c:v>
                </c:pt>
                <c:pt idx="22137" formatCode="0.0%">
                  <c:v>0.21237870572613424</c:v>
                </c:pt>
                <c:pt idx="22138" formatCode="0.0%">
                  <c:v>0.20928512395172849</c:v>
                </c:pt>
                <c:pt idx="22139" formatCode="0.0%">
                  <c:v>0.20415578530846953</c:v>
                </c:pt>
                <c:pt idx="22140" formatCode="0.0%">
                  <c:v>0.20262493471835255</c:v>
                </c:pt>
                <c:pt idx="22141" formatCode="0.0%">
                  <c:v>0.20252228711779452</c:v>
                </c:pt>
                <c:pt idx="22142" formatCode="0.0%">
                  <c:v>0.18571258354605585</c:v>
                </c:pt>
                <c:pt idx="22143" formatCode="0.0%">
                  <c:v>0.20399805377313684</c:v>
                </c:pt>
                <c:pt idx="22144" formatCode="0.0%">
                  <c:v>0.19007965529992465</c:v>
                </c:pt>
                <c:pt idx="22145" formatCode="0.0%">
                  <c:v>0.18985870585152373</c:v>
                </c:pt>
                <c:pt idx="22146" formatCode="0.0%">
                  <c:v>0.18989564112126101</c:v>
                </c:pt>
                <c:pt idx="22147" formatCode="0.0%">
                  <c:v>0.1734445493861351</c:v>
                </c:pt>
                <c:pt idx="22148" formatCode="0.0%">
                  <c:v>0.16979769502500816</c:v>
                </c:pt>
                <c:pt idx="22149" formatCode="0.0%">
                  <c:v>0.16924495848157287</c:v>
                </c:pt>
                <c:pt idx="22150" formatCode="0.0%">
                  <c:v>0.16914780642020211</c:v>
                </c:pt>
                <c:pt idx="22151" formatCode="0.0%">
                  <c:v>0.16376256651296983</c:v>
                </c:pt>
                <c:pt idx="22152" formatCode="0.0%">
                  <c:v>0.15602410190717148</c:v>
                </c:pt>
                <c:pt idx="22153" formatCode="0.0%">
                  <c:v>0.15012241528038203</c:v>
                </c:pt>
                <c:pt idx="22154" formatCode="0.0%">
                  <c:v>0.1421560437528088</c:v>
                </c:pt>
                <c:pt idx="22155" formatCode="0.0%">
                  <c:v>0.14017680111822778</c:v>
                </c:pt>
                <c:pt idx="22156" formatCode="0.0%">
                  <c:v>0.13974608592220406</c:v>
                </c:pt>
                <c:pt idx="22157" formatCode="0.0%">
                  <c:v>0.13367933634852069</c:v>
                </c:pt>
                <c:pt idx="22158" formatCode="0.0%">
                  <c:v>0.12200934734355483</c:v>
                </c:pt>
                <c:pt idx="22159" formatCode="0.0%">
                  <c:v>0.12658272509455853</c:v>
                </c:pt>
                <c:pt idx="22160" formatCode="0.0%">
                  <c:v>0.12280071462576148</c:v>
                </c:pt>
                <c:pt idx="22161" formatCode="0.0%">
                  <c:v>0.12205795966791046</c:v>
                </c:pt>
                <c:pt idx="22162" formatCode="0.0%">
                  <c:v>0.11766428609081367</c:v>
                </c:pt>
                <c:pt idx="22163" formatCode="0.0%">
                  <c:v>8.9677430420928156E-2</c:v>
                </c:pt>
                <c:pt idx="22164" formatCode="0.0%">
                  <c:v>9.0527743380548184E-2</c:v>
                </c:pt>
                <c:pt idx="22165" formatCode="0.0%">
                  <c:v>9.1766179573894616E-2</c:v>
                </c:pt>
                <c:pt idx="22166" formatCode="0.0%">
                  <c:v>9.3395581369066158E-2</c:v>
                </c:pt>
                <c:pt idx="22167" formatCode="0.0%">
                  <c:v>0.10241099242580488</c:v>
                </c:pt>
                <c:pt idx="22168" formatCode="0.0%">
                  <c:v>9.6485681598851875E-2</c:v>
                </c:pt>
                <c:pt idx="22169" formatCode="0.0%">
                  <c:v>0.10809049585878726</c:v>
                </c:pt>
                <c:pt idx="22170" formatCode="0.0%">
                  <c:v>0.10812190537232573</c:v>
                </c:pt>
                <c:pt idx="22171" formatCode="0.0%">
                  <c:v>9.3635681130018439E-2</c:v>
                </c:pt>
                <c:pt idx="22172" formatCode="0.0%">
                  <c:v>9.8761501974222746E-2</c:v>
                </c:pt>
                <c:pt idx="22173" formatCode="0.0%">
                  <c:v>0.10303580229234263</c:v>
                </c:pt>
                <c:pt idx="22174" formatCode="0.0%">
                  <c:v>0.10206174514744028</c:v>
                </c:pt>
                <c:pt idx="22175" formatCode="0.0%">
                  <c:v>0.10044649623677683</c:v>
                </c:pt>
                <c:pt idx="22176" formatCode="0.0%">
                  <c:v>0.10168139034053406</c:v>
                </c:pt>
                <c:pt idx="22177" formatCode="0.0%">
                  <c:v>0.1019269627220295</c:v>
                </c:pt>
                <c:pt idx="22178" formatCode="0.0%">
                  <c:v>0.10165271668212267</c:v>
                </c:pt>
                <c:pt idx="22179" formatCode="0.0%">
                  <c:v>0.10053537169859414</c:v>
                </c:pt>
                <c:pt idx="22180" formatCode="0.0%">
                  <c:v>0.10045089989799327</c:v>
                </c:pt>
                <c:pt idx="22181" formatCode="0.0%">
                  <c:v>0.10104815718128052</c:v>
                </c:pt>
                <c:pt idx="22182" formatCode="0.0%">
                  <c:v>9.7102707050867459E-2</c:v>
                </c:pt>
                <c:pt idx="22183" formatCode="0.0%">
                  <c:v>9.6298648829861305E-2</c:v>
                </c:pt>
                <c:pt idx="22184" formatCode="0.0%">
                  <c:v>0.10231331294231882</c:v>
                </c:pt>
                <c:pt idx="22185" formatCode="0.0%">
                  <c:v>0.10155237206198554</c:v>
                </c:pt>
                <c:pt idx="22186" formatCode="0.0%">
                  <c:v>0.10464810950628056</c:v>
                </c:pt>
                <c:pt idx="22187" formatCode="0.0%">
                  <c:v>0.10277942504648016</c:v>
                </c:pt>
                <c:pt idx="22188" formatCode="0.0%">
                  <c:v>9.7974452513310856E-2</c:v>
                </c:pt>
                <c:pt idx="22189" formatCode="0.0%">
                  <c:v>8.7751012729951158E-2</c:v>
                </c:pt>
                <c:pt idx="22190" formatCode="0.0%">
                  <c:v>8.791186982858748E-2</c:v>
                </c:pt>
                <c:pt idx="22191" formatCode="0.0%">
                  <c:v>8.7215375517675497E-2</c:v>
                </c:pt>
                <c:pt idx="22192" formatCode="0.0%">
                  <c:v>9.1576773259125249E-2</c:v>
                </c:pt>
                <c:pt idx="22193" formatCode="0.0%">
                  <c:v>9.1194424604111951E-2</c:v>
                </c:pt>
                <c:pt idx="22194" formatCode="0.0%">
                  <c:v>9.1172344991568913E-2</c:v>
                </c:pt>
                <c:pt idx="22195" formatCode="0.0%">
                  <c:v>9.5569451634283362E-2</c:v>
                </c:pt>
                <c:pt idx="22196" formatCode="0.0%">
                  <c:v>9.9469739464955353E-2</c:v>
                </c:pt>
                <c:pt idx="22197" formatCode="0.0%">
                  <c:v>0.10309666207301409</c:v>
                </c:pt>
                <c:pt idx="22198" formatCode="0.0%">
                  <c:v>0.10296856433566667</c:v>
                </c:pt>
                <c:pt idx="22199" formatCode="0.0%">
                  <c:v>0.10235514608893916</c:v>
                </c:pt>
                <c:pt idx="22200" formatCode="0.0%">
                  <c:v>0.10548641381457557</c:v>
                </c:pt>
                <c:pt idx="22201" formatCode="0.0%">
                  <c:v>0.1055207274234132</c:v>
                </c:pt>
                <c:pt idx="22202" formatCode="0.0%">
                  <c:v>0.11723881199713902</c:v>
                </c:pt>
                <c:pt idx="22203" formatCode="0.0%">
                  <c:v>0.11993246950892841</c:v>
                </c:pt>
                <c:pt idx="22204" formatCode="0.0%">
                  <c:v>0.11495971486840337</c:v>
                </c:pt>
                <c:pt idx="22205" formatCode="0.0%">
                  <c:v>0.11390161371676179</c:v>
                </c:pt>
                <c:pt idx="22206" formatCode="0.0%">
                  <c:v>0.11100376743403273</c:v>
                </c:pt>
                <c:pt idx="22207" formatCode="0.0%">
                  <c:v>0.10568907563765031</c:v>
                </c:pt>
                <c:pt idx="22208" formatCode="0.0%">
                  <c:v>0.10272914560464015</c:v>
                </c:pt>
                <c:pt idx="22209" formatCode="0.0%">
                  <c:v>0.10369691500295787</c:v>
                </c:pt>
                <c:pt idx="22210" formatCode="0.0%">
                  <c:v>0.10431299049208614</c:v>
                </c:pt>
                <c:pt idx="22211" formatCode="0.0%">
                  <c:v>0.10429616947573862</c:v>
                </c:pt>
                <c:pt idx="22212" formatCode="0.0%">
                  <c:v>9.6101367884245947E-2</c:v>
                </c:pt>
                <c:pt idx="22213" formatCode="0.0%">
                  <c:v>8.8522653905792836E-2</c:v>
                </c:pt>
                <c:pt idx="22214" formatCode="0.0%">
                  <c:v>9.5924161219904519E-2</c:v>
                </c:pt>
                <c:pt idx="22215" formatCode="0.0%">
                  <c:v>9.5461991657842846E-2</c:v>
                </c:pt>
                <c:pt idx="22216" formatCode="0.0%">
                  <c:v>8.9710254813737039E-2</c:v>
                </c:pt>
                <c:pt idx="22217" formatCode="0.0%">
                  <c:v>8.262187786474709E-2</c:v>
                </c:pt>
                <c:pt idx="22218" formatCode="0.0%">
                  <c:v>8.3091538904189591E-2</c:v>
                </c:pt>
                <c:pt idx="22219" formatCode="0.0%">
                  <c:v>8.2786510272543579E-2</c:v>
                </c:pt>
                <c:pt idx="22220" formatCode="0.0%">
                  <c:v>8.2613227186983523E-2</c:v>
                </c:pt>
                <c:pt idx="22221" formatCode="0.0%">
                  <c:v>8.2182909710754426E-2</c:v>
                </c:pt>
                <c:pt idx="22222" formatCode="0.0%">
                  <c:v>6.7723689522493788E-2</c:v>
                </c:pt>
                <c:pt idx="22223" formatCode="0.0%">
                  <c:v>7.8859724507986229E-2</c:v>
                </c:pt>
                <c:pt idx="22224" formatCode="0.0%">
                  <c:v>0.15366190227618481</c:v>
                </c:pt>
                <c:pt idx="22225" formatCode="0.0%">
                  <c:v>0.1633782653367214</c:v>
                </c:pt>
                <c:pt idx="22226" formatCode="0.0%">
                  <c:v>0.17818884526734857</c:v>
                </c:pt>
                <c:pt idx="22227" formatCode="0.0%">
                  <c:v>0.18965394679756101</c:v>
                </c:pt>
                <c:pt idx="22228" formatCode="0.0%">
                  <c:v>0.19593166021228617</c:v>
                </c:pt>
                <c:pt idx="22229" formatCode="0.0%">
                  <c:v>0.19578217462535935</c:v>
                </c:pt>
                <c:pt idx="22230" formatCode="0.0%">
                  <c:v>0.19641025015295299</c:v>
                </c:pt>
                <c:pt idx="22231" formatCode="0.0%">
                  <c:v>0.1974221236488117</c:v>
                </c:pt>
                <c:pt idx="22232" formatCode="0.0%">
                  <c:v>0.19696856727095963</c:v>
                </c:pt>
                <c:pt idx="22233" formatCode="0.0%">
                  <c:v>0.20453221759510917</c:v>
                </c:pt>
                <c:pt idx="22234" formatCode="0.0%">
                  <c:v>0.20159559305588545</c:v>
                </c:pt>
                <c:pt idx="22235" formatCode="0.0%">
                  <c:v>0.19966405539276361</c:v>
                </c:pt>
                <c:pt idx="22236" formatCode="0.0%">
                  <c:v>0.19932842747451399</c:v>
                </c:pt>
                <c:pt idx="22237" formatCode="0.0%">
                  <c:v>0.19918699169935122</c:v>
                </c:pt>
                <c:pt idx="22238" formatCode="0.0%">
                  <c:v>0.19945096300621831</c:v>
                </c:pt>
                <c:pt idx="22239" formatCode="0.0%">
                  <c:v>0.1984885738037758</c:v>
                </c:pt>
                <c:pt idx="22240" formatCode="0.0%">
                  <c:v>0.19844003864430615</c:v>
                </c:pt>
                <c:pt idx="22241" formatCode="0.0%">
                  <c:v>0.1986007987923987</c:v>
                </c:pt>
                <c:pt idx="22242" formatCode="0.0%">
                  <c:v>0.19919873947583408</c:v>
                </c:pt>
                <c:pt idx="22243" formatCode="0.0%">
                  <c:v>0.19493679818148121</c:v>
                </c:pt>
                <c:pt idx="22244" formatCode="0.0%">
                  <c:v>0.13544163528907699</c:v>
                </c:pt>
                <c:pt idx="22245" formatCode="0.0%">
                  <c:v>0.11025670113643797</c:v>
                </c:pt>
                <c:pt idx="22246" formatCode="0.0%">
                  <c:v>9.9223757772562149E-2</c:v>
                </c:pt>
                <c:pt idx="22247" formatCode="0.0%">
                  <c:v>8.4856316240368213E-2</c:v>
                </c:pt>
                <c:pt idx="22248" formatCode="0.0%">
                  <c:v>7.3963955779102447E-2</c:v>
                </c:pt>
                <c:pt idx="22249" formatCode="0.0%">
                  <c:v>7.4727908179815686E-2</c:v>
                </c:pt>
                <c:pt idx="22250" formatCode="0.0%">
                  <c:v>7.4010165757984275E-2</c:v>
                </c:pt>
                <c:pt idx="22251" formatCode="0.0%">
                  <c:v>7.2942793448414561E-2</c:v>
                </c:pt>
                <c:pt idx="22252" formatCode="0.0%">
                  <c:v>7.257520521705188E-2</c:v>
                </c:pt>
                <c:pt idx="22253" formatCode="0.0%">
                  <c:v>5.8683997845446249E-2</c:v>
                </c:pt>
                <c:pt idx="22254" formatCode="0.0%">
                  <c:v>5.8559998893702163E-2</c:v>
                </c:pt>
                <c:pt idx="22255" formatCode="0.0%">
                  <c:v>5.4152892024675527E-2</c:v>
                </c:pt>
                <c:pt idx="22256" formatCode="0.0%">
                  <c:v>5.5586732076908632E-2</c:v>
                </c:pt>
                <c:pt idx="22257" formatCode="0.0%">
                  <c:v>5.5027852972828313E-2</c:v>
                </c:pt>
                <c:pt idx="22258" formatCode="0.0%">
                  <c:v>5.498382211830212E-2</c:v>
                </c:pt>
                <c:pt idx="22259" formatCode="0.0%">
                  <c:v>5.5187037132584514E-2</c:v>
                </c:pt>
                <c:pt idx="22260" formatCode="0.0%">
                  <c:v>5.8865522741877931E-2</c:v>
                </c:pt>
                <c:pt idx="22261" formatCode="0.0%">
                  <c:v>5.7338983876580284E-2</c:v>
                </c:pt>
                <c:pt idx="22262" formatCode="0.0%">
                  <c:v>5.5884273790490283E-2</c:v>
                </c:pt>
                <c:pt idx="22263" formatCode="0.0%">
                  <c:v>5.415488059086053E-2</c:v>
                </c:pt>
                <c:pt idx="22264" formatCode="0.0%">
                  <c:v>5.2906830188537354E-2</c:v>
                </c:pt>
                <c:pt idx="22265" formatCode="0.0%">
                  <c:v>5.3220064478071913E-2</c:v>
                </c:pt>
                <c:pt idx="22266" formatCode="0.0%">
                  <c:v>5.6676990477741121E-2</c:v>
                </c:pt>
                <c:pt idx="22267" formatCode="0.0%">
                  <c:v>5.6684219063414067E-2</c:v>
                </c:pt>
                <c:pt idx="22268" formatCode="0.0%">
                  <c:v>5.6646886822580678E-2</c:v>
                </c:pt>
                <c:pt idx="22269" formatCode="0.0%">
                  <c:v>5.9483359188144756E-2</c:v>
                </c:pt>
                <c:pt idx="22270" formatCode="0.0%">
                  <c:v>5.4864114638468263E-2</c:v>
                </c:pt>
                <c:pt idx="22271" formatCode="0.0%">
                  <c:v>5.4767708634917638E-2</c:v>
                </c:pt>
                <c:pt idx="22272" formatCode="0.0%">
                  <c:v>5.4772215937088725E-2</c:v>
                </c:pt>
                <c:pt idx="22273" formatCode="0.0%">
                  <c:v>4.7589446058202083E-2</c:v>
                </c:pt>
                <c:pt idx="22274" formatCode="0.0%">
                  <c:v>4.8664314728244278E-2</c:v>
                </c:pt>
                <c:pt idx="22275" formatCode="0.0%">
                  <c:v>4.866328322270469E-2</c:v>
                </c:pt>
                <c:pt idx="22276" formatCode="0.0%">
                  <c:v>4.8193897776465357E-2</c:v>
                </c:pt>
                <c:pt idx="22277" formatCode="0.0%">
                  <c:v>9.8629612927619931E-2</c:v>
                </c:pt>
                <c:pt idx="22278" formatCode="0.0%">
                  <c:v>0.11369451414148536</c:v>
                </c:pt>
                <c:pt idx="22279" formatCode="0.0%">
                  <c:v>0.12371341771724988</c:v>
                </c:pt>
                <c:pt idx="22280" formatCode="0.0%">
                  <c:v>0.12281530564165274</c:v>
                </c:pt>
                <c:pt idx="22281" formatCode="0.0%">
                  <c:v>0.12883799875904262</c:v>
                </c:pt>
                <c:pt idx="22282" formatCode="0.0%">
                  <c:v>0.1287359385042543</c:v>
                </c:pt>
                <c:pt idx="22283" formatCode="0.0%">
                  <c:v>0.1287858712515636</c:v>
                </c:pt>
                <c:pt idx="22284" formatCode="0.0%">
                  <c:v>0.12886415095549636</c:v>
                </c:pt>
                <c:pt idx="22285" formatCode="0.0%">
                  <c:v>0.13528121154163547</c:v>
                </c:pt>
                <c:pt idx="22286" formatCode="0.0%">
                  <c:v>0.13627343039125783</c:v>
                </c:pt>
                <c:pt idx="22287" formatCode="0.0%">
                  <c:v>0.13775557249215151</c:v>
                </c:pt>
                <c:pt idx="22288" formatCode="0.0%">
                  <c:v>0.14093859258013433</c:v>
                </c:pt>
                <c:pt idx="22289" formatCode="0.0%">
                  <c:v>0.14165591124901125</c:v>
                </c:pt>
                <c:pt idx="22290" formatCode="0.0%">
                  <c:v>0.14297375659200642</c:v>
                </c:pt>
                <c:pt idx="22291" formatCode="0.0%">
                  <c:v>0.14655055227624439</c:v>
                </c:pt>
                <c:pt idx="22292" formatCode="0.0%">
                  <c:v>0.14955689250969689</c:v>
                </c:pt>
                <c:pt idx="22293" formatCode="0.0%">
                  <c:v>0.14908700579209402</c:v>
                </c:pt>
                <c:pt idx="22294" formatCode="0.0%">
                  <c:v>0.14934413454336862</c:v>
                </c:pt>
                <c:pt idx="22295" formatCode="0.0%">
                  <c:v>0.15043857050341974</c:v>
                </c:pt>
                <c:pt idx="22296" formatCode="0.0%">
                  <c:v>0.15035941886576501</c:v>
                </c:pt>
                <c:pt idx="22297" formatCode="0.0%">
                  <c:v>0.12056191140901246</c:v>
                </c:pt>
                <c:pt idx="22298" formatCode="0.0%">
                  <c:v>0.10997182038367778</c:v>
                </c:pt>
                <c:pt idx="22299" formatCode="0.0%">
                  <c:v>0.10584203523229767</c:v>
                </c:pt>
                <c:pt idx="22300" formatCode="0.0%">
                  <c:v>0.10584376757729333</c:v>
                </c:pt>
                <c:pt idx="22301" formatCode="0.0%">
                  <c:v>9.9918491852160202E-2</c:v>
                </c:pt>
                <c:pt idx="22302" formatCode="0.0%">
                  <c:v>9.9098853866262354E-2</c:v>
                </c:pt>
                <c:pt idx="22303" formatCode="0.0%">
                  <c:v>9.9627784140432232E-2</c:v>
                </c:pt>
                <c:pt idx="22304" formatCode="0.0%">
                  <c:v>0.10221534537769071</c:v>
                </c:pt>
                <c:pt idx="22305" formatCode="0.0%">
                  <c:v>9.4325045198796725E-2</c:v>
                </c:pt>
                <c:pt idx="22306" formatCode="0.0%">
                  <c:v>9.0739237141060192E-2</c:v>
                </c:pt>
                <c:pt idx="22307" formatCode="0.0%">
                  <c:v>8.8871711914397716E-2</c:v>
                </c:pt>
                <c:pt idx="22308" formatCode="0.0%">
                  <c:v>8.5350079834553699E-2</c:v>
                </c:pt>
                <c:pt idx="22309" formatCode="0.0%">
                  <c:v>8.3024213504551983E-2</c:v>
                </c:pt>
                <c:pt idx="22310" formatCode="0.0%">
                  <c:v>8.036056720859526E-2</c:v>
                </c:pt>
                <c:pt idx="22311" formatCode="0.0%">
                  <c:v>7.424014809792924E-2</c:v>
                </c:pt>
                <c:pt idx="22312" formatCode="0.0%">
                  <c:v>6.7823482047386488E-2</c:v>
                </c:pt>
                <c:pt idx="22313" formatCode="0.0%">
                  <c:v>6.7331109872644818E-2</c:v>
                </c:pt>
                <c:pt idx="22314" formatCode="0.0%">
                  <c:v>6.9130645224909998E-2</c:v>
                </c:pt>
                <c:pt idx="22315" formatCode="0.0%">
                  <c:v>6.9024935545889995E-2</c:v>
                </c:pt>
                <c:pt idx="22316" formatCode="0.0%">
                  <c:v>6.9403201228951161E-2</c:v>
                </c:pt>
                <c:pt idx="22317" formatCode="0.0%">
                  <c:v>6.9157719065505968E-2</c:v>
                </c:pt>
                <c:pt idx="22318" formatCode="0.0%">
                  <c:v>0.1070327388683615</c:v>
                </c:pt>
                <c:pt idx="22319" formatCode="0.0%">
                  <c:v>9.8543574640980833E-2</c:v>
                </c:pt>
                <c:pt idx="22320" formatCode="0.0%">
                  <c:v>0.10592942189153237</c:v>
                </c:pt>
                <c:pt idx="22321" formatCode="0.0%">
                  <c:v>0.10512690624554137</c:v>
                </c:pt>
                <c:pt idx="22322" formatCode="0.0%">
                  <c:v>0.10540338107654504</c:v>
                </c:pt>
                <c:pt idx="22323" formatCode="0.0%">
                  <c:v>0.10452139598562009</c:v>
                </c:pt>
                <c:pt idx="22324" formatCode="0.0%">
                  <c:v>0.1054963841459946</c:v>
                </c:pt>
                <c:pt idx="22325" formatCode="0.0%">
                  <c:v>0.10575548845872747</c:v>
                </c:pt>
                <c:pt idx="22326" formatCode="0.0%">
                  <c:v>0.10631302399946126</c:v>
                </c:pt>
                <c:pt idx="22327" formatCode="0.0%">
                  <c:v>0.1069544618226604</c:v>
                </c:pt>
                <c:pt idx="22328" formatCode="0.0%">
                  <c:v>0.10863782566389733</c:v>
                </c:pt>
                <c:pt idx="22329" formatCode="0.0%">
                  <c:v>0.10713579014433175</c:v>
                </c:pt>
                <c:pt idx="22330" formatCode="0.0%">
                  <c:v>0.10653234756393036</c:v>
                </c:pt>
                <c:pt idx="22331" formatCode="0.0%">
                  <c:v>0.1054813508514823</c:v>
                </c:pt>
                <c:pt idx="22332" formatCode="0.0%">
                  <c:v>0.10709094380408053</c:v>
                </c:pt>
                <c:pt idx="22333" formatCode="0.0%">
                  <c:v>0.10687955669373411</c:v>
                </c:pt>
                <c:pt idx="22334" formatCode="0.0%">
                  <c:v>0.10339535628037047</c:v>
                </c:pt>
                <c:pt idx="22335" formatCode="0.0%">
                  <c:v>0.10059025148763089</c:v>
                </c:pt>
                <c:pt idx="22336" formatCode="0.0%">
                  <c:v>9.7806285839669063E-2</c:v>
                </c:pt>
                <c:pt idx="22337" formatCode="0.0%">
                  <c:v>9.7265955245256108E-2</c:v>
                </c:pt>
                <c:pt idx="22338" formatCode="0.0%">
                  <c:v>6.5962825148358772E-2</c:v>
                </c:pt>
                <c:pt idx="22339" formatCode="0.0%">
                  <c:v>7.6907466837513205E-2</c:v>
                </c:pt>
                <c:pt idx="22340" formatCode="0.0%">
                  <c:v>6.9720756394801311E-2</c:v>
                </c:pt>
                <c:pt idx="22341" formatCode="0.0%">
                  <c:v>7.1182714920533754E-2</c:v>
                </c:pt>
                <c:pt idx="22342" formatCode="0.0%">
                  <c:v>7.1019476747509441E-2</c:v>
                </c:pt>
                <c:pt idx="22343" formatCode="0.0%">
                  <c:v>7.2178338980607645E-2</c:v>
                </c:pt>
                <c:pt idx="22344" formatCode="0.0%">
                  <c:v>7.8714643301768458E-2</c:v>
                </c:pt>
                <c:pt idx="22345" formatCode="0.0%">
                  <c:v>7.8128757576617872E-2</c:v>
                </c:pt>
                <c:pt idx="22346" formatCode="0.0%">
                  <c:v>7.8454991757079817E-2</c:v>
                </c:pt>
                <c:pt idx="22347" formatCode="0.0%">
                  <c:v>7.7030785945289462E-2</c:v>
                </c:pt>
                <c:pt idx="22348" formatCode="0.0%">
                  <c:v>7.4492363966981501E-2</c:v>
                </c:pt>
                <c:pt idx="22349" formatCode="0.0%">
                  <c:v>7.5844358268171444E-2</c:v>
                </c:pt>
                <c:pt idx="22350" formatCode="0.0%">
                  <c:v>7.6706260649564859E-2</c:v>
                </c:pt>
                <c:pt idx="22351" formatCode="0.0%">
                  <c:v>7.606725611728779E-2</c:v>
                </c:pt>
                <c:pt idx="22352" formatCode="0.0%">
                  <c:v>7.227025116249236E-2</c:v>
                </c:pt>
                <c:pt idx="22353" formatCode="0.0%">
                  <c:v>8.0363158761503628E-2</c:v>
                </c:pt>
                <c:pt idx="22354" formatCode="0.0%">
                  <c:v>7.936205492131343E-2</c:v>
                </c:pt>
                <c:pt idx="22355" formatCode="0.0%">
                  <c:v>8.0333050509475534E-2</c:v>
                </c:pt>
                <c:pt idx="22356" formatCode="0.0%">
                  <c:v>8.4410901302570576E-2</c:v>
                </c:pt>
                <c:pt idx="22357" formatCode="0.0%">
                  <c:v>8.4344731021496491E-2</c:v>
                </c:pt>
                <c:pt idx="22358" formatCode="0.0%">
                  <c:v>8.438035139401949E-2</c:v>
                </c:pt>
                <c:pt idx="22359" formatCode="0.0%">
                  <c:v>7.2636869696764347E-2</c:v>
                </c:pt>
                <c:pt idx="22360" formatCode="0.0%">
                  <c:v>7.4026051819796684E-2</c:v>
                </c:pt>
                <c:pt idx="22361" formatCode="0.0%">
                  <c:v>7.1207910814689343E-2</c:v>
                </c:pt>
                <c:pt idx="22362" formatCode="0.0%">
                  <c:v>7.1603813036647604E-2</c:v>
                </c:pt>
                <c:pt idx="22363" formatCode="0.0%">
                  <c:v>6.8322821868922939E-2</c:v>
                </c:pt>
                <c:pt idx="22364" formatCode="0.0%">
                  <c:v>6.1428393241125666E-2</c:v>
                </c:pt>
                <c:pt idx="22365" formatCode="0.0%">
                  <c:v>6.120422407836959E-2</c:v>
                </c:pt>
                <c:pt idx="22366" formatCode="0.0%">
                  <c:v>6.1042397204541243E-2</c:v>
                </c:pt>
                <c:pt idx="22367" formatCode="0.0%">
                  <c:v>6.2229074510879334E-2</c:v>
                </c:pt>
                <c:pt idx="22368" formatCode="0.0%">
                  <c:v>6.2028382578724721E-2</c:v>
                </c:pt>
                <c:pt idx="22369" formatCode="0.0%">
                  <c:v>6.2157145518375943E-2</c:v>
                </c:pt>
                <c:pt idx="22370" formatCode="0.0%">
                  <c:v>6.5865291826454272E-2</c:v>
                </c:pt>
                <c:pt idx="22371" formatCode="0.0%">
                  <c:v>7.1131084028127178E-2</c:v>
                </c:pt>
                <c:pt idx="22372" formatCode="0.0%">
                  <c:v>7.1091201282354993E-2</c:v>
                </c:pt>
                <c:pt idx="22373" formatCode="0.0%">
                  <c:v>6.3014617611429305E-2</c:v>
                </c:pt>
                <c:pt idx="22374" formatCode="0.0%">
                  <c:v>6.7672971282142044E-2</c:v>
                </c:pt>
                <c:pt idx="22375" formatCode="0.0%">
                  <c:v>6.4997299838758224E-2</c:v>
                </c:pt>
                <c:pt idx="22376" formatCode="0.0%">
                  <c:v>5.8533999120529284E-2</c:v>
                </c:pt>
                <c:pt idx="22377" formatCode="0.0%">
                  <c:v>5.5194526274937081E-2</c:v>
                </c:pt>
                <c:pt idx="22378" formatCode="0.0%">
                  <c:v>6.0363996535079567E-2</c:v>
                </c:pt>
                <c:pt idx="22379" formatCode="0.0%">
                  <c:v>6.0097640556622596E-2</c:v>
                </c:pt>
                <c:pt idx="22380" formatCode="0.0%">
                  <c:v>5.8319074183269239E-2</c:v>
                </c:pt>
                <c:pt idx="22381" formatCode="0.0%">
                  <c:v>5.8287412998907398E-2</c:v>
                </c:pt>
                <c:pt idx="22382" formatCode="0.0%">
                  <c:v>6.0652251388638154E-2</c:v>
                </c:pt>
                <c:pt idx="22383" formatCode="0.0%">
                  <c:v>6.0469083270070959E-2</c:v>
                </c:pt>
                <c:pt idx="22384" formatCode="0.0%">
                  <c:v>6.2268245342066805E-2</c:v>
                </c:pt>
                <c:pt idx="22385" formatCode="0.0%">
                  <c:v>6.1030410250293085E-2</c:v>
                </c:pt>
                <c:pt idx="22386" formatCode="0.0%">
                  <c:v>6.2260833220269533E-2</c:v>
                </c:pt>
                <c:pt idx="22387" formatCode="0.0%">
                  <c:v>5.9880755031687251E-2</c:v>
                </c:pt>
                <c:pt idx="22388" formatCode="0.0%">
                  <c:v>5.9600772595420029E-2</c:v>
                </c:pt>
                <c:pt idx="22389" formatCode="0.0%">
                  <c:v>5.9059389203677322E-2</c:v>
                </c:pt>
                <c:pt idx="22390" formatCode="0.0%">
                  <c:v>5.7748447931326774E-2</c:v>
                </c:pt>
                <c:pt idx="22391" formatCode="0.0%">
                  <c:v>5.3007109372984945E-2</c:v>
                </c:pt>
                <c:pt idx="22392" formatCode="0.0%">
                  <c:v>5.2401010307909876E-2</c:v>
                </c:pt>
                <c:pt idx="22393" formatCode="0.0%">
                  <c:v>5.1686977813235398E-2</c:v>
                </c:pt>
                <c:pt idx="22394" formatCode="0.0%">
                  <c:v>4.6076817908360233E-2</c:v>
                </c:pt>
                <c:pt idx="22395" formatCode="0.0%">
                  <c:v>6.1123767183872212E-2</c:v>
                </c:pt>
                <c:pt idx="22396" formatCode="0.0%">
                  <c:v>6.7661965169134211E-2</c:v>
                </c:pt>
                <c:pt idx="22397" formatCode="0.0%">
                  <c:v>6.7683558915757433E-2</c:v>
                </c:pt>
                <c:pt idx="22398" formatCode="0.0%">
                  <c:v>6.7584734182760245E-2</c:v>
                </c:pt>
                <c:pt idx="22399" formatCode="0.0%">
                  <c:v>6.8235355762661432E-2</c:v>
                </c:pt>
                <c:pt idx="22400" formatCode="0.0%">
                  <c:v>6.949132403665266E-2</c:v>
                </c:pt>
                <c:pt idx="22401" formatCode="0.0%">
                  <c:v>6.947593983530484E-2</c:v>
                </c:pt>
                <c:pt idx="22402" formatCode="0.0%">
                  <c:v>6.8018702794822111E-2</c:v>
                </c:pt>
                <c:pt idx="22403" formatCode="0.0%">
                  <c:v>6.7606564078894454E-2</c:v>
                </c:pt>
                <c:pt idx="22404" formatCode="0.0%">
                  <c:v>6.7748877255620191E-2</c:v>
                </c:pt>
                <c:pt idx="22405" formatCode="0.0%">
                  <c:v>7.2086889730053574E-2</c:v>
                </c:pt>
                <c:pt idx="22406" formatCode="0.0%">
                  <c:v>7.106869237640874E-2</c:v>
                </c:pt>
                <c:pt idx="22407" formatCode="0.0%">
                  <c:v>7.1216405366535868E-2</c:v>
                </c:pt>
                <c:pt idx="22408" formatCode="0.0%">
                  <c:v>7.1717423033053243E-2</c:v>
                </c:pt>
                <c:pt idx="22409" formatCode="0.0%">
                  <c:v>8.2056875661547291E-2</c:v>
                </c:pt>
                <c:pt idx="22410" formatCode="0.0%">
                  <c:v>8.2431510141882297E-2</c:v>
                </c:pt>
                <c:pt idx="22411" formatCode="0.0%">
                  <c:v>8.2426500329584637E-2</c:v>
                </c:pt>
                <c:pt idx="22412" formatCode="0.0%">
                  <c:v>8.2139747726515902E-2</c:v>
                </c:pt>
                <c:pt idx="22413" formatCode="0.0%">
                  <c:v>8.1960087399970863E-2</c:v>
                </c:pt>
                <c:pt idx="22414" formatCode="0.0%">
                  <c:v>8.6099790875475285E-2</c:v>
                </c:pt>
                <c:pt idx="22415" formatCode="0.0%">
                  <c:v>6.9593569584360776E-2</c:v>
                </c:pt>
                <c:pt idx="22416" formatCode="0.0%">
                  <c:v>6.7960959045827121E-2</c:v>
                </c:pt>
                <c:pt idx="22417" formatCode="0.0%">
                  <c:v>6.8238518309212473E-2</c:v>
                </c:pt>
                <c:pt idx="22418" formatCode="0.0%">
                  <c:v>6.7574497727015542E-2</c:v>
                </c:pt>
                <c:pt idx="22419" formatCode="0.0%">
                  <c:v>6.6945023398626041E-2</c:v>
                </c:pt>
                <c:pt idx="22420" formatCode="0.0%">
                  <c:v>6.7323580063289257E-2</c:v>
                </c:pt>
                <c:pt idx="22421" formatCode="0.0%">
                  <c:v>6.7666754399217655E-2</c:v>
                </c:pt>
                <c:pt idx="22422" formatCode="0.0%">
                  <c:v>6.6472324244773437E-2</c:v>
                </c:pt>
                <c:pt idx="22423" formatCode="0.0%">
                  <c:v>6.6528634139373863E-2</c:v>
                </c:pt>
                <c:pt idx="22424" formatCode="0.0%">
                  <c:v>6.5701836508637285E-2</c:v>
                </c:pt>
                <c:pt idx="22425" formatCode="0.0%">
                  <c:v>5.8359448372293884E-2</c:v>
                </c:pt>
                <c:pt idx="22426" formatCode="0.0%">
                  <c:v>6.2088673199113022E-2</c:v>
                </c:pt>
                <c:pt idx="22427" formatCode="0.0%">
                  <c:v>7.0956491364836297E-2</c:v>
                </c:pt>
                <c:pt idx="22428" formatCode="0.0%">
                  <c:v>7.1260340933020028E-2</c:v>
                </c:pt>
                <c:pt idx="22429" formatCode="0.0%">
                  <c:v>5.6232998497958618E-2</c:v>
                </c:pt>
                <c:pt idx="22430" formatCode="0.0%">
                  <c:v>6.2163095813523112E-2</c:v>
                </c:pt>
                <c:pt idx="22431" formatCode="0.0%">
                  <c:v>6.3067552132405544E-2</c:v>
                </c:pt>
                <c:pt idx="22432" formatCode="0.0%">
                  <c:v>7.3500213346822954E-2</c:v>
                </c:pt>
                <c:pt idx="22433" formatCode="0.0%">
                  <c:v>7.5656071364571392E-2</c:v>
                </c:pt>
                <c:pt idx="22434" formatCode="0.0%">
                  <c:v>7.2100392212049252E-2</c:v>
                </c:pt>
                <c:pt idx="22435" formatCode="0.0%">
                  <c:v>7.2078507262098371E-2</c:v>
                </c:pt>
                <c:pt idx="22436" formatCode="0.0%">
                  <c:v>7.2036478927404779E-2</c:v>
                </c:pt>
                <c:pt idx="22437" formatCode="0.0%">
                  <c:v>7.1518581302882869E-2</c:v>
                </c:pt>
                <c:pt idx="22438" formatCode="0.0%">
                  <c:v>7.1077431807957087E-2</c:v>
                </c:pt>
                <c:pt idx="22439" formatCode="0.0%">
                  <c:v>7.1415401221370106E-2</c:v>
                </c:pt>
                <c:pt idx="22440" formatCode="0.0%">
                  <c:v>7.0105652112962755E-2</c:v>
                </c:pt>
                <c:pt idx="22441" formatCode="0.0%">
                  <c:v>7.0987560555775264E-2</c:v>
                </c:pt>
                <c:pt idx="22442" formatCode="0.0%">
                  <c:v>7.077789686864161E-2</c:v>
                </c:pt>
                <c:pt idx="22443" formatCode="0.0%">
                  <c:v>7.1113673340024983E-2</c:v>
                </c:pt>
                <c:pt idx="22444" formatCode="0.0%">
                  <c:v>7.0608161286321858E-2</c:v>
                </c:pt>
                <c:pt idx="22445" formatCode="0.0%">
                  <c:v>6.9403130419469911E-2</c:v>
                </c:pt>
                <c:pt idx="22446" formatCode="0.0%">
                  <c:v>6.3703409616598372E-2</c:v>
                </c:pt>
                <c:pt idx="22447" formatCode="0.0%">
                  <c:v>5.9218028049957371E-2</c:v>
                </c:pt>
                <c:pt idx="22448" formatCode="0.0%">
                  <c:v>5.7719572354254338E-2</c:v>
                </c:pt>
                <c:pt idx="22449" formatCode="0.0%">
                  <c:v>9.0093032106310034E-2</c:v>
                </c:pt>
                <c:pt idx="22450" formatCode="0.0%">
                  <c:v>8.7038914280567606E-2</c:v>
                </c:pt>
                <c:pt idx="22451" formatCode="0.0%">
                  <c:v>8.9099874903798393E-2</c:v>
                </c:pt>
                <c:pt idx="22452" formatCode="0.0%">
                  <c:v>8.2653998199663917E-2</c:v>
                </c:pt>
                <c:pt idx="22453" formatCode="0.0%">
                  <c:v>8.013929169478963E-2</c:v>
                </c:pt>
                <c:pt idx="22454" formatCode="0.0%">
                  <c:v>8.0493086378253129E-2</c:v>
                </c:pt>
                <c:pt idx="22455" formatCode="0.0%">
                  <c:v>8.1787862144633239E-2</c:v>
                </c:pt>
                <c:pt idx="22456" formatCode="0.0%">
                  <c:v>8.1279102981805448E-2</c:v>
                </c:pt>
                <c:pt idx="22457" formatCode="0.0%">
                  <c:v>8.1433528801107116E-2</c:v>
                </c:pt>
                <c:pt idx="22458" formatCode="0.0%">
                  <c:v>8.1462146664427124E-2</c:v>
                </c:pt>
                <c:pt idx="22459" formatCode="0.0%">
                  <c:v>8.4954141111455383E-2</c:v>
                </c:pt>
                <c:pt idx="22460" formatCode="0.0%">
                  <c:v>8.5533154100146253E-2</c:v>
                </c:pt>
                <c:pt idx="22461" formatCode="0.0%">
                  <c:v>8.5090601841076224E-2</c:v>
                </c:pt>
                <c:pt idx="22462" formatCode="0.0%">
                  <c:v>8.5992957049048468E-2</c:v>
                </c:pt>
                <c:pt idx="22463" formatCode="0.0%">
                  <c:v>8.58270630362791E-2</c:v>
                </c:pt>
                <c:pt idx="22464" formatCode="0.0%">
                  <c:v>8.5831034622543878E-2</c:v>
                </c:pt>
                <c:pt idx="22465" formatCode="0.0%">
                  <c:v>8.5368180277662811E-2</c:v>
                </c:pt>
                <c:pt idx="22466" formatCode="0.0%">
                  <c:v>8.5211375717041835E-2</c:v>
                </c:pt>
                <c:pt idx="22467" formatCode="0.0%">
                  <c:v>8.5053506733425363E-2</c:v>
                </c:pt>
                <c:pt idx="22468" formatCode="0.0%">
                  <c:v>8.5131541422590773E-2</c:v>
                </c:pt>
                <c:pt idx="22469" formatCode="0.0%">
                  <c:v>4.8470672988595268E-2</c:v>
                </c:pt>
                <c:pt idx="22470" formatCode="0.0%">
                  <c:v>4.8011507365472043E-2</c:v>
                </c:pt>
                <c:pt idx="22471" formatCode="0.0%">
                  <c:v>5.057810496523784E-2</c:v>
                </c:pt>
                <c:pt idx="22472" formatCode="0.0%">
                  <c:v>5.6384490280221973E-2</c:v>
                </c:pt>
                <c:pt idx="22473" formatCode="0.0%">
                  <c:v>5.6499964787583276E-2</c:v>
                </c:pt>
                <c:pt idx="22474" formatCode="0.0%">
                  <c:v>5.6279027412156721E-2</c:v>
                </c:pt>
                <c:pt idx="22475" formatCode="0.0%">
                  <c:v>5.4598584981281305E-2</c:v>
                </c:pt>
                <c:pt idx="22476" formatCode="0.0%">
                  <c:v>5.4598374039581392E-2</c:v>
                </c:pt>
                <c:pt idx="22477" formatCode="0.0%">
                  <c:v>6.2363266950393403E-2</c:v>
                </c:pt>
                <c:pt idx="22478" formatCode="0.0%">
                  <c:v>6.9405212601817048E-2</c:v>
                </c:pt>
                <c:pt idx="22479" formatCode="0.0%">
                  <c:v>7.1651295721411254E-2</c:v>
                </c:pt>
                <c:pt idx="22480" formatCode="0.0%">
                  <c:v>7.0483850568967624E-2</c:v>
                </c:pt>
                <c:pt idx="22481" formatCode="0.0%">
                  <c:v>7.0998748783872634E-2</c:v>
                </c:pt>
                <c:pt idx="22482" formatCode="0.0%">
                  <c:v>7.0502152517211106E-2</c:v>
                </c:pt>
                <c:pt idx="22483" formatCode="0.0%">
                  <c:v>7.7797360688248079E-2</c:v>
                </c:pt>
                <c:pt idx="22484" formatCode="0.0%">
                  <c:v>8.1519105854611057E-2</c:v>
                </c:pt>
                <c:pt idx="22485" formatCode="0.0%">
                  <c:v>8.157106800319068E-2</c:v>
                </c:pt>
                <c:pt idx="22486" formatCode="0.0%">
                  <c:v>8.154565307155176E-2</c:v>
                </c:pt>
                <c:pt idx="22487" formatCode="0.0%">
                  <c:v>8.4169169358937077E-2</c:v>
                </c:pt>
                <c:pt idx="22488" formatCode="0.0%">
                  <c:v>8.430792251905643E-2</c:v>
                </c:pt>
                <c:pt idx="22489" formatCode="0.0%">
                  <c:v>8.5209897575130047E-2</c:v>
                </c:pt>
                <c:pt idx="22490" formatCode="0.0%">
                  <c:v>8.5232116372439867E-2</c:v>
                </c:pt>
                <c:pt idx="22491" formatCode="0.0%">
                  <c:v>8.0137583634413728E-2</c:v>
                </c:pt>
                <c:pt idx="22492" formatCode="0.0%">
                  <c:v>7.7850418516564199E-2</c:v>
                </c:pt>
                <c:pt idx="22493" formatCode="0.0%">
                  <c:v>7.7767863817743185E-2</c:v>
                </c:pt>
                <c:pt idx="22494" formatCode="0.0%">
                  <c:v>7.7750104817749938E-2</c:v>
                </c:pt>
                <c:pt idx="22495" formatCode="0.0%">
                  <c:v>7.7956587790463383E-2</c:v>
                </c:pt>
                <c:pt idx="22496" formatCode="0.0%">
                  <c:v>7.8357798595218006E-2</c:v>
                </c:pt>
                <c:pt idx="22497" formatCode="0.0%">
                  <c:v>7.1068299534792878E-2</c:v>
                </c:pt>
                <c:pt idx="22498" formatCode="0.0%">
                  <c:v>6.5488903209114047E-2</c:v>
                </c:pt>
                <c:pt idx="22499" formatCode="0.0%">
                  <c:v>5.6135824227805595E-2</c:v>
                </c:pt>
                <c:pt idx="22500" formatCode="0.0%">
                  <c:v>5.6462194924547314E-2</c:v>
                </c:pt>
                <c:pt idx="22501" formatCode="0.0%">
                  <c:v>5.6508052175107515E-2</c:v>
                </c:pt>
                <c:pt idx="22502" formatCode="0.0%">
                  <c:v>5.6501008093172177E-2</c:v>
                </c:pt>
                <c:pt idx="22503" formatCode="0.0%">
                  <c:v>4.3244893053585386E-2</c:v>
                </c:pt>
                <c:pt idx="22504" formatCode="0.0%">
                  <c:v>3.893688112920185E-2</c:v>
                </c:pt>
                <c:pt idx="22505" formatCode="0.0%">
                  <c:v>3.8989464087537166E-2</c:v>
                </c:pt>
                <c:pt idx="22506" formatCode="0.0%">
                  <c:v>4.0435350009310145E-2</c:v>
                </c:pt>
                <c:pt idx="22507" formatCode="0.0%">
                  <c:v>3.3160623355256665E-2</c:v>
                </c:pt>
                <c:pt idx="22508" formatCode="0.0%">
                  <c:v>6.2977821825342672E-2</c:v>
                </c:pt>
                <c:pt idx="22509" formatCode="0.0%">
                  <c:v>6.061441641080819E-2</c:v>
                </c:pt>
                <c:pt idx="22510" formatCode="0.0%">
                  <c:v>7.0918122564467681E-2</c:v>
                </c:pt>
                <c:pt idx="22511" formatCode="0.0%">
                  <c:v>7.0930282911915138E-2</c:v>
                </c:pt>
                <c:pt idx="22512" formatCode="0.0%">
                  <c:v>6.8375517991499435E-2</c:v>
                </c:pt>
                <c:pt idx="22513" formatCode="0.0%">
                  <c:v>8.7637509864332816E-2</c:v>
                </c:pt>
                <c:pt idx="22514" formatCode="0.0%">
                  <c:v>8.7677491312011205E-2</c:v>
                </c:pt>
                <c:pt idx="22515" formatCode="0.0%">
                  <c:v>8.799769788669097E-2</c:v>
                </c:pt>
                <c:pt idx="22516" formatCode="0.0%">
                  <c:v>9.514706893536419E-2</c:v>
                </c:pt>
                <c:pt idx="22517" formatCode="0.0%">
                  <c:v>9.5664968410747078E-2</c:v>
                </c:pt>
                <c:pt idx="22518" formatCode="0.0%">
                  <c:v>9.5788919687342877E-2</c:v>
                </c:pt>
                <c:pt idx="22519" formatCode="0.0%">
                  <c:v>9.6135058678822355E-2</c:v>
                </c:pt>
                <c:pt idx="22520" formatCode="0.0%">
                  <c:v>9.6208799099146008E-2</c:v>
                </c:pt>
                <c:pt idx="22521" formatCode="0.0%">
                  <c:v>9.5717942332103415E-2</c:v>
                </c:pt>
                <c:pt idx="22522" formatCode="0.0%">
                  <c:v>9.7443722525875562E-2</c:v>
                </c:pt>
                <c:pt idx="22523" formatCode="0.0%">
                  <c:v>9.9533859471513622E-2</c:v>
                </c:pt>
                <c:pt idx="22524" formatCode="0.0%">
                  <c:v>9.9557989627964819E-2</c:v>
                </c:pt>
                <c:pt idx="22525" formatCode="0.0%">
                  <c:v>0.1028590701204368</c:v>
                </c:pt>
                <c:pt idx="22526" formatCode="0.0%">
                  <c:v>0.10334496772342538</c:v>
                </c:pt>
                <c:pt idx="22527" formatCode="0.0%">
                  <c:v>0.10334292641467607</c:v>
                </c:pt>
                <c:pt idx="22528" formatCode="0.0%">
                  <c:v>8.8536810865080848E-2</c:v>
                </c:pt>
                <c:pt idx="22529" formatCode="0.0%">
                  <c:v>9.580883010634722E-2</c:v>
                </c:pt>
                <c:pt idx="22530" formatCode="0.0%">
                  <c:v>9.0233956153547887E-2</c:v>
                </c:pt>
                <c:pt idx="22531" formatCode="0.0%">
                  <c:v>9.0137938893081013E-2</c:v>
                </c:pt>
                <c:pt idx="22532" formatCode="0.0%">
                  <c:v>9.0307763671991781E-2</c:v>
                </c:pt>
                <c:pt idx="22533" formatCode="0.0%">
                  <c:v>6.7334213897509945E-2</c:v>
                </c:pt>
                <c:pt idx="22534" formatCode="0.0%">
                  <c:v>6.6224183606473766E-2</c:v>
                </c:pt>
                <c:pt idx="22535" formatCode="0.0%">
                  <c:v>6.6228914696130167E-2</c:v>
                </c:pt>
                <c:pt idx="22536" formatCode="0.0%">
                  <c:v>5.8536945546501427E-2</c:v>
                </c:pt>
                <c:pt idx="22537" formatCode="0.0%">
                  <c:v>5.8128839792133978E-2</c:v>
                </c:pt>
                <c:pt idx="22538" formatCode="0.0%">
                  <c:v>5.6918769808071167E-2</c:v>
                </c:pt>
                <c:pt idx="22539" formatCode="0.0%">
                  <c:v>5.8228456588555369E-2</c:v>
                </c:pt>
                <c:pt idx="22540" formatCode="0.0%">
                  <c:v>5.8303576530504116E-2</c:v>
                </c:pt>
                <c:pt idx="22541" formatCode="0.0%">
                  <c:v>5.9262642945903804E-2</c:v>
                </c:pt>
                <c:pt idx="22542" formatCode="0.0%">
                  <c:v>5.7905399346035231E-2</c:v>
                </c:pt>
                <c:pt idx="22543" formatCode="0.0%">
                  <c:v>5.6181381878498818E-2</c:v>
                </c:pt>
                <c:pt idx="22544" formatCode="0.0%">
                  <c:v>5.7030022156080558E-2</c:v>
                </c:pt>
                <c:pt idx="22545" formatCode="0.0%">
                  <c:v>4.7096271259801391E-2</c:v>
                </c:pt>
                <c:pt idx="22546" formatCode="0.0%">
                  <c:v>4.67273721023823E-2</c:v>
                </c:pt>
                <c:pt idx="22547" formatCode="0.0%">
                  <c:v>4.8567322122420827E-2</c:v>
                </c:pt>
                <c:pt idx="22548" formatCode="0.0%">
                  <c:v>4.822258971261878E-2</c:v>
                </c:pt>
                <c:pt idx="22549" formatCode="0.0%">
                  <c:v>3.6163996612833378E-2</c:v>
                </c:pt>
                <c:pt idx="22550" formatCode="0.0%">
                  <c:v>3.5495046984517734E-2</c:v>
                </c:pt>
                <c:pt idx="22551" formatCode="0.0%">
                  <c:v>3.5565289994008049E-2</c:v>
                </c:pt>
                <c:pt idx="22552" formatCode="0.0%">
                  <c:v>3.6109428122562098E-2</c:v>
                </c:pt>
                <c:pt idx="22553" formatCode="0.0%">
                  <c:v>3.6006268399667307E-2</c:v>
                </c:pt>
                <c:pt idx="22554" formatCode="0.0%">
                  <c:v>3.6065545086263973E-2</c:v>
                </c:pt>
                <c:pt idx="22555" formatCode="0.0%">
                  <c:v>3.6091347823467956E-2</c:v>
                </c:pt>
                <c:pt idx="22556" formatCode="0.0%">
                  <c:v>3.6077253558374579E-2</c:v>
                </c:pt>
                <c:pt idx="22557" formatCode="0.0%">
                  <c:v>3.2836896218757343E-2</c:v>
                </c:pt>
                <c:pt idx="22558" formatCode="0.0%">
                  <c:v>3.5516540331809947E-2</c:v>
                </c:pt>
                <c:pt idx="22559" formatCode="0.0%">
                  <c:v>3.8351618733039966E-2</c:v>
                </c:pt>
                <c:pt idx="22560" formatCode="0.0%">
                  <c:v>3.8059883337324352E-2</c:v>
                </c:pt>
                <c:pt idx="22561" formatCode="0.0%">
                  <c:v>4.2406803633695332E-2</c:v>
                </c:pt>
                <c:pt idx="22562" formatCode="0.0%">
                  <c:v>4.241189740738379E-2</c:v>
                </c:pt>
                <c:pt idx="22563" formatCode="0.0%">
                  <c:v>4.8455874854358774E-2</c:v>
                </c:pt>
                <c:pt idx="22564" formatCode="0.0%">
                  <c:v>4.9788879212551693E-2</c:v>
                </c:pt>
                <c:pt idx="22565" formatCode="0.0%">
                  <c:v>4.9554532187193162E-2</c:v>
                </c:pt>
                <c:pt idx="22566" formatCode="0.0%">
                  <c:v>4.9611134520245001E-2</c:v>
                </c:pt>
                <c:pt idx="22567" formatCode="0.0%">
                  <c:v>4.6249016723361937E-2</c:v>
                </c:pt>
                <c:pt idx="22568" formatCode="0.0%">
                  <c:v>4.6681390505613353E-2</c:v>
                </c:pt>
                <c:pt idx="22569" formatCode="0.0%">
                  <c:v>4.5714831728152924E-2</c:v>
                </c:pt>
                <c:pt idx="22570" formatCode="0.0%">
                  <c:v>4.5551081552683725E-2</c:v>
                </c:pt>
                <c:pt idx="22571" formatCode="0.0%">
                  <c:v>4.5461754337520463E-2</c:v>
                </c:pt>
                <c:pt idx="22572" formatCode="0.0%">
                  <c:v>4.7502332794942578E-2</c:v>
                </c:pt>
                <c:pt idx="22573" formatCode="0.0%">
                  <c:v>4.7809621235915437E-2</c:v>
                </c:pt>
                <c:pt idx="22574" formatCode="0.0%">
                  <c:v>4.7635434859109912E-2</c:v>
                </c:pt>
                <c:pt idx="22575" formatCode="0.0%">
                  <c:v>4.8682878022374622E-2</c:v>
                </c:pt>
                <c:pt idx="22576" formatCode="0.0%">
                  <c:v>5.2981482802031278E-2</c:v>
                </c:pt>
                <c:pt idx="22577" formatCode="0.0%">
                  <c:v>6.0291036751266874E-2</c:v>
                </c:pt>
                <c:pt idx="22578" formatCode="0.0%">
                  <c:v>5.8611993039732933E-2</c:v>
                </c:pt>
                <c:pt idx="22579" formatCode="0.0%">
                  <c:v>5.6732951252396441E-2</c:v>
                </c:pt>
                <c:pt idx="22580" formatCode="0.0%">
                  <c:v>6.0732567486768668E-2</c:v>
                </c:pt>
                <c:pt idx="22581" formatCode="0.0%">
                  <c:v>5.7755959272049281E-2</c:v>
                </c:pt>
                <c:pt idx="22582" formatCode="0.0%">
                  <c:v>5.7911962919412668E-2</c:v>
                </c:pt>
                <c:pt idx="22583" formatCode="0.0%">
                  <c:v>5.1313846486258301E-2</c:v>
                </c:pt>
                <c:pt idx="22584" formatCode="0.0%">
                  <c:v>5.9362830835352327E-2</c:v>
                </c:pt>
                <c:pt idx="22585" formatCode="0.0%">
                  <c:v>5.9574419892691112E-2</c:v>
                </c:pt>
                <c:pt idx="22586" formatCode="0.0%">
                  <c:v>6.4802732552578596E-2</c:v>
                </c:pt>
                <c:pt idx="22587" formatCode="0.0%">
                  <c:v>6.5778944790362712E-2</c:v>
                </c:pt>
                <c:pt idx="22588" formatCode="0.0%">
                  <c:v>6.5838248172003205E-2</c:v>
                </c:pt>
                <c:pt idx="22589" formatCode="0.0%">
                  <c:v>6.7927207339369702E-2</c:v>
                </c:pt>
                <c:pt idx="22590" formatCode="0.0%">
                  <c:v>6.7914170366681181E-2</c:v>
                </c:pt>
                <c:pt idx="22591" formatCode="0.0%">
                  <c:v>6.8321453958510303E-2</c:v>
                </c:pt>
                <c:pt idx="22592" formatCode="0.0%">
                  <c:v>6.7988460927461206E-2</c:v>
                </c:pt>
                <c:pt idx="22593" formatCode="0.0%">
                  <c:v>6.7804233900964128E-2</c:v>
                </c:pt>
                <c:pt idx="22594" formatCode="0.0%">
                  <c:v>6.7778741790261166E-2</c:v>
                </c:pt>
                <c:pt idx="22595" formatCode="0.0%">
                  <c:v>6.6708944137798459E-2</c:v>
                </c:pt>
                <c:pt idx="22596" formatCode="0.0%">
                  <c:v>6.4807474427917136E-2</c:v>
                </c:pt>
                <c:pt idx="22597" formatCode="0.0%">
                  <c:v>6.5880825933570766E-2</c:v>
                </c:pt>
                <c:pt idx="22598" formatCode="0.0%">
                  <c:v>6.4985117722568125E-2</c:v>
                </c:pt>
                <c:pt idx="22599" formatCode="0.0%">
                  <c:v>6.7673158073230891E-2</c:v>
                </c:pt>
                <c:pt idx="22600" formatCode="0.0%">
                  <c:v>6.6007840458964392E-2</c:v>
                </c:pt>
                <c:pt idx="22601" formatCode="0.0%">
                  <c:v>6.5471796243370947E-2</c:v>
                </c:pt>
                <c:pt idx="22602" formatCode="0.0%">
                  <c:v>6.5875643366705428E-2</c:v>
                </c:pt>
                <c:pt idx="22603" formatCode="0.0%">
                  <c:v>6.6178621010392361E-2</c:v>
                </c:pt>
                <c:pt idx="22604" formatCode="0.0%">
                  <c:v>5.8464043757371173E-2</c:v>
                </c:pt>
                <c:pt idx="22605" formatCode="0.0%">
                  <c:v>5.8278782846598771E-2</c:v>
                </c:pt>
                <c:pt idx="22606" formatCode="0.0%">
                  <c:v>5.6245271617557664E-2</c:v>
                </c:pt>
                <c:pt idx="22607" formatCode="0.0%">
                  <c:v>6.1742007911493715E-2</c:v>
                </c:pt>
                <c:pt idx="22608" formatCode="0.0%">
                  <c:v>6.4050441732869709E-2</c:v>
                </c:pt>
                <c:pt idx="22609" formatCode="0.0%">
                  <c:v>6.1703276784663121E-2</c:v>
                </c:pt>
                <c:pt idx="22610" formatCode="0.0%">
                  <c:v>6.3967038995419376E-2</c:v>
                </c:pt>
                <c:pt idx="22611" formatCode="0.0%">
                  <c:v>6.3912851499712098E-2</c:v>
                </c:pt>
                <c:pt idx="22612" formatCode="0.0%">
                  <c:v>6.2644365163964974E-2</c:v>
                </c:pt>
                <c:pt idx="22613" formatCode="0.0%">
                  <c:v>6.3277568011328986E-2</c:v>
                </c:pt>
                <c:pt idx="22614" formatCode="0.0%">
                  <c:v>6.608843394954933E-2</c:v>
                </c:pt>
                <c:pt idx="22615" formatCode="0.0%">
                  <c:v>6.7577507958903188E-2</c:v>
                </c:pt>
                <c:pt idx="22616" formatCode="0.0%">
                  <c:v>6.691947674981534E-2</c:v>
                </c:pt>
                <c:pt idx="22617" formatCode="0.0%">
                  <c:v>6.7509659938251906E-2</c:v>
                </c:pt>
                <c:pt idx="22618" formatCode="0.0%">
                  <c:v>6.7884273703375603E-2</c:v>
                </c:pt>
                <c:pt idx="22619" formatCode="0.0%">
                  <c:v>6.5483391747935119E-2</c:v>
                </c:pt>
                <c:pt idx="22620" formatCode="0.0%">
                  <c:v>6.7315997748761874E-2</c:v>
                </c:pt>
                <c:pt idx="22621" formatCode="0.0%">
                  <c:v>6.7289407075997329E-2</c:v>
                </c:pt>
                <c:pt idx="22622" formatCode="0.0%">
                  <c:v>6.7355772170433051E-2</c:v>
                </c:pt>
                <c:pt idx="22623" formatCode="0.0%">
                  <c:v>6.6345969459052703E-2</c:v>
                </c:pt>
                <c:pt idx="22624" formatCode="0.0%">
                  <c:v>7.2893315308221462E-2</c:v>
                </c:pt>
                <c:pt idx="22625" formatCode="0.0%">
                  <c:v>8.1274271313623983E-2</c:v>
                </c:pt>
                <c:pt idx="22626" formatCode="0.0%">
                  <c:v>9.0973082240041303E-2</c:v>
                </c:pt>
                <c:pt idx="22627" formatCode="0.0%">
                  <c:v>8.8832380197374189E-2</c:v>
                </c:pt>
                <c:pt idx="22628" formatCode="0.0%">
                  <c:v>8.8072360468911232E-2</c:v>
                </c:pt>
                <c:pt idx="22629" formatCode="0.0%">
                  <c:v>0.12056700560830416</c:v>
                </c:pt>
                <c:pt idx="22630" formatCode="0.0%">
                  <c:v>0.19085131167769459</c:v>
                </c:pt>
                <c:pt idx="22631" formatCode="0.0%">
                  <c:v>0.20227530862257451</c:v>
                </c:pt>
                <c:pt idx="22632" formatCode="0.0%">
                  <c:v>0.20257834695984944</c:v>
                </c:pt>
                <c:pt idx="22633" formatCode="0.0%">
                  <c:v>0.24136618037399402</c:v>
                </c:pt>
                <c:pt idx="22634" formatCode="0.0%">
                  <c:v>0.24724813670410176</c:v>
                </c:pt>
                <c:pt idx="22635" formatCode="0.0%">
                  <c:v>0.25208682354240947</c:v>
                </c:pt>
                <c:pt idx="22636" formatCode="0.0%">
                  <c:v>0.25266105629656382</c:v>
                </c:pt>
                <c:pt idx="22637" formatCode="0.0%">
                  <c:v>0.25540494446351625</c:v>
                </c:pt>
                <c:pt idx="22638" formatCode="0.0%">
                  <c:v>0.26012556185786317</c:v>
                </c:pt>
                <c:pt idx="22639" formatCode="0.0%">
                  <c:v>0.2593728412884615</c:v>
                </c:pt>
                <c:pt idx="22640" formatCode="0.0%">
                  <c:v>0.2573444054255673</c:v>
                </c:pt>
                <c:pt idx="22641" formatCode="0.0%">
                  <c:v>0.25709648352360953</c:v>
                </c:pt>
                <c:pt idx="22642" formatCode="0.0%">
                  <c:v>0.25730647380744748</c:v>
                </c:pt>
                <c:pt idx="22643" formatCode="0.0%">
                  <c:v>0.26528967899778766</c:v>
                </c:pt>
                <c:pt idx="22644" formatCode="0.0%">
                  <c:v>0.26523404161916075</c:v>
                </c:pt>
                <c:pt idx="22645" formatCode="0.0%">
                  <c:v>0.26762801414404053</c:v>
                </c:pt>
                <c:pt idx="22646" formatCode="0.0%">
                  <c:v>0.26771785448291247</c:v>
                </c:pt>
                <c:pt idx="22647" formatCode="0.0%">
                  <c:v>0.27056324152157013</c:v>
                </c:pt>
                <c:pt idx="22648" formatCode="0.0%">
                  <c:v>0.27188038936302211</c:v>
                </c:pt>
                <c:pt idx="22649" formatCode="0.0%">
                  <c:v>0.26601322721458898</c:v>
                </c:pt>
                <c:pt idx="22650" formatCode="0.0%">
                  <c:v>0.21727501656581202</c:v>
                </c:pt>
                <c:pt idx="22651" formatCode="0.0%">
                  <c:v>0.20911996471207017</c:v>
                </c:pt>
                <c:pt idx="22652" formatCode="0.0%">
                  <c:v>0.20845775941487965</c:v>
                </c:pt>
                <c:pt idx="22653" formatCode="0.0%">
                  <c:v>0.15614013658752748</c:v>
                </c:pt>
                <c:pt idx="22654" formatCode="0.0%">
                  <c:v>0.15149465065788562</c:v>
                </c:pt>
                <c:pt idx="22655" formatCode="0.0%">
                  <c:v>0.1493647605999622</c:v>
                </c:pt>
                <c:pt idx="22656" formatCode="0.0%">
                  <c:v>0.15184561360292126</c:v>
                </c:pt>
                <c:pt idx="22657" formatCode="0.0%">
                  <c:v>0.14553511767332569</c:v>
                </c:pt>
                <c:pt idx="22658" formatCode="0.0%">
                  <c:v>0.13958484806744509</c:v>
                </c:pt>
                <c:pt idx="22659" formatCode="0.0%">
                  <c:v>0.1490014292274458</c:v>
                </c:pt>
                <c:pt idx="22660" formatCode="0.0%">
                  <c:v>0.14767723512318046</c:v>
                </c:pt>
                <c:pt idx="22661" formatCode="0.0%">
                  <c:v>0.14642643248898163</c:v>
                </c:pt>
                <c:pt idx="22662" formatCode="0.0%">
                  <c:v>0.17238182379895911</c:v>
                </c:pt>
                <c:pt idx="22663" formatCode="0.0%">
                  <c:v>0.17405723479428559</c:v>
                </c:pt>
                <c:pt idx="22664" formatCode="0.0%">
                  <c:v>0.19761069048050225</c:v>
                </c:pt>
                <c:pt idx="22665" formatCode="0.0%">
                  <c:v>0.2015461768267767</c:v>
                </c:pt>
                <c:pt idx="22666" formatCode="0.0%">
                  <c:v>0.1989344577253491</c:v>
                </c:pt>
                <c:pt idx="22667" formatCode="0.0%">
                  <c:v>0.20162554727236362</c:v>
                </c:pt>
                <c:pt idx="22668" formatCode="0.0%">
                  <c:v>0.21463372118200291</c:v>
                </c:pt>
                <c:pt idx="22669" formatCode="0.0%">
                  <c:v>0.21596252443830527</c:v>
                </c:pt>
                <c:pt idx="22670" formatCode="0.0%">
                  <c:v>0.22072397771462329</c:v>
                </c:pt>
                <c:pt idx="22671" formatCode="0.0%">
                  <c:v>0.22271616035902117</c:v>
                </c:pt>
                <c:pt idx="22672" formatCode="0.0%">
                  <c:v>0.23355331838641533</c:v>
                </c:pt>
                <c:pt idx="22673" formatCode="0.0%">
                  <c:v>0.22293670507185417</c:v>
                </c:pt>
                <c:pt idx="22674" formatCode="0.0%">
                  <c:v>0.23375118494398189</c:v>
                </c:pt>
                <c:pt idx="22675" formatCode="0.0%">
                  <c:v>0.23357580040633075</c:v>
                </c:pt>
                <c:pt idx="22676" formatCode="0.0%">
                  <c:v>0.2360719364219695</c:v>
                </c:pt>
                <c:pt idx="22677" formatCode="0.0%">
                  <c:v>0.23609616023734686</c:v>
                </c:pt>
                <c:pt idx="22678" formatCode="0.0%">
                  <c:v>0.23838208280627948</c:v>
                </c:pt>
                <c:pt idx="22679" formatCode="0.0%">
                  <c:v>0.23684257663046604</c:v>
                </c:pt>
                <c:pt idx="22680" formatCode="0.0%">
                  <c:v>0.23679554457283453</c:v>
                </c:pt>
                <c:pt idx="22681" formatCode="0.0%">
                  <c:v>0.23756777120278716</c:v>
                </c:pt>
                <c:pt idx="22682" formatCode="0.0%">
                  <c:v>0.22082911513229625</c:v>
                </c:pt>
                <c:pt idx="22683" formatCode="0.0%">
                  <c:v>0.2055003399024867</c:v>
                </c:pt>
                <c:pt idx="22684" formatCode="0.0%">
                  <c:v>0.18895951816343229</c:v>
                </c:pt>
                <c:pt idx="22685" formatCode="0.0%">
                  <c:v>0.17806665240132713</c:v>
                </c:pt>
                <c:pt idx="22686" formatCode="0.0%">
                  <c:v>0.18090443150985341</c:v>
                </c:pt>
                <c:pt idx="22687" formatCode="0.0%">
                  <c:v>0.17478322722385481</c:v>
                </c:pt>
                <c:pt idx="22688" formatCode="0.0%">
                  <c:v>0.15598592951696952</c:v>
                </c:pt>
                <c:pt idx="22689" formatCode="0.0%">
                  <c:v>0.15034090213983417</c:v>
                </c:pt>
                <c:pt idx="22690" formatCode="0.0%">
                  <c:v>0.14727452290603346</c:v>
                </c:pt>
                <c:pt idx="22691" formatCode="0.0%">
                  <c:v>0.1450545248515363</c:v>
                </c:pt>
                <c:pt idx="22692" formatCode="0.0%">
                  <c:v>0.12824296607685412</c:v>
                </c:pt>
                <c:pt idx="22693" formatCode="0.0%">
                  <c:v>0.12827135703591799</c:v>
                </c:pt>
                <c:pt idx="22694" formatCode="0.0%">
                  <c:v>0.11453987174125518</c:v>
                </c:pt>
                <c:pt idx="22695" formatCode="0.0%">
                  <c:v>0.11694958556368441</c:v>
                </c:pt>
                <c:pt idx="22696" formatCode="0.0%">
                  <c:v>0.11791538260109412</c:v>
                </c:pt>
                <c:pt idx="22697" formatCode="0.0%">
                  <c:v>0.11697886931226685</c:v>
                </c:pt>
                <c:pt idx="22698" formatCode="0.0%">
                  <c:v>0.11422826901897522</c:v>
                </c:pt>
                <c:pt idx="22699" formatCode="0.0%">
                  <c:v>0.11147777085790028</c:v>
                </c:pt>
                <c:pt idx="22700" formatCode="0.0%">
                  <c:v>0.11234354380749413</c:v>
                </c:pt>
                <c:pt idx="22701" formatCode="0.0%">
                  <c:v>0.1102025256783328</c:v>
                </c:pt>
                <c:pt idx="22702" formatCode="0.0%">
                  <c:v>0.10564072966286077</c:v>
                </c:pt>
                <c:pt idx="22703" formatCode="0.0%">
                  <c:v>0.10811468451122572</c:v>
                </c:pt>
                <c:pt idx="22704" formatCode="0.0%">
                  <c:v>9.4994472507808569E-2</c:v>
                </c:pt>
                <c:pt idx="22705" formatCode="0.0%">
                  <c:v>9.5156822106029118E-2</c:v>
                </c:pt>
                <c:pt idx="22706" formatCode="0.0%">
                  <c:v>9.0295181602957131E-2</c:v>
                </c:pt>
                <c:pt idx="22707" formatCode="0.0%">
                  <c:v>9.1140173845204397E-2</c:v>
                </c:pt>
                <c:pt idx="22708" formatCode="0.0%">
                  <c:v>9.6348758661165768E-2</c:v>
                </c:pt>
                <c:pt idx="22709" formatCode="0.0%">
                  <c:v>0.10503153100043672</c:v>
                </c:pt>
                <c:pt idx="22710" formatCode="0.0%">
                  <c:v>0.10468398540333897</c:v>
                </c:pt>
                <c:pt idx="22711" formatCode="0.0%">
                  <c:v>0.10895721680293721</c:v>
                </c:pt>
                <c:pt idx="22712" formatCode="0.0%">
                  <c:v>0.10183615894131194</c:v>
                </c:pt>
                <c:pt idx="22713" formatCode="0.0%">
                  <c:v>0.10161985543862719</c:v>
                </c:pt>
                <c:pt idx="22714" formatCode="0.0%">
                  <c:v>0.10445918989313215</c:v>
                </c:pt>
                <c:pt idx="22715" formatCode="0.0%">
                  <c:v>0.10061089291545422</c:v>
                </c:pt>
                <c:pt idx="22716" formatCode="0.0%">
                  <c:v>9.6389438628527085E-2</c:v>
                </c:pt>
                <c:pt idx="22717" formatCode="0.0%">
                  <c:v>9.6355543859102777E-2</c:v>
                </c:pt>
                <c:pt idx="22718" formatCode="0.0%">
                  <c:v>9.6391683902813899E-2</c:v>
                </c:pt>
                <c:pt idx="22719" formatCode="0.0%">
                  <c:v>9.3805526905549941E-2</c:v>
                </c:pt>
                <c:pt idx="22720" formatCode="0.0%">
                  <c:v>9.3327243081146746E-2</c:v>
                </c:pt>
                <c:pt idx="22721" formatCode="0.0%">
                  <c:v>9.3373637330129017E-2</c:v>
                </c:pt>
                <c:pt idx="22722" formatCode="0.0%">
                  <c:v>9.3122750376960342E-2</c:v>
                </c:pt>
                <c:pt idx="22723" formatCode="0.0%">
                  <c:v>9.1748185823128658E-2</c:v>
                </c:pt>
                <c:pt idx="22724" formatCode="0.0%">
                  <c:v>9.0779095769652665E-2</c:v>
                </c:pt>
                <c:pt idx="22725" formatCode="0.0%">
                  <c:v>9.36834584431155E-2</c:v>
                </c:pt>
                <c:pt idx="22726" formatCode="0.0%">
                  <c:v>9.341903257941804E-2</c:v>
                </c:pt>
                <c:pt idx="22727" formatCode="0.0%">
                  <c:v>0.10606416575169855</c:v>
                </c:pt>
                <c:pt idx="22728" formatCode="0.0%">
                  <c:v>9.7063581931426945E-2</c:v>
                </c:pt>
                <c:pt idx="22729" formatCode="0.0%">
                  <c:v>9.1361859048623456E-2</c:v>
                </c:pt>
                <c:pt idx="22730" formatCode="0.0%">
                  <c:v>9.0888592191351661E-2</c:v>
                </c:pt>
                <c:pt idx="22731" formatCode="0.0%">
                  <c:v>8.1923324865078376E-2</c:v>
                </c:pt>
                <c:pt idx="22732" formatCode="0.0%">
                  <c:v>8.0984577360631152E-2</c:v>
                </c:pt>
                <c:pt idx="22733" formatCode="0.0%">
                  <c:v>8.2471979462231004E-2</c:v>
                </c:pt>
                <c:pt idx="22734" formatCode="0.0%">
                  <c:v>8.2550308332616562E-2</c:v>
                </c:pt>
                <c:pt idx="22735" formatCode="0.0%">
                  <c:v>8.8632956352805478E-2</c:v>
                </c:pt>
                <c:pt idx="22736" formatCode="0.0%">
                  <c:v>9.3581201472026296E-2</c:v>
                </c:pt>
                <c:pt idx="22737" formatCode="0.0%">
                  <c:v>9.4297689202426496E-2</c:v>
                </c:pt>
                <c:pt idx="22738" formatCode="0.0%">
                  <c:v>9.7580329473833938E-2</c:v>
                </c:pt>
                <c:pt idx="22739" formatCode="0.0%">
                  <c:v>0.10140400760431803</c:v>
                </c:pt>
                <c:pt idx="22740" formatCode="0.0%">
                  <c:v>0.10114887305231766</c:v>
                </c:pt>
                <c:pt idx="22741" formatCode="0.0%">
                  <c:v>0.1011508393157797</c:v>
                </c:pt>
                <c:pt idx="22742" formatCode="0.0%">
                  <c:v>0.10149372875916712</c:v>
                </c:pt>
                <c:pt idx="22743" formatCode="0.0%">
                  <c:v>0.10008243455065484</c:v>
                </c:pt>
                <c:pt idx="22744" formatCode="0.0%">
                  <c:v>0.10152557999400899</c:v>
                </c:pt>
                <c:pt idx="22745" formatCode="0.0%">
                  <c:v>9.8318967015925782E-2</c:v>
                </c:pt>
                <c:pt idx="22746" formatCode="0.0%">
                  <c:v>9.8316035823360751E-2</c:v>
                </c:pt>
                <c:pt idx="22747" formatCode="0.0%">
                  <c:v>8.2119348198930103E-2</c:v>
                </c:pt>
                <c:pt idx="22748" formatCode="0.0%">
                  <c:v>8.6007809270092425E-2</c:v>
                </c:pt>
                <c:pt idx="22749" formatCode="0.0%">
                  <c:v>7.8612707867625101E-2</c:v>
                </c:pt>
                <c:pt idx="22750" formatCode="0.0%">
                  <c:v>8.3579156491559614E-2</c:v>
                </c:pt>
                <c:pt idx="22751" formatCode="0.0%">
                  <c:v>8.7818303172237377E-2</c:v>
                </c:pt>
                <c:pt idx="22752" formatCode="0.0%">
                  <c:v>8.8470988983212595E-2</c:v>
                </c:pt>
                <c:pt idx="22753" formatCode="0.0%">
                  <c:v>8.5656584265924179E-2</c:v>
                </c:pt>
                <c:pt idx="22754" formatCode="0.0%">
                  <c:v>8.2750108616431936E-2</c:v>
                </c:pt>
                <c:pt idx="22755" formatCode="0.0%">
                  <c:v>7.9632634024955476E-2</c:v>
                </c:pt>
                <c:pt idx="22756" formatCode="0.0%">
                  <c:v>7.5269105403425018E-2</c:v>
                </c:pt>
                <c:pt idx="22757" formatCode="0.0%">
                  <c:v>7.5042527145291665E-2</c:v>
                </c:pt>
                <c:pt idx="22758" formatCode="0.0%">
                  <c:v>6.8708959562841621E-2</c:v>
                </c:pt>
                <c:pt idx="22759" formatCode="0.0%">
                  <c:v>6.3827651236443322E-2</c:v>
                </c:pt>
                <c:pt idx="22760" formatCode="0.0%">
                  <c:v>7.0021625300376825E-2</c:v>
                </c:pt>
                <c:pt idx="22761" formatCode="0.0%">
                  <c:v>7.1705759909578282E-2</c:v>
                </c:pt>
                <c:pt idx="22762" formatCode="0.0%">
                  <c:v>7.3760640868082317E-2</c:v>
                </c:pt>
                <c:pt idx="22763" formatCode="0.0%">
                  <c:v>7.8914385047692534E-2</c:v>
                </c:pt>
                <c:pt idx="22764" formatCode="0.0%">
                  <c:v>8.2074721940721435E-2</c:v>
                </c:pt>
                <c:pt idx="22765" formatCode="0.0%">
                  <c:v>8.2375071396891347E-2</c:v>
                </c:pt>
                <c:pt idx="22766" formatCode="0.0%">
                  <c:v>8.249453174314747E-2</c:v>
                </c:pt>
                <c:pt idx="22767" formatCode="0.0%">
                  <c:v>8.1356053423474267E-2</c:v>
                </c:pt>
                <c:pt idx="22768" formatCode="0.0%">
                  <c:v>7.5237596010586091E-2</c:v>
                </c:pt>
                <c:pt idx="22769" formatCode="0.0%">
                  <c:v>7.460120355897544E-2</c:v>
                </c:pt>
                <c:pt idx="22770" formatCode="0.0%">
                  <c:v>7.2613411944658465E-2</c:v>
                </c:pt>
                <c:pt idx="22771" formatCode="0.0%">
                  <c:v>7.16728396219313E-2</c:v>
                </c:pt>
                <c:pt idx="22772" formatCode="0.0%">
                  <c:v>7.0786301075577582E-2</c:v>
                </c:pt>
                <c:pt idx="22773" formatCode="0.0%">
                  <c:v>7.1703217569076272E-2</c:v>
                </c:pt>
                <c:pt idx="22774" formatCode="0.0%">
                  <c:v>7.3896681899261643E-2</c:v>
                </c:pt>
                <c:pt idx="22775" formatCode="0.0%">
                  <c:v>7.291630473787257E-2</c:v>
                </c:pt>
                <c:pt idx="22776" formatCode="0.0%">
                  <c:v>7.2913937590713906E-2</c:v>
                </c:pt>
                <c:pt idx="22777" formatCode="0.0%">
                  <c:v>7.3585168540504606E-2</c:v>
                </c:pt>
                <c:pt idx="22778" formatCode="0.0%">
                  <c:v>7.5040315695578119E-2</c:v>
                </c:pt>
                <c:pt idx="22779" formatCode="0.0%">
                  <c:v>7.5335491296480248E-2</c:v>
                </c:pt>
                <c:pt idx="22780" formatCode="0.0%">
                  <c:v>7.0122678840373764E-2</c:v>
                </c:pt>
                <c:pt idx="22781" formatCode="0.0%">
                  <c:v>6.8488701819476971E-2</c:v>
                </c:pt>
                <c:pt idx="22782" formatCode="0.0%">
                  <c:v>6.5686125933460071E-2</c:v>
                </c:pt>
                <c:pt idx="22783" formatCode="0.0%">
                  <c:v>5.9225062745488034E-2</c:v>
                </c:pt>
                <c:pt idx="22784" formatCode="0.0%">
                  <c:v>5.4292872904845711E-2</c:v>
                </c:pt>
                <c:pt idx="22785" formatCode="0.0%">
                  <c:v>5.8542152566157114E-2</c:v>
                </c:pt>
                <c:pt idx="22786" formatCode="0.0%">
                  <c:v>6.0592204043580872E-2</c:v>
                </c:pt>
                <c:pt idx="22787" formatCode="0.0%">
                  <c:v>6.0438881018347754E-2</c:v>
                </c:pt>
                <c:pt idx="22788" formatCode="0.0%">
                  <c:v>6.5156155619020925E-2</c:v>
                </c:pt>
                <c:pt idx="22789" formatCode="0.0%">
                  <c:v>6.4545841906955295E-2</c:v>
                </c:pt>
                <c:pt idx="22790" formatCode="0.0%">
                  <c:v>6.3914402010135651E-2</c:v>
                </c:pt>
                <c:pt idx="22791" formatCode="0.0%">
                  <c:v>5.8849048399730923E-2</c:v>
                </c:pt>
                <c:pt idx="22792" formatCode="0.0%">
                  <c:v>6.0236255717259719E-2</c:v>
                </c:pt>
                <c:pt idx="22793" formatCode="0.0%">
                  <c:v>5.7500728330981452E-2</c:v>
                </c:pt>
                <c:pt idx="22794" formatCode="0.0%">
                  <c:v>5.5062719154279904E-2</c:v>
                </c:pt>
                <c:pt idx="22795" formatCode="0.0%">
                  <c:v>5.6375704238549332E-2</c:v>
                </c:pt>
                <c:pt idx="22796" formatCode="0.0%">
                  <c:v>5.5943495180223464E-2</c:v>
                </c:pt>
                <c:pt idx="22797" formatCode="0.0%">
                  <c:v>5.4596998347320035E-2</c:v>
                </c:pt>
                <c:pt idx="22798" formatCode="0.0%">
                  <c:v>6.1307223837836426E-2</c:v>
                </c:pt>
                <c:pt idx="22799" formatCode="0.0%">
                  <c:v>6.4262355841957816E-2</c:v>
                </c:pt>
                <c:pt idx="22800" formatCode="0.0%">
                  <c:v>6.3993923608565734E-2</c:v>
                </c:pt>
                <c:pt idx="22801" formatCode="0.0%">
                  <c:v>6.2744152386981361E-2</c:v>
                </c:pt>
                <c:pt idx="22802" formatCode="0.0%">
                  <c:v>0.13368545298708154</c:v>
                </c:pt>
                <c:pt idx="22803" formatCode="0.0%">
                  <c:v>0.14672149875896418</c:v>
                </c:pt>
                <c:pt idx="22804" formatCode="0.0%">
                  <c:v>0.1586949213776136</c:v>
                </c:pt>
                <c:pt idx="22805" formatCode="0.0%">
                  <c:v>0.15878831554960005</c:v>
                </c:pt>
                <c:pt idx="22806" formatCode="0.0%">
                  <c:v>0.17803913979985841</c:v>
                </c:pt>
                <c:pt idx="22807" formatCode="0.0%">
                  <c:v>0.17779345062996391</c:v>
                </c:pt>
                <c:pt idx="22808" formatCode="0.0%">
                  <c:v>0.17954593504269159</c:v>
                </c:pt>
                <c:pt idx="22809" formatCode="0.0%">
                  <c:v>0.17954727819843899</c:v>
                </c:pt>
                <c:pt idx="22810" formatCode="0.0%">
                  <c:v>0.17960849571505857</c:v>
                </c:pt>
                <c:pt idx="22811" formatCode="0.0%">
                  <c:v>0.17974230482438228</c:v>
                </c:pt>
                <c:pt idx="22812" formatCode="0.0%">
                  <c:v>0.20585369149175564</c:v>
                </c:pt>
                <c:pt idx="22813" formatCode="0.0%">
                  <c:v>0.22022609979232688</c:v>
                </c:pt>
                <c:pt idx="22814" formatCode="0.0%">
                  <c:v>0.22500980747083493</c:v>
                </c:pt>
                <c:pt idx="22815" formatCode="0.0%">
                  <c:v>0.2229735244709852</c:v>
                </c:pt>
                <c:pt idx="22816" formatCode="0.0%">
                  <c:v>0.23432105658880231</c:v>
                </c:pt>
                <c:pt idx="22817" formatCode="0.0%">
                  <c:v>0.23984706113793436</c:v>
                </c:pt>
                <c:pt idx="22818" formatCode="0.0%">
                  <c:v>0.24443309506560504</c:v>
                </c:pt>
                <c:pt idx="22819" formatCode="0.0%">
                  <c:v>0.24456485978330583</c:v>
                </c:pt>
                <c:pt idx="22820" formatCode="0.0%">
                  <c:v>0.24629167129626187</c:v>
                </c:pt>
                <c:pt idx="22821" formatCode="0.0%">
                  <c:v>0.24827095422593895</c:v>
                </c:pt>
                <c:pt idx="22822" formatCode="0.0%">
                  <c:v>0.23217611233236912</c:v>
                </c:pt>
                <c:pt idx="22823" formatCode="0.0%">
                  <c:v>0.21861465788117798</c:v>
                </c:pt>
                <c:pt idx="22824" formatCode="0.0%">
                  <c:v>0.21633852957463739</c:v>
                </c:pt>
                <c:pt idx="22825" formatCode="0.0%">
                  <c:v>0.22705002316596573</c:v>
                </c:pt>
                <c:pt idx="22826" formatCode="0.0%">
                  <c:v>0.21205583380815476</c:v>
                </c:pt>
                <c:pt idx="22827" formatCode="0.0%">
                  <c:v>0.21304321855634226</c:v>
                </c:pt>
                <c:pt idx="22828" formatCode="0.0%">
                  <c:v>0.21202499206452777</c:v>
                </c:pt>
                <c:pt idx="22829" formatCode="0.0%">
                  <c:v>0.21227791491983805</c:v>
                </c:pt>
                <c:pt idx="22830" formatCode="0.0%">
                  <c:v>0.21967915995561005</c:v>
                </c:pt>
                <c:pt idx="22831" formatCode="0.0%">
                  <c:v>0.22757376107850621</c:v>
                </c:pt>
                <c:pt idx="22832" formatCode="0.0%">
                  <c:v>0.19941567225486334</c:v>
                </c:pt>
                <c:pt idx="22833" formatCode="0.0%">
                  <c:v>0.18796521176218864</c:v>
                </c:pt>
                <c:pt idx="22834" formatCode="0.0%">
                  <c:v>0.18683022460746759</c:v>
                </c:pt>
                <c:pt idx="22835" formatCode="0.0%">
                  <c:v>0.18529786687586244</c:v>
                </c:pt>
                <c:pt idx="22836" formatCode="0.0%">
                  <c:v>0.19440345517529484</c:v>
                </c:pt>
                <c:pt idx="22837" formatCode="0.0%">
                  <c:v>0.19128109449049246</c:v>
                </c:pt>
                <c:pt idx="22838" formatCode="0.0%">
                  <c:v>0.18982377110801604</c:v>
                </c:pt>
                <c:pt idx="22839" formatCode="0.0%">
                  <c:v>0.19159866096228118</c:v>
                </c:pt>
                <c:pt idx="22840" formatCode="0.0%">
                  <c:v>0.22564776873310455</c:v>
                </c:pt>
                <c:pt idx="22841" formatCode="0.0%">
                  <c:v>0.22415726917651693</c:v>
                </c:pt>
                <c:pt idx="22842" formatCode="0.0%">
                  <c:v>0.22176652881997155</c:v>
                </c:pt>
                <c:pt idx="22843" formatCode="0.0%">
                  <c:v>0.2224906028669402</c:v>
                </c:pt>
                <c:pt idx="22844" formatCode="0.0%">
                  <c:v>0.22147446452192282</c:v>
                </c:pt>
                <c:pt idx="22845" formatCode="0.0%">
                  <c:v>0.21342374649341</c:v>
                </c:pt>
                <c:pt idx="22846" formatCode="0.0%">
                  <c:v>0.21346553082766312</c:v>
                </c:pt>
                <c:pt idx="22847" formatCode="0.0%">
                  <c:v>0.22186594677469021</c:v>
                </c:pt>
                <c:pt idx="22848" formatCode="0.0%">
                  <c:v>0.2265690528964914</c:v>
                </c:pt>
                <c:pt idx="22849" formatCode="0.0%">
                  <c:v>0.22598095294615075</c:v>
                </c:pt>
                <c:pt idx="22850" formatCode="0.0%">
                  <c:v>0.22504299730857821</c:v>
                </c:pt>
                <c:pt idx="22851" formatCode="0.0%">
                  <c:v>0.22309022018765726</c:v>
                </c:pt>
                <c:pt idx="22852" formatCode="0.0%">
                  <c:v>0.22988977454217296</c:v>
                </c:pt>
                <c:pt idx="22853" formatCode="0.0%">
                  <c:v>0.24382409026859569</c:v>
                </c:pt>
                <c:pt idx="22854" formatCode="0.0%">
                  <c:v>0.30265344510280212</c:v>
                </c:pt>
                <c:pt idx="22855" formatCode="0.0%">
                  <c:v>0.30489991078512463</c:v>
                </c:pt>
                <c:pt idx="22856" formatCode="0.0%">
                  <c:v>0.28876275496175929</c:v>
                </c:pt>
                <c:pt idx="22857" formatCode="0.0%">
                  <c:v>0.29255587750882622</c:v>
                </c:pt>
                <c:pt idx="22858" formatCode="0.0%">
                  <c:v>0.28964256686413314</c:v>
                </c:pt>
                <c:pt idx="22859" formatCode="0.0%">
                  <c:v>0.29201090247103528</c:v>
                </c:pt>
                <c:pt idx="22860" formatCode="0.0%">
                  <c:v>0.3076695328619426</c:v>
                </c:pt>
                <c:pt idx="22861" formatCode="0.0%">
                  <c:v>0.30976539154809857</c:v>
                </c:pt>
                <c:pt idx="22862" formatCode="0.0%">
                  <c:v>0.30254105257449221</c:v>
                </c:pt>
                <c:pt idx="22863" formatCode="0.0%">
                  <c:v>0.30294853390105736</c:v>
                </c:pt>
                <c:pt idx="22864" formatCode="0.0%">
                  <c:v>0.30357925906755473</c:v>
                </c:pt>
                <c:pt idx="22865" formatCode="0.0%">
                  <c:v>0.30272069753971925</c:v>
                </c:pt>
                <c:pt idx="22866" formatCode="0.0%">
                  <c:v>0.30306808947318609</c:v>
                </c:pt>
                <c:pt idx="22867" formatCode="0.0%">
                  <c:v>0.29811012261322878</c:v>
                </c:pt>
                <c:pt idx="22868" formatCode="0.0%">
                  <c:v>0.28742062613202929</c:v>
                </c:pt>
                <c:pt idx="22869" formatCode="0.0%">
                  <c:v>0.28820562112940662</c:v>
                </c:pt>
                <c:pt idx="22870" formatCode="0.0%">
                  <c:v>0.28334853791896564</c:v>
                </c:pt>
                <c:pt idx="22871" formatCode="0.0%">
                  <c:v>0.28194211416875464</c:v>
                </c:pt>
                <c:pt idx="22872" formatCode="0.0%">
                  <c:v>0.26736532416355041</c:v>
                </c:pt>
                <c:pt idx="22873" formatCode="0.0%">
                  <c:v>0.23993968020410031</c:v>
                </c:pt>
                <c:pt idx="22874" formatCode="0.0%">
                  <c:v>0.18048290400236891</c:v>
                </c:pt>
                <c:pt idx="22875" formatCode="0.0%">
                  <c:v>0.1841903606278871</c:v>
                </c:pt>
                <c:pt idx="22876" formatCode="0.0%">
                  <c:v>0.18425792007603134</c:v>
                </c:pt>
                <c:pt idx="22877" formatCode="0.0%">
                  <c:v>0.18860274412191441</c:v>
                </c:pt>
                <c:pt idx="22878" formatCode="0.0%">
                  <c:v>0.18930547877536169</c:v>
                </c:pt>
                <c:pt idx="22879" formatCode="0.0%">
                  <c:v>0.15652612376714373</c:v>
                </c:pt>
                <c:pt idx="22880" formatCode="0.0%">
                  <c:v>0.11446988689276862</c:v>
                </c:pt>
                <c:pt idx="22881" formatCode="0.0%">
                  <c:v>0.1138777891934742</c:v>
                </c:pt>
                <c:pt idx="22882" formatCode="0.0%">
                  <c:v>0.11325313767307006</c:v>
                </c:pt>
                <c:pt idx="22883" formatCode="0.0%">
                  <c:v>0.12131162334648597</c:v>
                </c:pt>
                <c:pt idx="22884" formatCode="0.0%">
                  <c:v>0.12114435138164337</c:v>
                </c:pt>
                <c:pt idx="22885" formatCode="0.0%">
                  <c:v>0.1209721921525949</c:v>
                </c:pt>
                <c:pt idx="22886" formatCode="0.0%">
                  <c:v>0.12328138703859175</c:v>
                </c:pt>
                <c:pt idx="22887" formatCode="0.0%">
                  <c:v>0.11995550161886108</c:v>
                </c:pt>
                <c:pt idx="22888" formatCode="0.0%">
                  <c:v>0.12143279698059763</c:v>
                </c:pt>
                <c:pt idx="22889" formatCode="0.0%">
                  <c:v>0.12379056732750933</c:v>
                </c:pt>
                <c:pt idx="22890" formatCode="0.0%">
                  <c:v>0.11740417912320107</c:v>
                </c:pt>
                <c:pt idx="22891" formatCode="0.0%">
                  <c:v>0.10053626348209649</c:v>
                </c:pt>
                <c:pt idx="22892" formatCode="0.0%">
                  <c:v>0.10302073941387052</c:v>
                </c:pt>
                <c:pt idx="22893" formatCode="0.0%">
                  <c:v>0.10381917720245508</c:v>
                </c:pt>
                <c:pt idx="22894" formatCode="0.0%">
                  <c:v>0.1017167947258001</c:v>
                </c:pt>
                <c:pt idx="22895" formatCode="0.0%">
                  <c:v>9.510998603913319E-2</c:v>
                </c:pt>
                <c:pt idx="22896" formatCode="0.0%">
                  <c:v>9.4626985594847821E-2</c:v>
                </c:pt>
                <c:pt idx="22897" formatCode="0.0%">
                  <c:v>8.3909105945339083E-2</c:v>
                </c:pt>
                <c:pt idx="22898" formatCode="0.0%">
                  <c:v>8.2328307127916292E-2</c:v>
                </c:pt>
                <c:pt idx="22899" formatCode="0.0%">
                  <c:v>8.4747649232788977E-2</c:v>
                </c:pt>
                <c:pt idx="22900" formatCode="0.0%">
                  <c:v>8.2953155854271932E-2</c:v>
                </c:pt>
                <c:pt idx="22901" formatCode="0.0%">
                  <c:v>8.6158766408991325E-2</c:v>
                </c:pt>
                <c:pt idx="22902" formatCode="0.0%">
                  <c:v>9.1178487280383011E-2</c:v>
                </c:pt>
                <c:pt idx="22903" formatCode="0.0%">
                  <c:v>8.4295603761996837E-2</c:v>
                </c:pt>
                <c:pt idx="22904" formatCode="0.0%">
                  <c:v>9.7638041794729985E-2</c:v>
                </c:pt>
                <c:pt idx="22905" formatCode="0.0%">
                  <c:v>9.7759481250398267E-2</c:v>
                </c:pt>
                <c:pt idx="22906" formatCode="0.0%">
                  <c:v>9.0698458479486113E-2</c:v>
                </c:pt>
                <c:pt idx="22907" formatCode="0.0%">
                  <c:v>9.0709125463359394E-2</c:v>
                </c:pt>
                <c:pt idx="22908" formatCode="0.0%">
                  <c:v>9.0676699126692378E-2</c:v>
                </c:pt>
                <c:pt idx="22909" formatCode="0.0%">
                  <c:v>8.4129416257558015E-2</c:v>
                </c:pt>
                <c:pt idx="22910" formatCode="0.0%">
                  <c:v>8.4205923937609617E-2</c:v>
                </c:pt>
                <c:pt idx="22911" formatCode="0.0%">
                  <c:v>8.5248246021236013E-2</c:v>
                </c:pt>
                <c:pt idx="22912" formatCode="0.0%">
                  <c:v>9.0791511282065376E-2</c:v>
                </c:pt>
                <c:pt idx="22913" formatCode="0.0%">
                  <c:v>0.1144510699120483</c:v>
                </c:pt>
                <c:pt idx="22914" formatCode="0.0%">
                  <c:v>0.11442615551383072</c:v>
                </c:pt>
                <c:pt idx="22915" formatCode="0.0%">
                  <c:v>0.11710712133920172</c:v>
                </c:pt>
                <c:pt idx="22916" formatCode="0.0%">
                  <c:v>0.11846555558779702</c:v>
                </c:pt>
                <c:pt idx="22917" formatCode="0.0%">
                  <c:v>0.11845436302952374</c:v>
                </c:pt>
                <c:pt idx="22918" formatCode="0.0%">
                  <c:v>0.11834249897625468</c:v>
                </c:pt>
                <c:pt idx="22919" formatCode="0.0%">
                  <c:v>0.12320596261421253</c:v>
                </c:pt>
                <c:pt idx="22920" formatCode="0.0%">
                  <c:v>0.12297057700107959</c:v>
                </c:pt>
                <c:pt idx="22921" formatCode="0.0%">
                  <c:v>0.1193660838286892</c:v>
                </c:pt>
                <c:pt idx="22922" formatCode="0.0%">
                  <c:v>0.1134135127601692</c:v>
                </c:pt>
                <c:pt idx="22923" formatCode="0.0%">
                  <c:v>0.11242781157054581</c:v>
                </c:pt>
                <c:pt idx="22924" formatCode="0.0%">
                  <c:v>0.10331537870467558</c:v>
                </c:pt>
                <c:pt idx="22925" formatCode="0.0%">
                  <c:v>0.10710061491302095</c:v>
                </c:pt>
                <c:pt idx="22926" formatCode="0.0%">
                  <c:v>0.10548187075733835</c:v>
                </c:pt>
                <c:pt idx="22927" formatCode="0.0%">
                  <c:v>0.10527717722143554</c:v>
                </c:pt>
                <c:pt idx="22928" formatCode="0.0%">
                  <c:v>0.10615621507306615</c:v>
                </c:pt>
                <c:pt idx="22929" formatCode="0.0%">
                  <c:v>0.10606930806174415</c:v>
                </c:pt>
                <c:pt idx="22930" formatCode="0.0%">
                  <c:v>0.10598185604946143</c:v>
                </c:pt>
                <c:pt idx="22931" formatCode="0.0%">
                  <c:v>0.10565092090609284</c:v>
                </c:pt>
                <c:pt idx="22932" formatCode="0.0%">
                  <c:v>9.9594249195195508E-2</c:v>
                </c:pt>
                <c:pt idx="22933" formatCode="0.0%">
                  <c:v>6.5800000496744282E-2</c:v>
                </c:pt>
                <c:pt idx="22934" formatCode="0.0%">
                  <c:v>6.9323091378957563E-2</c:v>
                </c:pt>
                <c:pt idx="22935" formatCode="0.0%">
                  <c:v>6.8686757241454552E-2</c:v>
                </c:pt>
                <c:pt idx="22936" formatCode="0.0%">
                  <c:v>6.4844189192355572E-2</c:v>
                </c:pt>
                <c:pt idx="22937" formatCode="0.0%">
                  <c:v>6.5287629156510818E-2</c:v>
                </c:pt>
                <c:pt idx="22938" formatCode="0.0%">
                  <c:v>6.3108581783767964E-2</c:v>
                </c:pt>
                <c:pt idx="22939" formatCode="0.0%">
                  <c:v>5.1888883965868784E-2</c:v>
                </c:pt>
                <c:pt idx="22940" formatCode="0.0%">
                  <c:v>6.0643731916979249E-2</c:v>
                </c:pt>
                <c:pt idx="22941" formatCode="0.0%">
                  <c:v>6.1440932387459457E-2</c:v>
                </c:pt>
                <c:pt idx="22942" formatCode="0.0%">
                  <c:v>6.8910355711228444E-2</c:v>
                </c:pt>
                <c:pt idx="22943" formatCode="0.0%">
                  <c:v>7.0362803517012212E-2</c:v>
                </c:pt>
                <c:pt idx="22944" formatCode="0.0%">
                  <c:v>9.3410434077449686E-2</c:v>
                </c:pt>
                <c:pt idx="22945" formatCode="0.0%">
                  <c:v>9.0990564203298749E-2</c:v>
                </c:pt>
                <c:pt idx="22946" formatCode="0.0%">
                  <c:v>9.0644986663861282E-2</c:v>
                </c:pt>
                <c:pt idx="22947" formatCode="0.0%">
                  <c:v>9.1760761046436518E-2</c:v>
                </c:pt>
                <c:pt idx="22948" formatCode="0.0%">
                  <c:v>0.12256203584225984</c:v>
                </c:pt>
                <c:pt idx="22949" formatCode="0.0%">
                  <c:v>0.12725635110282796</c:v>
                </c:pt>
                <c:pt idx="22950" formatCode="0.0%">
                  <c:v>0.12960064258974791</c:v>
                </c:pt>
                <c:pt idx="22951" formatCode="0.0%">
                  <c:v>0.13406463248430314</c:v>
                </c:pt>
                <c:pt idx="22952" formatCode="0.0%">
                  <c:v>0.1351884195512123</c:v>
                </c:pt>
                <c:pt idx="22953" formatCode="0.0%">
                  <c:v>0.13662897139454624</c:v>
                </c:pt>
                <c:pt idx="22954" formatCode="0.0%">
                  <c:v>0.13630218389159093</c:v>
                </c:pt>
                <c:pt idx="22955" formatCode="0.0%">
                  <c:v>0.13638236921012481</c:v>
                </c:pt>
                <c:pt idx="22956" formatCode="0.0%">
                  <c:v>0.1415485465600809</c:v>
                </c:pt>
                <c:pt idx="22957" formatCode="0.0%">
                  <c:v>0.14001363936726877</c:v>
                </c:pt>
                <c:pt idx="22958" formatCode="0.0%">
                  <c:v>0.14131774197683228</c:v>
                </c:pt>
                <c:pt idx="22959" formatCode="0.0%">
                  <c:v>0.14157434755194059</c:v>
                </c:pt>
                <c:pt idx="22960" formatCode="0.0%">
                  <c:v>0.14147054634646239</c:v>
                </c:pt>
                <c:pt idx="22961" formatCode="0.0%">
                  <c:v>0.14667224180654759</c:v>
                </c:pt>
                <c:pt idx="22962" formatCode="0.0%">
                  <c:v>0.13905240578445904</c:v>
                </c:pt>
                <c:pt idx="22963" formatCode="0.0%">
                  <c:v>0.16433571064544128</c:v>
                </c:pt>
                <c:pt idx="22964" formatCode="0.0%">
                  <c:v>0.15899566579725333</c:v>
                </c:pt>
                <c:pt idx="22965" formatCode="0.0%">
                  <c:v>0.16096526670705216</c:v>
                </c:pt>
                <c:pt idx="22966" formatCode="0.0%">
                  <c:v>0.16534446893709304</c:v>
                </c:pt>
                <c:pt idx="22967" formatCode="0.0%">
                  <c:v>0.16565288837482015</c:v>
                </c:pt>
                <c:pt idx="22968" formatCode="0.0%">
                  <c:v>0.13815036400088279</c:v>
                </c:pt>
                <c:pt idx="22969" formatCode="0.0%">
                  <c:v>0.13628378032594313</c:v>
                </c:pt>
                <c:pt idx="22970" formatCode="0.0%">
                  <c:v>0.13557297214778549</c:v>
                </c:pt>
                <c:pt idx="22971" formatCode="0.0%">
                  <c:v>0.13228144474315545</c:v>
                </c:pt>
                <c:pt idx="22972" formatCode="0.0%">
                  <c:v>0.1303513327904933</c:v>
                </c:pt>
                <c:pt idx="22973" formatCode="0.0%">
                  <c:v>0.13120810775710806</c:v>
                </c:pt>
                <c:pt idx="22974" formatCode="0.0%">
                  <c:v>0.12868543602132582</c:v>
                </c:pt>
                <c:pt idx="22975" formatCode="0.0%">
                  <c:v>0.13108930016616643</c:v>
                </c:pt>
                <c:pt idx="22976" formatCode="0.0%">
                  <c:v>0.12142637811442496</c:v>
                </c:pt>
                <c:pt idx="22977" formatCode="0.0%">
                  <c:v>0.12221085512292112</c:v>
                </c:pt>
                <c:pt idx="22978" formatCode="0.0%">
                  <c:v>0.12355528685942295</c:v>
                </c:pt>
                <c:pt idx="22979" formatCode="0.0%">
                  <c:v>0.11967639855979052</c:v>
                </c:pt>
                <c:pt idx="22980" formatCode="0.0%">
                  <c:v>0.11979400026685197</c:v>
                </c:pt>
                <c:pt idx="22981" formatCode="0.0%">
                  <c:v>0.10490769974047309</c:v>
                </c:pt>
                <c:pt idx="22982" formatCode="0.0%">
                  <c:v>0.10337447398066657</c:v>
                </c:pt>
                <c:pt idx="22983" formatCode="0.0%">
                  <c:v>8.0513904080400489E-2</c:v>
                </c:pt>
                <c:pt idx="22984" formatCode="0.0%">
                  <c:v>8.0116186606034479E-2</c:v>
                </c:pt>
                <c:pt idx="22985" formatCode="0.0%">
                  <c:v>8.0850557878749896E-2</c:v>
                </c:pt>
                <c:pt idx="22986" formatCode="0.0%">
                  <c:v>7.9174676542564881E-2</c:v>
                </c:pt>
                <c:pt idx="22987" formatCode="0.0%">
                  <c:v>7.8443115781198114E-2</c:v>
                </c:pt>
                <c:pt idx="22988" formatCode="0.0%">
                  <c:v>7.874619611881041E-2</c:v>
                </c:pt>
                <c:pt idx="22989" formatCode="0.0%">
                  <c:v>7.7415181729179994E-2</c:v>
                </c:pt>
                <c:pt idx="22990" formatCode="0.0%">
                  <c:v>7.7619438777564137E-2</c:v>
                </c:pt>
                <c:pt idx="22991" formatCode="0.0%">
                  <c:v>7.674910375819835E-2</c:v>
                </c:pt>
                <c:pt idx="22992" formatCode="0.0%">
                  <c:v>7.9177541964258635E-2</c:v>
                </c:pt>
                <c:pt idx="22993" formatCode="0.0%">
                  <c:v>7.9113087032988888E-2</c:v>
                </c:pt>
                <c:pt idx="22994" formatCode="0.0%">
                  <c:v>7.9325563061545062E-2</c:v>
                </c:pt>
                <c:pt idx="22995" formatCode="0.0%">
                  <c:v>7.7081043259745269E-2</c:v>
                </c:pt>
                <c:pt idx="22996" formatCode="0.0%">
                  <c:v>7.7293037907849707E-2</c:v>
                </c:pt>
                <c:pt idx="22997" formatCode="0.0%">
                  <c:v>7.9820029606881879E-2</c:v>
                </c:pt>
                <c:pt idx="22998" formatCode="0.0%">
                  <c:v>7.0275945773008025E-2</c:v>
                </c:pt>
                <c:pt idx="22999" formatCode="0.0%">
                  <c:v>7.3901394552429681E-2</c:v>
                </c:pt>
                <c:pt idx="23000" formatCode="0.0%">
                  <c:v>7.6391550308359327E-2</c:v>
                </c:pt>
                <c:pt idx="23001" formatCode="0.0%">
                  <c:v>7.5686520174654895E-2</c:v>
                </c:pt>
                <c:pt idx="23002" formatCode="0.0%">
                  <c:v>7.3028027289902944E-2</c:v>
                </c:pt>
                <c:pt idx="23003" formatCode="0.0%">
                  <c:v>8.3556552340210075E-2</c:v>
                </c:pt>
                <c:pt idx="23004" formatCode="0.0%">
                  <c:v>8.4622188306541238E-2</c:v>
                </c:pt>
                <c:pt idx="23005" formatCode="0.0%">
                  <c:v>8.7763611615448114E-2</c:v>
                </c:pt>
                <c:pt idx="23006" formatCode="0.0%">
                  <c:v>0.13572309189854725</c:v>
                </c:pt>
                <c:pt idx="23007" formatCode="0.0%">
                  <c:v>0.14569749028110202</c:v>
                </c:pt>
                <c:pt idx="23008" formatCode="0.0%">
                  <c:v>0.14419532129078766</c:v>
                </c:pt>
                <c:pt idx="23009" formatCode="0.0%">
                  <c:v>0.16103612964879901</c:v>
                </c:pt>
                <c:pt idx="23010" formatCode="0.0%">
                  <c:v>0.16075071688579973</c:v>
                </c:pt>
                <c:pt idx="23011" formatCode="0.0%">
                  <c:v>0.16474757708727167</c:v>
                </c:pt>
                <c:pt idx="23012" formatCode="0.0%">
                  <c:v>0.17515747864099854</c:v>
                </c:pt>
                <c:pt idx="23013" formatCode="0.0%">
                  <c:v>0.20167262424880258</c:v>
                </c:pt>
                <c:pt idx="23014" formatCode="0.0%">
                  <c:v>0.20126800910088458</c:v>
                </c:pt>
                <c:pt idx="23015" formatCode="0.0%">
                  <c:v>0.20932239008426626</c:v>
                </c:pt>
                <c:pt idx="23016" formatCode="0.0%">
                  <c:v>0.21433734273483229</c:v>
                </c:pt>
                <c:pt idx="23017" formatCode="0.0%">
                  <c:v>0.21356172992301692</c:v>
                </c:pt>
                <c:pt idx="23018" formatCode="0.0%">
                  <c:v>0.2153404959221156</c:v>
                </c:pt>
                <c:pt idx="23019" formatCode="0.0%">
                  <c:v>0.21492587480764097</c:v>
                </c:pt>
                <c:pt idx="23020" formatCode="0.0%">
                  <c:v>0.22950858859161105</c:v>
                </c:pt>
                <c:pt idx="23021" formatCode="0.0%">
                  <c:v>0.23479884301458337</c:v>
                </c:pt>
                <c:pt idx="23022" formatCode="0.0%">
                  <c:v>0.23481518780203617</c:v>
                </c:pt>
                <c:pt idx="23023" formatCode="0.0%">
                  <c:v>0.23461931668502464</c:v>
                </c:pt>
                <c:pt idx="23024" formatCode="0.0%">
                  <c:v>0.23804291822518864</c:v>
                </c:pt>
                <c:pt idx="23025" formatCode="0.0%">
                  <c:v>0.23669253727606754</c:v>
                </c:pt>
                <c:pt idx="23026" formatCode="0.0%">
                  <c:v>0.2103261334628842</c:v>
                </c:pt>
                <c:pt idx="23027" formatCode="0.0%">
                  <c:v>0.2088514797946657</c:v>
                </c:pt>
                <c:pt idx="23028" formatCode="0.0%">
                  <c:v>0.21311654462994362</c:v>
                </c:pt>
                <c:pt idx="23029" formatCode="0.0%">
                  <c:v>0.20341097946046707</c:v>
                </c:pt>
                <c:pt idx="23030" formatCode="0.0%">
                  <c:v>0.20160369198867478</c:v>
                </c:pt>
                <c:pt idx="23031" formatCode="0.0%">
                  <c:v>0.19568532255916893</c:v>
                </c:pt>
                <c:pt idx="23032" formatCode="0.0%">
                  <c:v>0.19083612749035092</c:v>
                </c:pt>
                <c:pt idx="23033" formatCode="0.0%">
                  <c:v>0.15169394308645084</c:v>
                </c:pt>
                <c:pt idx="23034" formatCode="0.0%">
                  <c:v>0.15223368939002718</c:v>
                </c:pt>
                <c:pt idx="23035" formatCode="0.0%">
                  <c:v>0.14713012381196147</c:v>
                </c:pt>
                <c:pt idx="23036" formatCode="0.0%">
                  <c:v>0.14220174679996544</c:v>
                </c:pt>
                <c:pt idx="23037" formatCode="0.0%">
                  <c:v>0.13796948138456103</c:v>
                </c:pt>
                <c:pt idx="23038" formatCode="0.0%">
                  <c:v>0.13596784440232623</c:v>
                </c:pt>
                <c:pt idx="23039" formatCode="0.0%">
                  <c:v>0.13766836614715475</c:v>
                </c:pt>
                <c:pt idx="23040" formatCode="0.0%">
                  <c:v>9.230150244879777E-2</c:v>
                </c:pt>
                <c:pt idx="23041" formatCode="0.0%">
                  <c:v>9.4388898125486176E-2</c:v>
                </c:pt>
                <c:pt idx="23042" formatCode="0.0%">
                  <c:v>9.4023721157722145E-2</c:v>
                </c:pt>
                <c:pt idx="23043" formatCode="0.0%">
                  <c:v>9.3652585640151109E-2</c:v>
                </c:pt>
                <c:pt idx="23044" formatCode="0.0%">
                  <c:v>8.691203951143088E-2</c:v>
                </c:pt>
                <c:pt idx="23045" formatCode="0.0%">
                  <c:v>8.8306322456776845E-2</c:v>
                </c:pt>
                <c:pt idx="23046" formatCode="0.0%">
                  <c:v>9.634781589062566E-2</c:v>
                </c:pt>
                <c:pt idx="23047" formatCode="0.0%">
                  <c:v>0.10937074408684214</c:v>
                </c:pt>
                <c:pt idx="23048" formatCode="0.0%">
                  <c:v>0.10223411301993725</c:v>
                </c:pt>
                <c:pt idx="23049" formatCode="0.0%">
                  <c:v>0.11557386210278446</c:v>
                </c:pt>
                <c:pt idx="23050" formatCode="0.0%">
                  <c:v>0.1164435825313177</c:v>
                </c:pt>
                <c:pt idx="23051" formatCode="0.0%">
                  <c:v>0.12792830582040451</c:v>
                </c:pt>
                <c:pt idx="23052" formatCode="0.0%">
                  <c:v>0.12975791104783191</c:v>
                </c:pt>
                <c:pt idx="23053" formatCode="0.0%">
                  <c:v>0.1318723604417914</c:v>
                </c:pt>
                <c:pt idx="23054" formatCode="0.0%">
                  <c:v>0.13868556765148904</c:v>
                </c:pt>
                <c:pt idx="23055" formatCode="0.0%">
                  <c:v>0.13840251969168288</c:v>
                </c:pt>
                <c:pt idx="23056" formatCode="0.0%">
                  <c:v>0.14295719268634638</c:v>
                </c:pt>
                <c:pt idx="23057" formatCode="0.0%">
                  <c:v>0.14308847104121616</c:v>
                </c:pt>
                <c:pt idx="23058" formatCode="0.0%">
                  <c:v>0.14349543051259378</c:v>
                </c:pt>
                <c:pt idx="23059" formatCode="0.0%">
                  <c:v>0.14310566815144582</c:v>
                </c:pt>
                <c:pt idx="23060" formatCode="0.0%">
                  <c:v>0.14521434809583375</c:v>
                </c:pt>
                <c:pt idx="23061" formatCode="0.0%">
                  <c:v>0.14234203963604308</c:v>
                </c:pt>
                <c:pt idx="23062" formatCode="0.0%">
                  <c:v>0.14108294596772208</c:v>
                </c:pt>
                <c:pt idx="23063" formatCode="0.0%">
                  <c:v>0.14079903683164388</c:v>
                </c:pt>
                <c:pt idx="23064" formatCode="0.0%">
                  <c:v>0.13954247168093636</c:v>
                </c:pt>
                <c:pt idx="23065" formatCode="0.0%">
                  <c:v>0.13975787613551099</c:v>
                </c:pt>
                <c:pt idx="23066" formatCode="0.0%">
                  <c:v>0.13083627565994019</c:v>
                </c:pt>
                <c:pt idx="23067" formatCode="0.0%">
                  <c:v>0.1082314960433263</c:v>
                </c:pt>
                <c:pt idx="23068" formatCode="0.0%">
                  <c:v>0.10816693694972548</c:v>
                </c:pt>
                <c:pt idx="23069" formatCode="0.0%">
                  <c:v>0.10259020016332131</c:v>
                </c:pt>
                <c:pt idx="23070" formatCode="0.0%">
                  <c:v>9.989929650101978E-2</c:v>
                </c:pt>
                <c:pt idx="23071" formatCode="0.0%">
                  <c:v>7.5533966146413459E-2</c:v>
                </c:pt>
                <c:pt idx="23072" formatCode="0.0%">
                  <c:v>7.2464083465610077E-2</c:v>
                </c:pt>
                <c:pt idx="23073" formatCode="0.0%">
                  <c:v>7.1089742212453358E-2</c:v>
                </c:pt>
                <c:pt idx="23074" formatCode="0.0%">
                  <c:v>6.3747404366218396E-2</c:v>
                </c:pt>
                <c:pt idx="23075" formatCode="0.0%">
                  <c:v>6.4188053590662569E-2</c:v>
                </c:pt>
                <c:pt idx="23076" formatCode="0.0%">
                  <c:v>5.6979711590123619E-2</c:v>
                </c:pt>
                <c:pt idx="23077" formatCode="0.0%">
                  <c:v>5.5513066324096437E-2</c:v>
                </c:pt>
                <c:pt idx="23078" formatCode="0.0%">
                  <c:v>5.5453081412947018E-2</c:v>
                </c:pt>
                <c:pt idx="23079" formatCode="0.0%">
                  <c:v>5.5343079474540632E-2</c:v>
                </c:pt>
                <c:pt idx="23080" formatCode="0.0%">
                  <c:v>5.2797960008654367E-2</c:v>
                </c:pt>
                <c:pt idx="23081" formatCode="0.0%">
                  <c:v>4.9679067810517077E-2</c:v>
                </c:pt>
                <c:pt idx="23082" formatCode="0.0%">
                  <c:v>5.3624391914668182E-2</c:v>
                </c:pt>
                <c:pt idx="23083" formatCode="0.0%">
                  <c:v>5.4862479619006352E-2</c:v>
                </c:pt>
                <c:pt idx="23084" formatCode="0.0%">
                  <c:v>5.4107001877291276E-2</c:v>
                </c:pt>
                <c:pt idx="23085" formatCode="0.0%">
                  <c:v>5.642324430673664E-2</c:v>
                </c:pt>
                <c:pt idx="23086" formatCode="0.0%">
                  <c:v>5.5763674586219718E-2</c:v>
                </c:pt>
                <c:pt idx="23087" formatCode="0.0%">
                  <c:v>5.6199889571449065E-2</c:v>
                </c:pt>
                <c:pt idx="23088" formatCode="0.0%">
                  <c:v>5.7409288287884143E-2</c:v>
                </c:pt>
                <c:pt idx="23089" formatCode="0.0%">
                  <c:v>6.0467199822581884E-2</c:v>
                </c:pt>
                <c:pt idx="23090" formatCode="0.0%">
                  <c:v>6.4814468938328984E-2</c:v>
                </c:pt>
                <c:pt idx="23091" formatCode="0.0%">
                  <c:v>6.7999993953512763E-2</c:v>
                </c:pt>
                <c:pt idx="23092" formatCode="0.0%">
                  <c:v>6.8072131421913498E-2</c:v>
                </c:pt>
                <c:pt idx="23093" formatCode="0.0%">
                  <c:v>7.412433304022345E-2</c:v>
                </c:pt>
                <c:pt idx="23094" formatCode="0.0%">
                  <c:v>7.5279860288886516E-2</c:v>
                </c:pt>
                <c:pt idx="23095" formatCode="0.0%">
                  <c:v>7.4936827724128685E-2</c:v>
                </c:pt>
                <c:pt idx="23096" formatCode="0.0%">
                  <c:v>7.528443898847792E-2</c:v>
                </c:pt>
                <c:pt idx="23097" formatCode="0.0%">
                  <c:v>8.0134553143393433E-2</c:v>
                </c:pt>
                <c:pt idx="23098" formatCode="0.0%">
                  <c:v>8.0225105629867802E-2</c:v>
                </c:pt>
                <c:pt idx="23099" formatCode="0.0%">
                  <c:v>7.9660893468489299E-2</c:v>
                </c:pt>
                <c:pt idx="23100" formatCode="0.0%">
                  <c:v>7.9680486693348943E-2</c:v>
                </c:pt>
                <c:pt idx="23101" formatCode="0.0%">
                  <c:v>7.9636881272435095E-2</c:v>
                </c:pt>
                <c:pt idx="23102" formatCode="0.0%">
                  <c:v>7.8275715270709992E-2</c:v>
                </c:pt>
                <c:pt idx="23103" formatCode="0.0%">
                  <c:v>7.8249633383648765E-2</c:v>
                </c:pt>
                <c:pt idx="23104" formatCode="0.0%">
                  <c:v>7.8318048554144218E-2</c:v>
                </c:pt>
                <c:pt idx="23105" formatCode="0.0%">
                  <c:v>7.5622443228730477E-2</c:v>
                </c:pt>
                <c:pt idx="23106" formatCode="0.0%">
                  <c:v>7.6726074018248089E-2</c:v>
                </c:pt>
                <c:pt idx="23107" formatCode="0.0%">
                  <c:v>7.6263778147584199E-2</c:v>
                </c:pt>
                <c:pt idx="23108" formatCode="0.0%">
                  <c:v>7.8162308641898534E-2</c:v>
                </c:pt>
                <c:pt idx="23109" formatCode="0.0%">
                  <c:v>6.891527470286081E-2</c:v>
                </c:pt>
                <c:pt idx="23110" formatCode="0.0%">
                  <c:v>6.4819897827829917E-2</c:v>
                </c:pt>
                <c:pt idx="23111" formatCode="0.0%">
                  <c:v>7.1710557359033728E-2</c:v>
                </c:pt>
                <c:pt idx="23112" formatCode="0.0%">
                  <c:v>7.1912379244961327E-2</c:v>
                </c:pt>
                <c:pt idx="23113" formatCode="0.0%">
                  <c:v>6.8733857602756215E-2</c:v>
                </c:pt>
                <c:pt idx="23114" formatCode="0.0%">
                  <c:v>6.7525715734621017E-2</c:v>
                </c:pt>
                <c:pt idx="23115" formatCode="0.0%">
                  <c:v>6.8642702383123019E-2</c:v>
                </c:pt>
                <c:pt idx="23116" formatCode="0.0%">
                  <c:v>7.0892040818975294E-2</c:v>
                </c:pt>
                <c:pt idx="23117" formatCode="0.0%">
                  <c:v>6.9132663170278746E-2</c:v>
                </c:pt>
                <c:pt idx="23118" formatCode="0.0%">
                  <c:v>6.9900469440833224E-2</c:v>
                </c:pt>
                <c:pt idx="23119" formatCode="0.0%">
                  <c:v>6.6994662047041409E-2</c:v>
                </c:pt>
                <c:pt idx="23120" formatCode="0.0%">
                  <c:v>7.1026963674770668E-2</c:v>
                </c:pt>
                <c:pt idx="23121" formatCode="0.0%">
                  <c:v>7.0781859005966244E-2</c:v>
                </c:pt>
                <c:pt idx="23122" formatCode="0.0%">
                  <c:v>7.2165485372663318E-2</c:v>
                </c:pt>
                <c:pt idx="23123" formatCode="0.0%">
                  <c:v>7.1343056643566993E-2</c:v>
                </c:pt>
                <c:pt idx="23124" formatCode="0.0%">
                  <c:v>7.1315467736112678E-2</c:v>
                </c:pt>
                <c:pt idx="23125" formatCode="0.0%">
                  <c:v>8.057787627286829E-2</c:v>
                </c:pt>
                <c:pt idx="23126" formatCode="0.0%">
                  <c:v>9.901387507134686E-2</c:v>
                </c:pt>
                <c:pt idx="23127" formatCode="0.0%">
                  <c:v>0.10511828146754391</c:v>
                </c:pt>
                <c:pt idx="23128" formatCode="0.0%">
                  <c:v>0.10259243411840288</c:v>
                </c:pt>
                <c:pt idx="23129" formatCode="0.0%">
                  <c:v>0.1026465140489333</c:v>
                </c:pt>
                <c:pt idx="23130" formatCode="0.0%">
                  <c:v>0.11812938525870186</c:v>
                </c:pt>
                <c:pt idx="23131" formatCode="0.0%">
                  <c:v>0.11847055820668545</c:v>
                </c:pt>
                <c:pt idx="23132" formatCode="0.0%">
                  <c:v>0.12904296437361748</c:v>
                </c:pt>
                <c:pt idx="23133" formatCode="0.0%">
                  <c:v>0.13336683553204531</c:v>
                </c:pt>
                <c:pt idx="23134" formatCode="0.0%">
                  <c:v>0.13295068019208672</c:v>
                </c:pt>
                <c:pt idx="23135" formatCode="0.0%">
                  <c:v>0.13354461828648612</c:v>
                </c:pt>
                <c:pt idx="23136" formatCode="0.0%">
                  <c:v>0.13471320973718251</c:v>
                </c:pt>
                <c:pt idx="23137" formatCode="0.0%">
                  <c:v>0.13307541937915499</c:v>
                </c:pt>
                <c:pt idx="23138" formatCode="0.0%">
                  <c:v>0.13403679181593664</c:v>
                </c:pt>
                <c:pt idx="23139" formatCode="0.0%">
                  <c:v>0.13446546103224777</c:v>
                </c:pt>
                <c:pt idx="23140" formatCode="0.0%">
                  <c:v>0.1318940396178872</c:v>
                </c:pt>
                <c:pt idx="23141" formatCode="0.0%">
                  <c:v>0.13210606278906004</c:v>
                </c:pt>
                <c:pt idx="23142" formatCode="0.0%">
                  <c:v>0.13227484874235262</c:v>
                </c:pt>
                <c:pt idx="23143" formatCode="0.0%">
                  <c:v>0.13335831785736305</c:v>
                </c:pt>
                <c:pt idx="23144" formatCode="0.0%">
                  <c:v>0.13927680408315743</c:v>
                </c:pt>
                <c:pt idx="23145" formatCode="0.0%">
                  <c:v>0.18281786816885306</c:v>
                </c:pt>
                <c:pt idx="23146" formatCode="0.0%">
                  <c:v>0.20508251905659272</c:v>
                </c:pt>
                <c:pt idx="23147" formatCode="0.0%">
                  <c:v>0.20033219402725561</c:v>
                </c:pt>
                <c:pt idx="23148" formatCode="0.0%">
                  <c:v>0.25088132306611327</c:v>
                </c:pt>
                <c:pt idx="23149" formatCode="0.0%">
                  <c:v>0.24941248589692558</c:v>
                </c:pt>
                <c:pt idx="23150" formatCode="0.0%">
                  <c:v>0.30172766367026965</c:v>
                </c:pt>
                <c:pt idx="23151" formatCode="0.0%">
                  <c:v>0.31344764436614825</c:v>
                </c:pt>
                <c:pt idx="23152" formatCode="0.0%">
                  <c:v>0.34680521322021185</c:v>
                </c:pt>
                <c:pt idx="23153" formatCode="0.0%">
                  <c:v>0.36036933505456625</c:v>
                </c:pt>
                <c:pt idx="23154" formatCode="0.0%">
                  <c:v>0.36152790492265263</c:v>
                </c:pt>
                <c:pt idx="23155" formatCode="0.0%">
                  <c:v>0.44493549918382458</c:v>
                </c:pt>
                <c:pt idx="23156" formatCode="0.0%">
                  <c:v>0.48723627140892345</c:v>
                </c:pt>
                <c:pt idx="23157" formatCode="0.0%">
                  <c:v>0.50843254620935796</c:v>
                </c:pt>
                <c:pt idx="23158" formatCode="0.0%">
                  <c:v>0.59524445253525959</c:v>
                </c:pt>
                <c:pt idx="23159" formatCode="0.0%">
                  <c:v>0.70039324387156521</c:v>
                </c:pt>
                <c:pt idx="23160" formatCode="0.0%">
                  <c:v>0.81113384707464153</c:v>
                </c:pt>
                <c:pt idx="23161" formatCode="0.0%">
                  <c:v>0.85355479969806014</c:v>
                </c:pt>
                <c:pt idx="23162" formatCode="0.0%">
                  <c:v>0.86113555998129188</c:v>
                </c:pt>
                <c:pt idx="23163" formatCode="0.0%">
                  <c:v>0.8634255599615589</c:v>
                </c:pt>
                <c:pt idx="23164" formatCode="0.0%">
                  <c:v>0.86848268436708387</c:v>
                </c:pt>
                <c:pt idx="23165" formatCode="0.0%">
                  <c:v>0.86758363221146451</c:v>
                </c:pt>
                <c:pt idx="23166" formatCode="0.0%">
                  <c:v>0.94639546293740906</c:v>
                </c:pt>
                <c:pt idx="23167" formatCode="0.0%">
                  <c:v>0.94975308472432129</c:v>
                </c:pt>
                <c:pt idx="23168" formatCode="0.0%">
                  <c:v>0.97388649933371529</c:v>
                </c:pt>
                <c:pt idx="23169" formatCode="0.0%">
                  <c:v>0.97896957559577835</c:v>
                </c:pt>
                <c:pt idx="23170" formatCode="0.0%">
                  <c:v>0.97130052160165148</c:v>
                </c:pt>
                <c:pt idx="23171" formatCode="0.0%">
                  <c:v>0.96884705720011088</c:v>
                </c:pt>
                <c:pt idx="23172" formatCode="0.0%">
                  <c:v>0.95960933839167795</c:v>
                </c:pt>
                <c:pt idx="23173" formatCode="0.0%">
                  <c:v>0.9631032108811719</c:v>
                </c:pt>
                <c:pt idx="23174" formatCode="0.0%">
                  <c:v>0.96290741698857152</c:v>
                </c:pt>
                <c:pt idx="23175" formatCode="0.0%">
                  <c:v>0.96227032701111581</c:v>
                </c:pt>
                <c:pt idx="23176" formatCode="0.0%">
                  <c:v>0.94419011843705047</c:v>
                </c:pt>
                <c:pt idx="23177" formatCode="0.0%">
                  <c:v>0.93667619287454329</c:v>
                </c:pt>
                <c:pt idx="23178" formatCode="0.0%">
                  <c:v>0.85934732439132722</c:v>
                </c:pt>
                <c:pt idx="23179" formatCode="0.0%">
                  <c:v>0.80259766801539723</c:v>
                </c:pt>
                <c:pt idx="23180" formatCode="0.0%">
                  <c:v>0.64783530252698285</c:v>
                </c:pt>
                <c:pt idx="23181" formatCode="0.0%">
                  <c:v>0.62914913494073998</c:v>
                </c:pt>
                <c:pt idx="23182" formatCode="0.0%">
                  <c:v>0.59067662660696163</c:v>
                </c:pt>
                <c:pt idx="23183" formatCode="0.0%">
                  <c:v>0.59422342693566621</c:v>
                </c:pt>
                <c:pt idx="23184" formatCode="0.0%">
                  <c:v>0.56986461714841252</c:v>
                </c:pt>
                <c:pt idx="23185" formatCode="0.0%">
                  <c:v>0.57120660303416371</c:v>
                </c:pt>
                <c:pt idx="23186" formatCode="0.0%">
                  <c:v>0.49126234808169056</c:v>
                </c:pt>
                <c:pt idx="23187" formatCode="0.0%">
                  <c:v>0.4915714922562292</c:v>
                </c:pt>
                <c:pt idx="23188" formatCode="0.0%">
                  <c:v>0.44910444688993129</c:v>
                </c:pt>
                <c:pt idx="23189" formatCode="0.0%">
                  <c:v>0.42715603484667325</c:v>
                </c:pt>
                <c:pt idx="23190" formatCode="0.0%">
                  <c:v>0.41684295806087918</c:v>
                </c:pt>
                <c:pt idx="23191" formatCode="0.0%">
                  <c:v>0.41640154257952089</c:v>
                </c:pt>
                <c:pt idx="23192" formatCode="0.0%">
                  <c:v>0.37485175670695958</c:v>
                </c:pt>
                <c:pt idx="23193" formatCode="0.0%">
                  <c:v>0.39231443118530712</c:v>
                </c:pt>
                <c:pt idx="23194" formatCode="0.0%">
                  <c:v>0.38454657536005155</c:v>
                </c:pt>
                <c:pt idx="23195" formatCode="0.0%">
                  <c:v>0.30947866580922456</c:v>
                </c:pt>
                <c:pt idx="23196" formatCode="0.0%">
                  <c:v>0.3112949806020468</c:v>
                </c:pt>
                <c:pt idx="23197" formatCode="0.0%">
                  <c:v>0.29231919336148116</c:v>
                </c:pt>
                <c:pt idx="23198" formatCode="0.0%">
                  <c:v>0.29371826887012875</c:v>
                </c:pt>
                <c:pt idx="23199" formatCode="0.0%">
                  <c:v>0.29010520703159309</c:v>
                </c:pt>
                <c:pt idx="23200" formatCode="0.0%">
                  <c:v>0.28307606110899047</c:v>
                </c:pt>
                <c:pt idx="23201" formatCode="0.0%">
                  <c:v>0.27856786320550164</c:v>
                </c:pt>
                <c:pt idx="23202" formatCode="0.0%">
                  <c:v>0.28067071226689905</c:v>
                </c:pt>
                <c:pt idx="23203" formatCode="0.0%">
                  <c:v>0.2644436886943744</c:v>
                </c:pt>
                <c:pt idx="23204" formatCode="0.0%">
                  <c:v>0.27752734710135468</c:v>
                </c:pt>
                <c:pt idx="23205" formatCode="0.0%">
                  <c:v>0.2531822665264632</c:v>
                </c:pt>
                <c:pt idx="23206" formatCode="0.0%">
                  <c:v>0.24781867469416155</c:v>
                </c:pt>
                <c:pt idx="23207" formatCode="0.0%">
                  <c:v>0.25051643117599853</c:v>
                </c:pt>
                <c:pt idx="23208" formatCode="0.0%">
                  <c:v>0.24699966401917811</c:v>
                </c:pt>
                <c:pt idx="23209" formatCode="0.0%">
                  <c:v>0.2455280040455958</c:v>
                </c:pt>
                <c:pt idx="23210" formatCode="0.0%">
                  <c:v>0.24799908997624301</c:v>
                </c:pt>
                <c:pt idx="23211" formatCode="0.0%">
                  <c:v>0.23259879245445739</c:v>
                </c:pt>
                <c:pt idx="23212" formatCode="0.0%">
                  <c:v>0.22929718801860099</c:v>
                </c:pt>
                <c:pt idx="23213" formatCode="0.0%">
                  <c:v>0.19859706094726359</c:v>
                </c:pt>
                <c:pt idx="23214" formatCode="0.0%">
                  <c:v>0.19919715265275345</c:v>
                </c:pt>
                <c:pt idx="23215" formatCode="0.0%">
                  <c:v>0.20135267591517875</c:v>
                </c:pt>
                <c:pt idx="23216" formatCode="0.0%">
                  <c:v>0.19906147185646123</c:v>
                </c:pt>
                <c:pt idx="23217" formatCode="0.0%">
                  <c:v>0.21197760152100564</c:v>
                </c:pt>
                <c:pt idx="23218" formatCode="0.0%">
                  <c:v>0.20918376015371606</c:v>
                </c:pt>
                <c:pt idx="23219" formatCode="0.0%">
                  <c:v>0.21347560367244167</c:v>
                </c:pt>
                <c:pt idx="23220" formatCode="0.0%">
                  <c:v>0.19551923067418342</c:v>
                </c:pt>
                <c:pt idx="23221" formatCode="0.0%">
                  <c:v>0.2964428795847861</c:v>
                </c:pt>
                <c:pt idx="23222" formatCode="0.0%">
                  <c:v>0.29705670379571325</c:v>
                </c:pt>
                <c:pt idx="23223" formatCode="0.0%">
                  <c:v>0.29759819043869362</c:v>
                </c:pt>
                <c:pt idx="23224" formatCode="0.0%">
                  <c:v>0.28547791995551786</c:v>
                </c:pt>
                <c:pt idx="23225" formatCode="0.0%">
                  <c:v>0.2822197334143306</c:v>
                </c:pt>
                <c:pt idx="23226" formatCode="0.0%">
                  <c:v>0.27785082696124075</c:v>
                </c:pt>
                <c:pt idx="23227" formatCode="0.0%">
                  <c:v>0.27691524315804655</c:v>
                </c:pt>
                <c:pt idx="23228" formatCode="0.0%">
                  <c:v>0.2772785240165026</c:v>
                </c:pt>
                <c:pt idx="23229" formatCode="0.0%">
                  <c:v>0.27508146376276993</c:v>
                </c:pt>
                <c:pt idx="23230" formatCode="0.0%">
                  <c:v>0.28854970121437434</c:v>
                </c:pt>
                <c:pt idx="23231" formatCode="0.0%">
                  <c:v>0.29083476756593102</c:v>
                </c:pt>
                <c:pt idx="23232" formatCode="0.0%">
                  <c:v>0.30393089018517222</c:v>
                </c:pt>
                <c:pt idx="23233" formatCode="0.0%">
                  <c:v>0.30837739803630826</c:v>
                </c:pt>
                <c:pt idx="23234" formatCode="0.0%">
                  <c:v>0.31190627342591631</c:v>
                </c:pt>
                <c:pt idx="23235" formatCode="0.0%">
                  <c:v>0.30855112694980075</c:v>
                </c:pt>
                <c:pt idx="23236" formatCode="0.0%">
                  <c:v>0.30871862312591336</c:v>
                </c:pt>
                <c:pt idx="23237" formatCode="0.0%">
                  <c:v>0.29954795443808413</c:v>
                </c:pt>
                <c:pt idx="23238" formatCode="0.0%">
                  <c:v>0.29818910378692892</c:v>
                </c:pt>
                <c:pt idx="23239" formatCode="0.0%">
                  <c:v>0.29885442349114011</c:v>
                </c:pt>
                <c:pt idx="23240" formatCode="0.0%">
                  <c:v>0.29892671225706718</c:v>
                </c:pt>
                <c:pt idx="23241" formatCode="0.0%">
                  <c:v>0.19904090098692181</c:v>
                </c:pt>
                <c:pt idx="23242" formatCode="0.0%">
                  <c:v>0.19995343635921145</c:v>
                </c:pt>
                <c:pt idx="23243" formatCode="0.0%">
                  <c:v>0.20288460482781742</c:v>
                </c:pt>
                <c:pt idx="23244" formatCode="0.0%">
                  <c:v>0.1950473310797132</c:v>
                </c:pt>
                <c:pt idx="23245" formatCode="0.0%">
                  <c:v>0.19497950399411162</c:v>
                </c:pt>
                <c:pt idx="23246" formatCode="0.0%">
                  <c:v>0.19498716133070129</c:v>
                </c:pt>
                <c:pt idx="23247" formatCode="0.0%">
                  <c:v>0.19429527533434826</c:v>
                </c:pt>
                <c:pt idx="23248" formatCode="0.0%">
                  <c:v>0.19371542198754371</c:v>
                </c:pt>
                <c:pt idx="23249" formatCode="0.0%">
                  <c:v>0.1939889599235875</c:v>
                </c:pt>
                <c:pt idx="23250" formatCode="0.0%">
                  <c:v>0.17209170378173447</c:v>
                </c:pt>
                <c:pt idx="23251" formatCode="0.0%">
                  <c:v>0.17232403570569105</c:v>
                </c:pt>
                <c:pt idx="23252" formatCode="0.0%">
                  <c:v>0.14139361867428349</c:v>
                </c:pt>
                <c:pt idx="23253" formatCode="0.0%">
                  <c:v>0.13964179650388928</c:v>
                </c:pt>
                <c:pt idx="23254" formatCode="0.0%">
                  <c:v>0.13646046662606875</c:v>
                </c:pt>
                <c:pt idx="23255" formatCode="0.0%">
                  <c:v>0.13785279490817104</c:v>
                </c:pt>
                <c:pt idx="23256" formatCode="0.0%">
                  <c:v>0.13903244671071435</c:v>
                </c:pt>
                <c:pt idx="23257" formatCode="0.0%">
                  <c:v>0.13103470634602438</c:v>
                </c:pt>
                <c:pt idx="23258" formatCode="0.0%">
                  <c:v>0.12227955176587778</c:v>
                </c:pt>
                <c:pt idx="23259" formatCode="0.0%">
                  <c:v>0.12157922172895091</c:v>
                </c:pt>
                <c:pt idx="23260" formatCode="0.0%">
                  <c:v>0.11843536757488286</c:v>
                </c:pt>
                <c:pt idx="23261" formatCode="0.0%">
                  <c:v>0.11540253623158443</c:v>
                </c:pt>
                <c:pt idx="23262" formatCode="0.0%">
                  <c:v>0.10642489875221182</c:v>
                </c:pt>
                <c:pt idx="23263" formatCode="0.0%">
                  <c:v>0.10631871622084897</c:v>
                </c:pt>
                <c:pt idx="23264" formatCode="0.0%">
                  <c:v>0.11179230567829011</c:v>
                </c:pt>
                <c:pt idx="23265" formatCode="0.0%">
                  <c:v>0.1109658945150135</c:v>
                </c:pt>
                <c:pt idx="23266" formatCode="0.0%">
                  <c:v>0.11132030295034166</c:v>
                </c:pt>
                <c:pt idx="23267" formatCode="0.0%">
                  <c:v>0.10897682764172639</c:v>
                </c:pt>
                <c:pt idx="23268" formatCode="0.0%">
                  <c:v>0.10897769538426828</c:v>
                </c:pt>
                <c:pt idx="23269" formatCode="0.0%">
                  <c:v>0.11030485414648993</c:v>
                </c:pt>
                <c:pt idx="23270" formatCode="0.0%">
                  <c:v>9.7404268729229526E-2</c:v>
                </c:pt>
                <c:pt idx="23271" formatCode="0.0%">
                  <c:v>9.2151379396629374E-2</c:v>
                </c:pt>
                <c:pt idx="23272" formatCode="0.0%">
                  <c:v>9.4343347508194855E-2</c:v>
                </c:pt>
                <c:pt idx="23273" formatCode="0.0%">
                  <c:v>8.7607742765771601E-2</c:v>
                </c:pt>
                <c:pt idx="23274" formatCode="0.0%">
                  <c:v>8.49187327778088E-2</c:v>
                </c:pt>
                <c:pt idx="23275" formatCode="0.0%">
                  <c:v>8.1058125461002994E-2</c:v>
                </c:pt>
                <c:pt idx="23276" formatCode="0.0%">
                  <c:v>8.0499078330432725E-2</c:v>
                </c:pt>
              </c:numCache>
            </c:numRef>
          </c:val>
          <c:smooth val="0"/>
          <c:extLst>
            <c:ext xmlns:c16="http://schemas.microsoft.com/office/drawing/2014/chart" uri="{C3380CC4-5D6E-409C-BE32-E72D297353CC}">
              <c16:uniqueId val="{00000000-7069-4100-BDFC-A77AA47C9677}"/>
            </c:ext>
          </c:extLst>
        </c:ser>
        <c:dLbls>
          <c:showLegendKey val="0"/>
          <c:showVal val="0"/>
          <c:showCatName val="0"/>
          <c:showSerName val="0"/>
          <c:showPercent val="0"/>
          <c:showBubbleSize val="0"/>
        </c:dLbls>
        <c:smooth val="0"/>
        <c:axId val="1572009296"/>
        <c:axId val="1245155472"/>
      </c:lineChart>
      <c:dateAx>
        <c:axId val="1572009296"/>
        <c:scaling>
          <c:orientation val="minMax"/>
        </c:scaling>
        <c:delete val="1"/>
        <c:axPos val="b"/>
        <c:numFmt formatCode="[$-14809]mmm\ yyyy;@" sourceLinked="0"/>
        <c:majorTickMark val="none"/>
        <c:minorTickMark val="none"/>
        <c:tickLblPos val="nextTo"/>
        <c:crossAx val="1245155472"/>
        <c:crosses val="autoZero"/>
        <c:auto val="1"/>
        <c:lblOffset val="100"/>
        <c:baseTimeUnit val="days"/>
        <c:majorUnit val="2"/>
        <c:majorTimeUnit val="years"/>
      </c:dateAx>
      <c:valAx>
        <c:axId val="1245155472"/>
        <c:scaling>
          <c:orientation val="minMax"/>
        </c:scaling>
        <c:delete val="1"/>
        <c:axPos val="l"/>
        <c:numFmt formatCode="0%" sourceLinked="0"/>
        <c:majorTickMark val="none"/>
        <c:minorTickMark val="none"/>
        <c:tickLblPos val="nextTo"/>
        <c:crossAx val="1572009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258410797256925E-2"/>
          <c:y val="1.0888128339311801E-2"/>
          <c:w val="0.91784356816763235"/>
          <c:h val="0.5917341221221426"/>
        </c:manualLayout>
      </c:layout>
      <c:lineChart>
        <c:grouping val="standard"/>
        <c:varyColors val="0"/>
        <c:ser>
          <c:idx val="0"/>
          <c:order val="0"/>
          <c:tx>
            <c:strRef>
              <c:f>Sheet1!$B$1</c:f>
              <c:strCache>
                <c:ptCount val="1"/>
                <c:pt idx="0">
                  <c:v>Series 1</c:v>
                </c:pt>
              </c:strCache>
            </c:strRef>
          </c:tx>
          <c:spPr>
            <a:ln w="28575" cap="rnd">
              <a:solidFill>
                <a:schemeClr val="accent6"/>
              </a:solidFill>
              <a:round/>
            </a:ln>
            <a:effectLst/>
          </c:spPr>
          <c:marker>
            <c:symbol val="none"/>
          </c:marker>
          <c:cat>
            <c:numRef>
              <c:f>Sheet1!$A$2:$A$157</c:f>
              <c:numCache>
                <c:formatCode>General</c:formatCode>
                <c:ptCount val="156"/>
                <c:pt idx="0">
                  <c:v>0</c:v>
                </c:pt>
                <c:pt idx="1">
                  <c:v>0.2</c:v>
                </c:pt>
                <c:pt idx="2">
                  <c:v>0.4</c:v>
                </c:pt>
                <c:pt idx="3">
                  <c:v>0.60000000000000009</c:v>
                </c:pt>
                <c:pt idx="4">
                  <c:v>0.8</c:v>
                </c:pt>
                <c:pt idx="5">
                  <c:v>1</c:v>
                </c:pt>
                <c:pt idx="6">
                  <c:v>1.2</c:v>
                </c:pt>
                <c:pt idx="7">
                  <c:v>1.4</c:v>
                </c:pt>
                <c:pt idx="8">
                  <c:v>1.5999999999999999</c:v>
                </c:pt>
                <c:pt idx="9">
                  <c:v>1.7999999999999998</c:v>
                </c:pt>
                <c:pt idx="10">
                  <c:v>1.9999999999999998</c:v>
                </c:pt>
                <c:pt idx="11">
                  <c:v>2.1999999999999997</c:v>
                </c:pt>
                <c:pt idx="12">
                  <c:v>2.4</c:v>
                </c:pt>
                <c:pt idx="13">
                  <c:v>2.6</c:v>
                </c:pt>
                <c:pt idx="14">
                  <c:v>2.8000000000000003</c:v>
                </c:pt>
                <c:pt idx="15">
                  <c:v>3.0000000000000004</c:v>
                </c:pt>
                <c:pt idx="16">
                  <c:v>3.2000000000000006</c:v>
                </c:pt>
                <c:pt idx="17">
                  <c:v>3.4000000000000008</c:v>
                </c:pt>
                <c:pt idx="18">
                  <c:v>3.600000000000001</c:v>
                </c:pt>
                <c:pt idx="19">
                  <c:v>3.8000000000000012</c:v>
                </c:pt>
                <c:pt idx="20">
                  <c:v>4.0000000000000009</c:v>
                </c:pt>
                <c:pt idx="21">
                  <c:v>4.2000000000000011</c:v>
                </c:pt>
                <c:pt idx="22">
                  <c:v>4.4000000000000012</c:v>
                </c:pt>
                <c:pt idx="23">
                  <c:v>4.6000000000000014</c:v>
                </c:pt>
                <c:pt idx="24">
                  <c:v>4.8000000000000016</c:v>
                </c:pt>
                <c:pt idx="25">
                  <c:v>5.0000000000000018</c:v>
                </c:pt>
                <c:pt idx="26">
                  <c:v>5.200000000000002</c:v>
                </c:pt>
                <c:pt idx="27">
                  <c:v>5.4000000000000021</c:v>
                </c:pt>
                <c:pt idx="28">
                  <c:v>5.6000000000000023</c:v>
                </c:pt>
                <c:pt idx="29">
                  <c:v>5.8000000000000025</c:v>
                </c:pt>
                <c:pt idx="30">
                  <c:v>6.0000000000000027</c:v>
                </c:pt>
                <c:pt idx="31">
                  <c:v>6.2000000000000028</c:v>
                </c:pt>
                <c:pt idx="32">
                  <c:v>6.400000000000003</c:v>
                </c:pt>
                <c:pt idx="33">
                  <c:v>6.6000000000000032</c:v>
                </c:pt>
                <c:pt idx="34">
                  <c:v>6.8000000000000034</c:v>
                </c:pt>
                <c:pt idx="35">
                  <c:v>7.0000000000000036</c:v>
                </c:pt>
                <c:pt idx="36">
                  <c:v>7.2000000000000037</c:v>
                </c:pt>
                <c:pt idx="37">
                  <c:v>7.4000000000000039</c:v>
                </c:pt>
                <c:pt idx="38">
                  <c:v>7.6000000000000041</c:v>
                </c:pt>
                <c:pt idx="39">
                  <c:v>7.8000000000000043</c:v>
                </c:pt>
                <c:pt idx="40">
                  <c:v>8.0000000000000036</c:v>
                </c:pt>
                <c:pt idx="41">
                  <c:v>8.2000000000000028</c:v>
                </c:pt>
                <c:pt idx="42">
                  <c:v>8.4000000000000021</c:v>
                </c:pt>
                <c:pt idx="43">
                  <c:v>8.6000000000000014</c:v>
                </c:pt>
                <c:pt idx="44">
                  <c:v>8.8000000000000007</c:v>
                </c:pt>
                <c:pt idx="45">
                  <c:v>9</c:v>
                </c:pt>
                <c:pt idx="46">
                  <c:v>9.1999999999999993</c:v>
                </c:pt>
                <c:pt idx="47">
                  <c:v>9.3999999999999986</c:v>
                </c:pt>
                <c:pt idx="48">
                  <c:v>9.5999999999999979</c:v>
                </c:pt>
                <c:pt idx="49">
                  <c:v>9.7999999999999972</c:v>
                </c:pt>
                <c:pt idx="50">
                  <c:v>9.9999999999999964</c:v>
                </c:pt>
                <c:pt idx="51">
                  <c:v>10.199999999999996</c:v>
                </c:pt>
                <c:pt idx="52">
                  <c:v>10.399999999999995</c:v>
                </c:pt>
                <c:pt idx="53">
                  <c:v>10.599999999999994</c:v>
                </c:pt>
                <c:pt idx="54">
                  <c:v>10.799999999999994</c:v>
                </c:pt>
                <c:pt idx="55">
                  <c:v>10.999999999999993</c:v>
                </c:pt>
                <c:pt idx="56">
                  <c:v>11.199999999999992</c:v>
                </c:pt>
                <c:pt idx="57">
                  <c:v>11.399999999999991</c:v>
                </c:pt>
                <c:pt idx="58">
                  <c:v>11.599999999999991</c:v>
                </c:pt>
                <c:pt idx="59">
                  <c:v>11.79999999999999</c:v>
                </c:pt>
                <c:pt idx="60">
                  <c:v>11.999999999999989</c:v>
                </c:pt>
                <c:pt idx="61">
                  <c:v>12.199999999999989</c:v>
                </c:pt>
                <c:pt idx="62">
                  <c:v>12.399999999999988</c:v>
                </c:pt>
                <c:pt idx="63">
                  <c:v>12.599999999999987</c:v>
                </c:pt>
                <c:pt idx="64">
                  <c:v>12.799999999999986</c:v>
                </c:pt>
                <c:pt idx="65">
                  <c:v>12.999999999999986</c:v>
                </c:pt>
                <c:pt idx="66">
                  <c:v>13.199999999999985</c:v>
                </c:pt>
                <c:pt idx="67">
                  <c:v>13.399999999999984</c:v>
                </c:pt>
                <c:pt idx="68">
                  <c:v>13.599999999999984</c:v>
                </c:pt>
                <c:pt idx="69">
                  <c:v>13.799999999999983</c:v>
                </c:pt>
                <c:pt idx="70">
                  <c:v>13.999999999999982</c:v>
                </c:pt>
                <c:pt idx="71">
                  <c:v>14.199999999999982</c:v>
                </c:pt>
                <c:pt idx="72">
                  <c:v>14.399999999999981</c:v>
                </c:pt>
                <c:pt idx="73">
                  <c:v>14.59999999999998</c:v>
                </c:pt>
                <c:pt idx="74">
                  <c:v>14.799999999999979</c:v>
                </c:pt>
                <c:pt idx="75">
                  <c:v>14.999999999999979</c:v>
                </c:pt>
                <c:pt idx="76">
                  <c:v>15.199999999999978</c:v>
                </c:pt>
                <c:pt idx="77">
                  <c:v>15.399999999999977</c:v>
                </c:pt>
                <c:pt idx="78">
                  <c:v>15.599999999999977</c:v>
                </c:pt>
                <c:pt idx="79">
                  <c:v>15.799999999999976</c:v>
                </c:pt>
                <c:pt idx="80">
                  <c:v>15.999999999999975</c:v>
                </c:pt>
                <c:pt idx="81">
                  <c:v>16.199999999999974</c:v>
                </c:pt>
                <c:pt idx="82">
                  <c:v>16.399999999999974</c:v>
                </c:pt>
                <c:pt idx="83">
                  <c:v>16.599999999999973</c:v>
                </c:pt>
                <c:pt idx="84">
                  <c:v>16.799999999999972</c:v>
                </c:pt>
                <c:pt idx="85">
                  <c:v>16.999999999999972</c:v>
                </c:pt>
                <c:pt idx="86">
                  <c:v>17.199999999999971</c:v>
                </c:pt>
                <c:pt idx="87">
                  <c:v>17.39999999999997</c:v>
                </c:pt>
                <c:pt idx="88">
                  <c:v>17.599999999999969</c:v>
                </c:pt>
                <c:pt idx="89">
                  <c:v>17.799999999999969</c:v>
                </c:pt>
                <c:pt idx="90">
                  <c:v>17.999999999999968</c:v>
                </c:pt>
                <c:pt idx="91">
                  <c:v>18.199999999999967</c:v>
                </c:pt>
                <c:pt idx="92">
                  <c:v>18.399999999999967</c:v>
                </c:pt>
                <c:pt idx="93">
                  <c:v>18.599999999999966</c:v>
                </c:pt>
                <c:pt idx="94">
                  <c:v>18.799999999999965</c:v>
                </c:pt>
                <c:pt idx="95">
                  <c:v>18.999999999999964</c:v>
                </c:pt>
                <c:pt idx="96">
                  <c:v>19.199999999999964</c:v>
                </c:pt>
                <c:pt idx="97">
                  <c:v>19.399999999999963</c:v>
                </c:pt>
                <c:pt idx="98">
                  <c:v>19.599999999999962</c:v>
                </c:pt>
                <c:pt idx="99">
                  <c:v>19.799999999999962</c:v>
                </c:pt>
                <c:pt idx="100">
                  <c:v>19.999999999999961</c:v>
                </c:pt>
                <c:pt idx="101">
                  <c:v>20.19999999999996</c:v>
                </c:pt>
                <c:pt idx="102">
                  <c:v>20.399999999999959</c:v>
                </c:pt>
                <c:pt idx="103">
                  <c:v>20.599999999999959</c:v>
                </c:pt>
                <c:pt idx="104">
                  <c:v>20.799999999999958</c:v>
                </c:pt>
                <c:pt idx="105">
                  <c:v>20.999999999999957</c:v>
                </c:pt>
                <c:pt idx="106">
                  <c:v>21.199999999999957</c:v>
                </c:pt>
                <c:pt idx="107">
                  <c:v>21.399999999999956</c:v>
                </c:pt>
                <c:pt idx="108">
                  <c:v>21.599999999999955</c:v>
                </c:pt>
                <c:pt idx="109">
                  <c:v>21.799999999999955</c:v>
                </c:pt>
                <c:pt idx="110">
                  <c:v>21.999999999999954</c:v>
                </c:pt>
                <c:pt idx="111">
                  <c:v>22.199999999999953</c:v>
                </c:pt>
                <c:pt idx="112">
                  <c:v>22.399999999999952</c:v>
                </c:pt>
                <c:pt idx="113">
                  <c:v>22.599999999999952</c:v>
                </c:pt>
                <c:pt idx="114">
                  <c:v>22.799999999999951</c:v>
                </c:pt>
                <c:pt idx="115">
                  <c:v>22.99999999999995</c:v>
                </c:pt>
                <c:pt idx="116">
                  <c:v>23.19999999999995</c:v>
                </c:pt>
                <c:pt idx="117">
                  <c:v>23.399999999999949</c:v>
                </c:pt>
                <c:pt idx="118">
                  <c:v>23.599999999999948</c:v>
                </c:pt>
                <c:pt idx="119">
                  <c:v>23.799999999999947</c:v>
                </c:pt>
                <c:pt idx="120">
                  <c:v>23.999999999999947</c:v>
                </c:pt>
                <c:pt idx="121">
                  <c:v>24.199999999999946</c:v>
                </c:pt>
                <c:pt idx="122">
                  <c:v>24.399999999999945</c:v>
                </c:pt>
                <c:pt idx="123">
                  <c:v>24.599999999999945</c:v>
                </c:pt>
                <c:pt idx="124">
                  <c:v>24.799999999999944</c:v>
                </c:pt>
                <c:pt idx="125">
                  <c:v>24.999999999999943</c:v>
                </c:pt>
                <c:pt idx="126">
                  <c:v>25.199999999999942</c:v>
                </c:pt>
                <c:pt idx="127">
                  <c:v>25.399999999999942</c:v>
                </c:pt>
                <c:pt idx="128">
                  <c:v>25.599999999999941</c:v>
                </c:pt>
                <c:pt idx="129">
                  <c:v>25.79999999999994</c:v>
                </c:pt>
                <c:pt idx="130">
                  <c:v>25.99999999999994</c:v>
                </c:pt>
                <c:pt idx="131">
                  <c:v>26.199999999999939</c:v>
                </c:pt>
                <c:pt idx="132">
                  <c:v>26.399999999999938</c:v>
                </c:pt>
                <c:pt idx="133">
                  <c:v>26.599999999999937</c:v>
                </c:pt>
                <c:pt idx="134">
                  <c:v>26.799999999999937</c:v>
                </c:pt>
                <c:pt idx="135">
                  <c:v>26.999999999999936</c:v>
                </c:pt>
                <c:pt idx="136">
                  <c:v>27.199999999999935</c:v>
                </c:pt>
                <c:pt idx="137">
                  <c:v>27.399999999999935</c:v>
                </c:pt>
                <c:pt idx="138">
                  <c:v>27.599999999999934</c:v>
                </c:pt>
                <c:pt idx="139">
                  <c:v>27.799999999999933</c:v>
                </c:pt>
                <c:pt idx="140">
                  <c:v>27.999999999999932</c:v>
                </c:pt>
                <c:pt idx="141">
                  <c:v>28.199999999999932</c:v>
                </c:pt>
                <c:pt idx="142">
                  <c:v>28.399999999999931</c:v>
                </c:pt>
                <c:pt idx="143">
                  <c:v>28.59999999999993</c:v>
                </c:pt>
                <c:pt idx="144">
                  <c:v>28.79999999999993</c:v>
                </c:pt>
                <c:pt idx="145">
                  <c:v>28.999999999999929</c:v>
                </c:pt>
                <c:pt idx="146">
                  <c:v>29.199999999999928</c:v>
                </c:pt>
                <c:pt idx="147">
                  <c:v>29.399999999999928</c:v>
                </c:pt>
                <c:pt idx="148">
                  <c:v>29.599999999999927</c:v>
                </c:pt>
                <c:pt idx="149">
                  <c:v>29.799999999999926</c:v>
                </c:pt>
                <c:pt idx="150">
                  <c:v>29.999999999999925</c:v>
                </c:pt>
                <c:pt idx="151">
                  <c:v>30.199999999999925</c:v>
                </c:pt>
                <c:pt idx="152">
                  <c:v>30.399999999999924</c:v>
                </c:pt>
                <c:pt idx="153">
                  <c:v>30.599999999999923</c:v>
                </c:pt>
                <c:pt idx="154">
                  <c:v>30.799999999999923</c:v>
                </c:pt>
                <c:pt idx="155">
                  <c:v>30.999999999999922</c:v>
                </c:pt>
              </c:numCache>
            </c:numRef>
          </c:cat>
          <c:val>
            <c:numRef>
              <c:f>Sheet1!$B$2:$B$157</c:f>
              <c:numCache>
                <c:formatCode>General</c:formatCode>
                <c:ptCount val="156"/>
                <c:pt idx="0">
                  <c:v>100</c:v>
                </c:pt>
                <c:pt idx="1">
                  <c:v>104</c:v>
                </c:pt>
                <c:pt idx="2">
                  <c:v>112.4864</c:v>
                </c:pt>
                <c:pt idx="3">
                  <c:v>121.66529024000003</c:v>
                </c:pt>
                <c:pt idx="4">
                  <c:v>131.59317792358402</c:v>
                </c:pt>
                <c:pt idx="5">
                  <c:v>142.33118124214852</c:v>
                </c:pt>
                <c:pt idx="6">
                  <c:v>153.94540563150784</c:v>
                </c:pt>
                <c:pt idx="7">
                  <c:v>166.50735073103891</c:v>
                </c:pt>
                <c:pt idx="8">
                  <c:v>180.09435055069164</c:v>
                </c:pt>
                <c:pt idx="9">
                  <c:v>194.79004955562814</c:v>
                </c:pt>
                <c:pt idx="10">
                  <c:v>210.68491759936734</c:v>
                </c:pt>
                <c:pt idx="11">
                  <c:v>227.87680687547572</c:v>
                </c:pt>
                <c:pt idx="12">
                  <c:v>246.47155431651467</c:v>
                </c:pt>
                <c:pt idx="13">
                  <c:v>266.58363314874236</c:v>
                </c:pt>
                <c:pt idx="14">
                  <c:v>288.33685761367963</c:v>
                </c:pt>
                <c:pt idx="15">
                  <c:v>311.86514519495591</c:v>
                </c:pt>
                <c:pt idx="16">
                  <c:v>337.31334104286435</c:v>
                </c:pt>
                <c:pt idx="17">
                  <c:v>364.83810967196212</c:v>
                </c:pt>
                <c:pt idx="18">
                  <c:v>394.60889942119428</c:v>
                </c:pt>
                <c:pt idx="19">
                  <c:v>426.8089856139639</c:v>
                </c:pt>
                <c:pt idx="20">
                  <c:v>461.63659884006324</c:v>
                </c:pt>
                <c:pt idx="21">
                  <c:v>499.30614530541266</c:v>
                </c:pt>
                <c:pt idx="22">
                  <c:v>540.04952676233427</c:v>
                </c:pt>
                <c:pt idx="23">
                  <c:v>584.1175681461408</c:v>
                </c:pt>
                <c:pt idx="24">
                  <c:v>631.78156170686589</c:v>
                </c:pt>
                <c:pt idx="25">
                  <c:v>683.33493714214626</c:v>
                </c:pt>
                <c:pt idx="26">
                  <c:v>739.0950680129456</c:v>
                </c:pt>
                <c:pt idx="27">
                  <c:v>799.40522556280212</c:v>
                </c:pt>
                <c:pt idx="28">
                  <c:v>864.63669196872695</c:v>
                </c:pt>
                <c:pt idx="29">
                  <c:v>935.19104603337496</c:v>
                </c:pt>
                <c:pt idx="30">
                  <c:v>1011.5026353896985</c:v>
                </c:pt>
                <c:pt idx="31">
                  <c:v>1094.0412504374981</c:v>
                </c:pt>
                <c:pt idx="32">
                  <c:v>1183.3150164731981</c:v>
                </c:pt>
                <c:pt idx="33">
                  <c:v>1279.8735218174111</c:v>
                </c:pt>
                <c:pt idx="34">
                  <c:v>1384.3112011977121</c:v>
                </c:pt>
                <c:pt idx="35">
                  <c:v>1497.2709952154455</c:v>
                </c:pt>
                <c:pt idx="36">
                  <c:v>1619.4483084250269</c:v>
                </c:pt>
                <c:pt idx="37">
                  <c:v>1751.595290392509</c:v>
                </c:pt>
                <c:pt idx="38">
                  <c:v>1894.5254660885382</c:v>
                </c:pt>
                <c:pt idx="39">
                  <c:v>2049.1187441213629</c:v>
                </c:pt>
                <c:pt idx="40">
                  <c:v>2216.3268336416645</c:v>
                </c:pt>
                <c:pt idx="41">
                  <c:v>2397.1791032668248</c:v>
                </c:pt>
                <c:pt idx="42">
                  <c:v>2592.7889180933976</c:v>
                </c:pt>
                <c:pt idx="43">
                  <c:v>2804.3604938098179</c:v>
                </c:pt>
                <c:pt idx="44">
                  <c:v>3033.1963101047004</c:v>
                </c:pt>
                <c:pt idx="45">
                  <c:v>3280.7051290092445</c:v>
                </c:pt>
                <c:pt idx="46">
                  <c:v>3548.4106675363992</c:v>
                </c:pt>
                <c:pt idx="47">
                  <c:v>3837.9609780073638</c:v>
                </c:pt>
                <c:pt idx="48">
                  <c:v>4151.1385938127632</c:v>
                </c:pt>
                <c:pt idx="49">
                  <c:v>4489.8715030678832</c:v>
                </c:pt>
                <c:pt idx="50">
                  <c:v>4856.2450177182227</c:v>
                </c:pt>
                <c:pt idx="51">
                  <c:v>5252.5146111640279</c:v>
                </c:pt>
                <c:pt idx="52">
                  <c:v>5681.1198034350082</c:v>
                </c:pt>
                <c:pt idx="53">
                  <c:v>6144.6991793953084</c:v>
                </c:pt>
                <c:pt idx="54">
                  <c:v>6646.1066324339627</c:v>
                </c:pt>
                <c:pt idx="55">
                  <c:v>7188.4289336405718</c:v>
                </c:pt>
                <c:pt idx="56">
                  <c:v>7775.0047346256397</c:v>
                </c:pt>
                <c:pt idx="57">
                  <c:v>8409.4451209710896</c:v>
                </c:pt>
                <c:pt idx="58">
                  <c:v>9095.6558428423341</c:v>
                </c:pt>
                <c:pt idx="59">
                  <c:v>9837.8613596182659</c:v>
                </c:pt>
                <c:pt idx="60">
                  <c:v>10640.630846563105</c:v>
                </c:pt>
                <c:pt idx="61">
                  <c:v>11508.906323642659</c:v>
                </c:pt>
                <c:pt idx="62">
                  <c:v>12448.033079651897</c:v>
                </c:pt>
                <c:pt idx="63">
                  <c:v>13463.792578951487</c:v>
                </c:pt>
                <c:pt idx="64">
                  <c:v>14562.438053393922</c:v>
                </c:pt>
                <c:pt idx="65">
                  <c:v>15750.732998550862</c:v>
                </c:pt>
                <c:pt idx="66">
                  <c:v>17035.99281123262</c:v>
                </c:pt>
                <c:pt idx="67">
                  <c:v>18426.129824629181</c:v>
                </c:pt>
                <c:pt idx="68">
                  <c:v>19929.702018318931</c:v>
                </c:pt>
                <c:pt idx="69">
                  <c:v>21555.965703013753</c:v>
                </c:pt>
                <c:pt idx="70">
                  <c:v>23314.932504379663</c:v>
                </c:pt>
                <c:pt idx="71">
                  <c:v>25217.430996737057</c:v>
                </c:pt>
                <c:pt idx="72">
                  <c:v>27275.173366070772</c:v>
                </c:pt>
                <c:pt idx="73">
                  <c:v>29500.827512742158</c:v>
                </c:pt>
                <c:pt idx="74">
                  <c:v>31908.095037781914</c:v>
                </c:pt>
                <c:pt idx="75">
                  <c:v>34511.795592864873</c:v>
                </c:pt>
                <c:pt idx="76">
                  <c:v>37327.958113242661</c:v>
                </c:pt>
                <c:pt idx="77">
                  <c:v>40373.919495283255</c:v>
                </c:pt>
                <c:pt idx="78">
                  <c:v>43668.431326098391</c:v>
                </c:pt>
                <c:pt idx="79">
                  <c:v>47231.775322308007</c:v>
                </c:pt>
                <c:pt idx="80">
                  <c:v>51085.888188608275</c:v>
                </c:pt>
                <c:pt idx="81">
                  <c:v>55254.496664798738</c:v>
                </c:pt>
                <c:pt idx="82">
                  <c:v>59763.263592646297</c:v>
                </c:pt>
                <c:pt idx="83">
                  <c:v>64639.945901806161</c:v>
                </c:pt>
                <c:pt idx="84">
                  <c:v>69914.565487393571</c:v>
                </c:pt>
                <c:pt idx="85">
                  <c:v>75619.594031164859</c:v>
                </c:pt>
                <c:pt idx="86">
                  <c:v>81790.152904107963</c:v>
                </c:pt>
                <c:pt idx="87">
                  <c:v>88464.229381083147</c:v>
                </c:pt>
                <c:pt idx="88">
                  <c:v>95682.910498579411</c:v>
                </c:pt>
                <c:pt idx="89">
                  <c:v>103490.63599526355</c:v>
                </c:pt>
                <c:pt idx="90">
                  <c:v>111935.47189247701</c:v>
                </c:pt>
                <c:pt idx="91">
                  <c:v>121069.406398903</c:v>
                </c:pt>
                <c:pt idx="92">
                  <c:v>130948.66996105356</c:v>
                </c:pt>
                <c:pt idx="93">
                  <c:v>141634.08142987548</c:v>
                </c:pt>
                <c:pt idx="94">
                  <c:v>153191.4224745534</c:v>
                </c:pt>
                <c:pt idx="95">
                  <c:v>165691.84254847691</c:v>
                </c:pt>
                <c:pt idx="96">
                  <c:v>179212.29690043241</c:v>
                </c:pt>
                <c:pt idx="97">
                  <c:v>193836.02032750781</c:v>
                </c:pt>
                <c:pt idx="98">
                  <c:v>209653.03958623236</c:v>
                </c:pt>
                <c:pt idx="99">
                  <c:v>226760.72761646882</c:v>
                </c:pt>
                <c:pt idx="100">
                  <c:v>245264.40298997264</c:v>
                </c:pt>
                <c:pt idx="101">
                  <c:v>265277.9782739543</c:v>
                </c:pt>
                <c:pt idx="102">
                  <c:v>286924.66130110912</c:v>
                </c:pt>
                <c:pt idx="103">
                  <c:v>310337.71366327978</c:v>
                </c:pt>
                <c:pt idx="104">
                  <c:v>335661.27109820303</c:v>
                </c:pt>
                <c:pt idx="105">
                  <c:v>363051.23081981658</c:v>
                </c:pt>
                <c:pt idx="106">
                  <c:v>392676.21125471313</c:v>
                </c:pt>
                <c:pt idx="107">
                  <c:v>424718.59009309718</c:v>
                </c:pt>
                <c:pt idx="108">
                  <c:v>459375.62704469421</c:v>
                </c:pt>
                <c:pt idx="109">
                  <c:v>496860.6782115415</c:v>
                </c:pt>
                <c:pt idx="110">
                  <c:v>537404.5095536036</c:v>
                </c:pt>
                <c:pt idx="111">
                  <c:v>581256.71753317688</c:v>
                </c:pt>
                <c:pt idx="112">
                  <c:v>628687.26568388334</c:v>
                </c:pt>
                <c:pt idx="113">
                  <c:v>679988.14656368864</c:v>
                </c:pt>
                <c:pt idx="114">
                  <c:v>735475.17932328605</c:v>
                </c:pt>
                <c:pt idx="115">
                  <c:v>795489.95395606523</c:v>
                </c:pt>
                <c:pt idx="116">
                  <c:v>860401.93419888057</c:v>
                </c:pt>
                <c:pt idx="117">
                  <c:v>930610.7320295081</c:v>
                </c:pt>
                <c:pt idx="118">
                  <c:v>1006548.5677631167</c:v>
                </c:pt>
                <c:pt idx="119">
                  <c:v>1088682.9308925874</c:v>
                </c:pt>
                <c:pt idx="120">
                  <c:v>1177519.4580534212</c:v>
                </c:pt>
                <c:pt idx="121">
                  <c:v>1273605.0458305811</c:v>
                </c:pt>
                <c:pt idx="122">
                  <c:v>1377531.2175703547</c:v>
                </c:pt>
                <c:pt idx="123">
                  <c:v>1489937.7649240941</c:v>
                </c:pt>
                <c:pt idx="124">
                  <c:v>1611516.686541901</c:v>
                </c:pt>
                <c:pt idx="125">
                  <c:v>1743016.448163721</c:v>
                </c:pt>
                <c:pt idx="126">
                  <c:v>1885246.5903338816</c:v>
                </c:pt>
                <c:pt idx="127">
                  <c:v>2039082.712105124</c:v>
                </c:pt>
                <c:pt idx="128">
                  <c:v>2205471.8614128991</c:v>
                </c:pt>
                <c:pt idx="129">
                  <c:v>2385438.3653041977</c:v>
                </c:pt>
                <c:pt idx="130">
                  <c:v>2580090.1359130121</c:v>
                </c:pt>
                <c:pt idx="131">
                  <c:v>2790625.4910035152</c:v>
                </c:pt>
                <c:pt idx="132">
                  <c:v>3018340.531069404</c:v>
                </c:pt>
                <c:pt idx="133">
                  <c:v>3264637.1184046636</c:v>
                </c:pt>
                <c:pt idx="134">
                  <c:v>3531031.5072664861</c:v>
                </c:pt>
                <c:pt idx="135">
                  <c:v>3819163.6782594332</c:v>
                </c:pt>
                <c:pt idx="136">
                  <c:v>4130807.4344054055</c:v>
                </c:pt>
                <c:pt idx="137">
                  <c:v>4467881.3210528726</c:v>
                </c:pt>
                <c:pt idx="138">
                  <c:v>4832460.4368507899</c:v>
                </c:pt>
                <c:pt idx="139">
                  <c:v>5226789.2084978167</c:v>
                </c:pt>
                <c:pt idx="140">
                  <c:v>5653295.2079112325</c:v>
                </c:pt>
                <c:pt idx="141">
                  <c:v>6114604.0968767917</c:v>
                </c:pt>
                <c:pt idx="142">
                  <c:v>6613555.7911819424</c:v>
                </c:pt>
                <c:pt idx="143">
                  <c:v>7153221.9437423805</c:v>
                </c:pt>
                <c:pt idx="144">
                  <c:v>7736924.8543517618</c:v>
                </c:pt>
                <c:pt idx="145">
                  <c:v>8368257.9224668704</c:v>
                </c:pt>
                <c:pt idx="146">
                  <c:v>9051107.7689401396</c:v>
                </c:pt>
                <c:pt idx="147">
                  <c:v>9789678.1628856603</c:v>
                </c:pt>
                <c:pt idx="148">
                  <c:v>10588515.900977137</c:v>
                </c:pt>
                <c:pt idx="149">
                  <c:v>11452538.798496878</c:v>
                </c:pt>
                <c:pt idx="150">
                  <c:v>12387065.964454208</c:v>
                </c:pt>
                <c:pt idx="151">
                  <c:v>13397850.547153678</c:v>
                </c:pt>
                <c:pt idx="152">
                  <c:v>14491115.151801426</c:v>
                </c:pt>
                <c:pt idx="153">
                  <c:v>15673590.148188377</c:v>
                </c:pt>
                <c:pt idx="154">
                  <c:v>16952555.104280557</c:v>
                </c:pt>
                <c:pt idx="155">
                  <c:v>18335883.60078986</c:v>
                </c:pt>
              </c:numCache>
            </c:numRef>
          </c:val>
          <c:smooth val="0"/>
          <c:extLst>
            <c:ext xmlns:c16="http://schemas.microsoft.com/office/drawing/2014/chart" uri="{C3380CC4-5D6E-409C-BE32-E72D297353CC}">
              <c16:uniqueId val="{00000000-9D79-4162-BC99-D62AA1B032EE}"/>
            </c:ext>
          </c:extLst>
        </c:ser>
        <c:ser>
          <c:idx val="1"/>
          <c:order val="1"/>
          <c:tx>
            <c:strRef>
              <c:f>Sheet1!$C$1</c:f>
              <c:strCache>
                <c:ptCount val="1"/>
                <c:pt idx="0">
                  <c:v>Series 2</c:v>
                </c:pt>
              </c:strCache>
            </c:strRef>
          </c:tx>
          <c:spPr>
            <a:ln w="28575" cap="rnd">
              <a:solidFill>
                <a:schemeClr val="accent2"/>
              </a:solidFill>
              <a:round/>
            </a:ln>
            <a:effectLst/>
          </c:spPr>
          <c:marker>
            <c:symbol val="none"/>
          </c:marker>
          <c:cat>
            <c:numRef>
              <c:f>Sheet1!$A$2:$A$157</c:f>
              <c:numCache>
                <c:formatCode>General</c:formatCode>
                <c:ptCount val="156"/>
                <c:pt idx="0">
                  <c:v>0</c:v>
                </c:pt>
                <c:pt idx="1">
                  <c:v>0.2</c:v>
                </c:pt>
                <c:pt idx="2">
                  <c:v>0.4</c:v>
                </c:pt>
                <c:pt idx="3">
                  <c:v>0.60000000000000009</c:v>
                </c:pt>
                <c:pt idx="4">
                  <c:v>0.8</c:v>
                </c:pt>
                <c:pt idx="5">
                  <c:v>1</c:v>
                </c:pt>
                <c:pt idx="6">
                  <c:v>1.2</c:v>
                </c:pt>
                <c:pt idx="7">
                  <c:v>1.4</c:v>
                </c:pt>
                <c:pt idx="8">
                  <c:v>1.5999999999999999</c:v>
                </c:pt>
                <c:pt idx="9">
                  <c:v>1.7999999999999998</c:v>
                </c:pt>
                <c:pt idx="10">
                  <c:v>1.9999999999999998</c:v>
                </c:pt>
                <c:pt idx="11">
                  <c:v>2.1999999999999997</c:v>
                </c:pt>
                <c:pt idx="12">
                  <c:v>2.4</c:v>
                </c:pt>
                <c:pt idx="13">
                  <c:v>2.6</c:v>
                </c:pt>
                <c:pt idx="14">
                  <c:v>2.8000000000000003</c:v>
                </c:pt>
                <c:pt idx="15">
                  <c:v>3.0000000000000004</c:v>
                </c:pt>
                <c:pt idx="16">
                  <c:v>3.2000000000000006</c:v>
                </c:pt>
                <c:pt idx="17">
                  <c:v>3.4000000000000008</c:v>
                </c:pt>
                <c:pt idx="18">
                  <c:v>3.600000000000001</c:v>
                </c:pt>
                <c:pt idx="19">
                  <c:v>3.8000000000000012</c:v>
                </c:pt>
                <c:pt idx="20">
                  <c:v>4.0000000000000009</c:v>
                </c:pt>
                <c:pt idx="21">
                  <c:v>4.2000000000000011</c:v>
                </c:pt>
                <c:pt idx="22">
                  <c:v>4.4000000000000012</c:v>
                </c:pt>
                <c:pt idx="23">
                  <c:v>4.6000000000000014</c:v>
                </c:pt>
                <c:pt idx="24">
                  <c:v>4.8000000000000016</c:v>
                </c:pt>
                <c:pt idx="25">
                  <c:v>5.0000000000000018</c:v>
                </c:pt>
                <c:pt idx="26">
                  <c:v>5.200000000000002</c:v>
                </c:pt>
                <c:pt idx="27">
                  <c:v>5.4000000000000021</c:v>
                </c:pt>
                <c:pt idx="28">
                  <c:v>5.6000000000000023</c:v>
                </c:pt>
                <c:pt idx="29">
                  <c:v>5.8000000000000025</c:v>
                </c:pt>
                <c:pt idx="30">
                  <c:v>6.0000000000000027</c:v>
                </c:pt>
                <c:pt idx="31">
                  <c:v>6.2000000000000028</c:v>
                </c:pt>
                <c:pt idx="32">
                  <c:v>6.400000000000003</c:v>
                </c:pt>
                <c:pt idx="33">
                  <c:v>6.6000000000000032</c:v>
                </c:pt>
                <c:pt idx="34">
                  <c:v>6.8000000000000034</c:v>
                </c:pt>
                <c:pt idx="35">
                  <c:v>7.0000000000000036</c:v>
                </c:pt>
                <c:pt idx="36">
                  <c:v>7.2000000000000037</c:v>
                </c:pt>
                <c:pt idx="37">
                  <c:v>7.4000000000000039</c:v>
                </c:pt>
                <c:pt idx="38">
                  <c:v>7.6000000000000041</c:v>
                </c:pt>
                <c:pt idx="39">
                  <c:v>7.8000000000000043</c:v>
                </c:pt>
                <c:pt idx="40">
                  <c:v>8.0000000000000036</c:v>
                </c:pt>
                <c:pt idx="41">
                  <c:v>8.2000000000000028</c:v>
                </c:pt>
                <c:pt idx="42">
                  <c:v>8.4000000000000021</c:v>
                </c:pt>
                <c:pt idx="43">
                  <c:v>8.6000000000000014</c:v>
                </c:pt>
                <c:pt idx="44">
                  <c:v>8.8000000000000007</c:v>
                </c:pt>
                <c:pt idx="45">
                  <c:v>9</c:v>
                </c:pt>
                <c:pt idx="46">
                  <c:v>9.1999999999999993</c:v>
                </c:pt>
                <c:pt idx="47">
                  <c:v>9.3999999999999986</c:v>
                </c:pt>
                <c:pt idx="48">
                  <c:v>9.5999999999999979</c:v>
                </c:pt>
                <c:pt idx="49">
                  <c:v>9.7999999999999972</c:v>
                </c:pt>
                <c:pt idx="50">
                  <c:v>9.9999999999999964</c:v>
                </c:pt>
                <c:pt idx="51">
                  <c:v>10.199999999999996</c:v>
                </c:pt>
                <c:pt idx="52">
                  <c:v>10.399999999999995</c:v>
                </c:pt>
                <c:pt idx="53">
                  <c:v>10.599999999999994</c:v>
                </c:pt>
                <c:pt idx="54">
                  <c:v>10.799999999999994</c:v>
                </c:pt>
                <c:pt idx="55">
                  <c:v>10.999999999999993</c:v>
                </c:pt>
                <c:pt idx="56">
                  <c:v>11.199999999999992</c:v>
                </c:pt>
                <c:pt idx="57">
                  <c:v>11.399999999999991</c:v>
                </c:pt>
                <c:pt idx="58">
                  <c:v>11.599999999999991</c:v>
                </c:pt>
                <c:pt idx="59">
                  <c:v>11.79999999999999</c:v>
                </c:pt>
                <c:pt idx="60">
                  <c:v>11.999999999999989</c:v>
                </c:pt>
                <c:pt idx="61">
                  <c:v>12.199999999999989</c:v>
                </c:pt>
                <c:pt idx="62">
                  <c:v>12.399999999999988</c:v>
                </c:pt>
                <c:pt idx="63">
                  <c:v>12.599999999999987</c:v>
                </c:pt>
                <c:pt idx="64">
                  <c:v>12.799999999999986</c:v>
                </c:pt>
                <c:pt idx="65">
                  <c:v>12.999999999999986</c:v>
                </c:pt>
                <c:pt idx="66">
                  <c:v>13.199999999999985</c:v>
                </c:pt>
                <c:pt idx="67">
                  <c:v>13.399999999999984</c:v>
                </c:pt>
                <c:pt idx="68">
                  <c:v>13.599999999999984</c:v>
                </c:pt>
                <c:pt idx="69">
                  <c:v>13.799999999999983</c:v>
                </c:pt>
                <c:pt idx="70">
                  <c:v>13.999999999999982</c:v>
                </c:pt>
                <c:pt idx="71">
                  <c:v>14.199999999999982</c:v>
                </c:pt>
                <c:pt idx="72">
                  <c:v>14.399999999999981</c:v>
                </c:pt>
                <c:pt idx="73">
                  <c:v>14.59999999999998</c:v>
                </c:pt>
                <c:pt idx="74">
                  <c:v>14.799999999999979</c:v>
                </c:pt>
                <c:pt idx="75">
                  <c:v>14.999999999999979</c:v>
                </c:pt>
                <c:pt idx="76">
                  <c:v>15.199999999999978</c:v>
                </c:pt>
                <c:pt idx="77">
                  <c:v>15.399999999999977</c:v>
                </c:pt>
                <c:pt idx="78">
                  <c:v>15.599999999999977</c:v>
                </c:pt>
                <c:pt idx="79">
                  <c:v>15.799999999999976</c:v>
                </c:pt>
                <c:pt idx="80">
                  <c:v>15.999999999999975</c:v>
                </c:pt>
                <c:pt idx="81">
                  <c:v>16.199999999999974</c:v>
                </c:pt>
                <c:pt idx="82">
                  <c:v>16.399999999999974</c:v>
                </c:pt>
                <c:pt idx="83">
                  <c:v>16.599999999999973</c:v>
                </c:pt>
                <c:pt idx="84">
                  <c:v>16.799999999999972</c:v>
                </c:pt>
                <c:pt idx="85">
                  <c:v>16.999999999999972</c:v>
                </c:pt>
                <c:pt idx="86">
                  <c:v>17.199999999999971</c:v>
                </c:pt>
                <c:pt idx="87">
                  <c:v>17.39999999999997</c:v>
                </c:pt>
                <c:pt idx="88">
                  <c:v>17.599999999999969</c:v>
                </c:pt>
                <c:pt idx="89">
                  <c:v>17.799999999999969</c:v>
                </c:pt>
                <c:pt idx="90">
                  <c:v>17.999999999999968</c:v>
                </c:pt>
                <c:pt idx="91">
                  <c:v>18.199999999999967</c:v>
                </c:pt>
                <c:pt idx="92">
                  <c:v>18.399999999999967</c:v>
                </c:pt>
                <c:pt idx="93">
                  <c:v>18.599999999999966</c:v>
                </c:pt>
                <c:pt idx="94">
                  <c:v>18.799999999999965</c:v>
                </c:pt>
                <c:pt idx="95">
                  <c:v>18.999999999999964</c:v>
                </c:pt>
                <c:pt idx="96">
                  <c:v>19.199999999999964</c:v>
                </c:pt>
                <c:pt idx="97">
                  <c:v>19.399999999999963</c:v>
                </c:pt>
                <c:pt idx="98">
                  <c:v>19.599999999999962</c:v>
                </c:pt>
                <c:pt idx="99">
                  <c:v>19.799999999999962</c:v>
                </c:pt>
                <c:pt idx="100">
                  <c:v>19.999999999999961</c:v>
                </c:pt>
                <c:pt idx="101">
                  <c:v>20.19999999999996</c:v>
                </c:pt>
                <c:pt idx="102">
                  <c:v>20.399999999999959</c:v>
                </c:pt>
                <c:pt idx="103">
                  <c:v>20.599999999999959</c:v>
                </c:pt>
                <c:pt idx="104">
                  <c:v>20.799999999999958</c:v>
                </c:pt>
                <c:pt idx="105">
                  <c:v>20.999999999999957</c:v>
                </c:pt>
                <c:pt idx="106">
                  <c:v>21.199999999999957</c:v>
                </c:pt>
                <c:pt idx="107">
                  <c:v>21.399999999999956</c:v>
                </c:pt>
                <c:pt idx="108">
                  <c:v>21.599999999999955</c:v>
                </c:pt>
                <c:pt idx="109">
                  <c:v>21.799999999999955</c:v>
                </c:pt>
                <c:pt idx="110">
                  <c:v>21.999999999999954</c:v>
                </c:pt>
                <c:pt idx="111">
                  <c:v>22.199999999999953</c:v>
                </c:pt>
                <c:pt idx="112">
                  <c:v>22.399999999999952</c:v>
                </c:pt>
                <c:pt idx="113">
                  <c:v>22.599999999999952</c:v>
                </c:pt>
                <c:pt idx="114">
                  <c:v>22.799999999999951</c:v>
                </c:pt>
                <c:pt idx="115">
                  <c:v>22.99999999999995</c:v>
                </c:pt>
                <c:pt idx="116">
                  <c:v>23.19999999999995</c:v>
                </c:pt>
                <c:pt idx="117">
                  <c:v>23.399999999999949</c:v>
                </c:pt>
                <c:pt idx="118">
                  <c:v>23.599999999999948</c:v>
                </c:pt>
                <c:pt idx="119">
                  <c:v>23.799999999999947</c:v>
                </c:pt>
                <c:pt idx="120">
                  <c:v>23.999999999999947</c:v>
                </c:pt>
                <c:pt idx="121">
                  <c:v>24.199999999999946</c:v>
                </c:pt>
                <c:pt idx="122">
                  <c:v>24.399999999999945</c:v>
                </c:pt>
                <c:pt idx="123">
                  <c:v>24.599999999999945</c:v>
                </c:pt>
                <c:pt idx="124">
                  <c:v>24.799999999999944</c:v>
                </c:pt>
                <c:pt idx="125">
                  <c:v>24.999999999999943</c:v>
                </c:pt>
                <c:pt idx="126">
                  <c:v>25.199999999999942</c:v>
                </c:pt>
                <c:pt idx="127">
                  <c:v>25.399999999999942</c:v>
                </c:pt>
                <c:pt idx="128">
                  <c:v>25.599999999999941</c:v>
                </c:pt>
                <c:pt idx="129">
                  <c:v>25.79999999999994</c:v>
                </c:pt>
                <c:pt idx="130">
                  <c:v>25.99999999999994</c:v>
                </c:pt>
                <c:pt idx="131">
                  <c:v>26.199999999999939</c:v>
                </c:pt>
                <c:pt idx="132">
                  <c:v>26.399999999999938</c:v>
                </c:pt>
                <c:pt idx="133">
                  <c:v>26.599999999999937</c:v>
                </c:pt>
                <c:pt idx="134">
                  <c:v>26.799999999999937</c:v>
                </c:pt>
                <c:pt idx="135">
                  <c:v>26.999999999999936</c:v>
                </c:pt>
                <c:pt idx="136">
                  <c:v>27.199999999999935</c:v>
                </c:pt>
                <c:pt idx="137">
                  <c:v>27.399999999999935</c:v>
                </c:pt>
                <c:pt idx="138">
                  <c:v>27.599999999999934</c:v>
                </c:pt>
                <c:pt idx="139">
                  <c:v>27.799999999999933</c:v>
                </c:pt>
                <c:pt idx="140">
                  <c:v>27.999999999999932</c:v>
                </c:pt>
                <c:pt idx="141">
                  <c:v>28.199999999999932</c:v>
                </c:pt>
                <c:pt idx="142">
                  <c:v>28.399999999999931</c:v>
                </c:pt>
                <c:pt idx="143">
                  <c:v>28.59999999999993</c:v>
                </c:pt>
                <c:pt idx="144">
                  <c:v>28.79999999999993</c:v>
                </c:pt>
                <c:pt idx="145">
                  <c:v>28.999999999999929</c:v>
                </c:pt>
                <c:pt idx="146">
                  <c:v>29.199999999999928</c:v>
                </c:pt>
                <c:pt idx="147">
                  <c:v>29.399999999999928</c:v>
                </c:pt>
                <c:pt idx="148">
                  <c:v>29.599999999999927</c:v>
                </c:pt>
                <c:pt idx="149">
                  <c:v>29.799999999999926</c:v>
                </c:pt>
                <c:pt idx="150">
                  <c:v>29.999999999999925</c:v>
                </c:pt>
                <c:pt idx="151">
                  <c:v>30.199999999999925</c:v>
                </c:pt>
                <c:pt idx="152">
                  <c:v>30.399999999999924</c:v>
                </c:pt>
                <c:pt idx="153">
                  <c:v>30.599999999999923</c:v>
                </c:pt>
                <c:pt idx="154">
                  <c:v>30.799999999999923</c:v>
                </c:pt>
                <c:pt idx="155">
                  <c:v>30.999999999999922</c:v>
                </c:pt>
              </c:numCache>
            </c:numRef>
          </c:cat>
          <c:val>
            <c:numRef>
              <c:f>Sheet1!$C$2:$C$157</c:f>
              <c:numCache>
                <c:formatCode>General</c:formatCode>
                <c:ptCount val="156"/>
                <c:pt idx="0">
                  <c:v>100</c:v>
                </c:pt>
                <c:pt idx="1">
                  <c:v>108.49961855602454</c:v>
                </c:pt>
                <c:pt idx="2">
                  <c:v>124.78497260411</c:v>
                </c:pt>
                <c:pt idx="3">
                  <c:v>143.51469244814101</c:v>
                </c:pt>
                <c:pt idx="4">
                  <c:v>165.05566751076987</c:v>
                </c:pt>
                <c:pt idx="5">
                  <c:v>189.82985583354261</c:v>
                </c:pt>
                <c:pt idx="6">
                  <c:v>218.32254965393574</c:v>
                </c:pt>
                <c:pt idx="7">
                  <c:v>251.09188161208601</c:v>
                </c:pt>
                <c:pt idx="8">
                  <c:v>288.77975780071358</c:v>
                </c:pt>
                <c:pt idx="9">
                  <c:v>332.12443182163292</c:v>
                </c:pt>
                <c:pt idx="10">
                  <c:v>381.97496615730569</c:v>
                </c:pt>
                <c:pt idx="11">
                  <c:v>439.30786413579153</c:v>
                </c:pt>
                <c:pt idx="12">
                  <c:v>505.24619828638941</c:v>
                </c:pt>
                <c:pt idx="13">
                  <c:v>581.08160978412104</c:v>
                </c:pt>
                <c:pt idx="14">
                  <c:v>668.29960992187716</c:v>
                </c:pt>
                <c:pt idx="15">
                  <c:v>768.60867923123533</c:v>
                </c:pt>
                <c:pt idx="16">
                  <c:v>883.97373426365164</c:v>
                </c:pt>
                <c:pt idx="17">
                  <c:v>1016.6546176001992</c:v>
                </c:pt>
                <c:pt idx="18">
                  <c:v>1169.2503650561318</c:v>
                </c:pt>
                <c:pt idx="19">
                  <c:v>1344.7501172138775</c:v>
                </c:pt>
                <c:pt idx="20">
                  <c:v>1546.5916725712755</c:v>
                </c:pt>
                <c:pt idx="21">
                  <c:v>1778.7288292806177</c:v>
                </c:pt>
                <c:pt idx="22">
                  <c:v>2045.7088346104424</c:v>
                </c:pt>
                <c:pt idx="23">
                  <c:v>2352.7614592583805</c:v>
                </c:pt>
                <c:pt idx="24">
                  <c:v>2705.9014413582099</c:v>
                </c:pt>
                <c:pt idx="25">
                  <c:v>3112.046306918166</c:v>
                </c:pt>
                <c:pt idx="26">
                  <c:v>3579.1518746306415</c:v>
                </c:pt>
                <c:pt idx="27">
                  <c:v>4116.3680994059532</c:v>
                </c:pt>
                <c:pt idx="28">
                  <c:v>4734.2183073903798</c:v>
                </c:pt>
                <c:pt idx="29">
                  <c:v>5444.8053334357228</c:v>
                </c:pt>
                <c:pt idx="30">
                  <c:v>6262.0485989695908</c:v>
                </c:pt>
                <c:pt idx="31">
                  <c:v>7201.9567742953868</c:v>
                </c:pt>
                <c:pt idx="32">
                  <c:v>8282.9413664010808</c:v>
                </c:pt>
                <c:pt idx="33">
                  <c:v>9526.1773750302018</c:v>
                </c:pt>
                <c:pt idx="34">
                  <c:v>10956.01808177077</c:v>
                </c:pt>
                <c:pt idx="35">
                  <c:v>12600.472097309384</c:v>
                </c:pt>
                <c:pt idx="36">
                  <c:v>14491.752011549332</c:v>
                </c:pt>
                <c:pt idx="37">
                  <c:v>16666.905393893005</c:v>
                </c:pt>
                <c:pt idx="38">
                  <c:v>19168.540504115437</c:v>
                </c:pt>
                <c:pt idx="39">
                  <c:v>22045.660929505655</c:v>
                </c:pt>
                <c:pt idx="40">
                  <c:v>25354.625497668265</c:v>
                </c:pt>
                <c:pt idx="41">
                  <c:v>29160.252268355303</c:v>
                </c:pt>
                <c:pt idx="42">
                  <c:v>33537.088230008376</c:v>
                </c:pt>
                <c:pt idx="43">
                  <c:v>38570.869572617892</c:v>
                </c:pt>
                <c:pt idx="44">
                  <c:v>44360.201141634047</c:v>
                </c:pt>
                <c:pt idx="45">
                  <c:v>51018.487971119677</c:v>
                </c:pt>
                <c:pt idx="46">
                  <c:v>58676.156732219053</c:v>
                </c:pt>
                <c:pt idx="47">
                  <c:v>67483.210612060298</c:v>
                </c:pt>
                <c:pt idx="48">
                  <c:v>77612.167669650706</c:v>
                </c:pt>
                <c:pt idx="49">
                  <c:v>89261.440227111219</c:v>
                </c:pt>
                <c:pt idx="50">
                  <c:v>102659.22149387123</c:v>
                </c:pt>
                <c:pt idx="51">
                  <c:v>118067.95555744063</c:v>
                </c:pt>
                <c:pt idx="52">
                  <c:v>135789.47830172291</c:v>
                </c:pt>
                <c:pt idx="53">
                  <c:v>156170.92995638005</c:v>
                </c:pt>
                <c:pt idx="54">
                  <c:v>179611.55509595259</c:v>
                </c:pt>
                <c:pt idx="55">
                  <c:v>206570.52329135162</c:v>
                </c:pt>
                <c:pt idx="56">
                  <c:v>237575.92360951845</c:v>
                </c:pt>
                <c:pt idx="57">
                  <c:v>273235.10915111634</c:v>
                </c:pt>
                <c:pt idx="58">
                  <c:v>314246.59426150372</c:v>
                </c:pt>
                <c:pt idx="59">
                  <c:v>361413.73746497213</c:v>
                </c:pt>
                <c:pt idx="60">
                  <c:v>415660.47815208079</c:v>
                </c:pt>
                <c:pt idx="61">
                  <c:v>478049.43528014398</c:v>
                </c:pt>
                <c:pt idx="62">
                  <c:v>549802.72261547588</c:v>
                </c:pt>
                <c:pt idx="63">
                  <c:v>632325.88825933496</c:v>
                </c:pt>
                <c:pt idx="64">
                  <c:v>727235.44739991485</c:v>
                </c:pt>
                <c:pt idx="65">
                  <c:v>836390.54761909263</c:v>
                </c:pt>
                <c:pt idx="66">
                  <c:v>961929.38703368057</c:v>
                </c:pt>
                <c:pt idx="67">
                  <c:v>1106311.0986524394</c:v>
                </c:pt>
                <c:pt idx="68">
                  <c:v>1272363.9214057131</c:v>
                </c:pt>
                <c:pt idx="69">
                  <c:v>1463340.6014518528</c:v>
                </c:pt>
                <c:pt idx="70">
                  <c:v>1682982.108995738</c:v>
                </c:pt>
                <c:pt idx="71">
                  <c:v>1935590.9187441038</c:v>
                </c:pt>
                <c:pt idx="72">
                  <c:v>2226115.2894609482</c:v>
                </c:pt>
                <c:pt idx="73">
                  <c:v>2560246.1935434151</c:v>
                </c:pt>
                <c:pt idx="74">
                  <c:v>2944528.7953351228</c:v>
                </c:pt>
                <c:pt idx="75">
                  <c:v>3386490.6618835679</c:v>
                </c:pt>
                <c:pt idx="76">
                  <c:v>3894789.2176138144</c:v>
                </c:pt>
                <c:pt idx="77">
                  <c:v>4479381.3313524835</c:v>
                </c:pt>
                <c:pt idx="78">
                  <c:v>5151718.3576784432</c:v>
                </c:pt>
                <c:pt idx="79">
                  <c:v>5924970.4531915132</c:v>
                </c:pt>
                <c:pt idx="80">
                  <c:v>6814284.5617461484</c:v>
                </c:pt>
                <c:pt idx="81">
                  <c:v>7837081.1222256264</c:v>
                </c:pt>
                <c:pt idx="82">
                  <c:v>9013395.3109534755</c:v>
                </c:pt>
                <c:pt idx="83">
                  <c:v>10366269.503210992</c:v>
                </c:pt>
                <c:pt idx="84">
                  <c:v>11922204.641641833</c:v>
                </c:pt>
                <c:pt idx="85">
                  <c:v>13711679.353229024</c:v>
                </c:pt>
                <c:pt idx="86">
                  <c:v>15769746.983631359</c:v>
                </c:pt>
                <c:pt idx="87">
                  <c:v>18136722.243959662</c:v>
                </c:pt>
                <c:pt idx="88">
                  <c:v>20858970.920457605</c:v>
                </c:pt>
                <c:pt idx="89">
                  <c:v>23989818.116413057</c:v>
                </c:pt>
                <c:pt idx="90">
                  <c:v>27590592.817507729</c:v>
                </c:pt>
                <c:pt idx="91">
                  <c:v>31731829.242202308</c:v>
                </c:pt>
                <c:pt idx="92">
                  <c:v>36494648.509956881</c:v>
                </c:pt>
                <c:pt idx="93">
                  <c:v>41972347.692265026</c:v>
                </c:pt>
                <c:pt idx="94">
                  <c:v>48272227.373822793</c:v>
                </c:pt>
                <c:pt idx="95">
                  <c:v>55517693.523240291</c:v>
                </c:pt>
                <c:pt idx="96">
                  <c:v>63850674.846047573</c:v>
                </c:pt>
                <c:pt idx="97">
                  <c:v>73434402.972613573</c:v>
                </c:pt>
                <c:pt idx="98">
                  <c:v>84456609.941030458</c:v>
                </c:pt>
                <c:pt idx="99">
                  <c:v>97133205.609249622</c:v>
                </c:pt>
                <c:pt idx="100">
                  <c:v>111712507.0319114</c:v>
                </c:pt>
                <c:pt idx="101">
                  <c:v>128480102.64953552</c:v>
                </c:pt>
                <c:pt idx="102">
                  <c:v>147764446.57284269</c:v>
                </c:pt>
                <c:pt idx="103">
                  <c:v>169943292.54653233</c:v>
                </c:pt>
                <c:pt idx="104">
                  <c:v>195451093.62500903</c:v>
                </c:pt>
                <c:pt idx="105">
                  <c:v>224787512.50951564</c:v>
                </c:pt>
                <c:pt idx="106">
                  <c:v>258527209.25246403</c:v>
                </c:pt>
                <c:pt idx="107">
                  <c:v>297331098.05660701</c:v>
                </c:pt>
                <c:pt idx="108">
                  <c:v>341959293.67424881</c:v>
                </c:pt>
                <c:pt idx="109">
                  <c:v>393286001.0086413</c:v>
                </c:pt>
                <c:pt idx="110">
                  <c:v>452316639.58433586</c:v>
                </c:pt>
                <c:pt idx="111">
                  <c:v>520207538.33129787</c:v>
                </c:pt>
                <c:pt idx="112">
                  <c:v>598288586.47649312</c:v>
                </c:pt>
                <c:pt idx="113">
                  <c:v>688089284.24269855</c:v>
                </c:pt>
                <c:pt idx="114">
                  <c:v>791368703.65189862</c:v>
                </c:pt>
                <c:pt idx="115">
                  <c:v>910149946.32411206</c:v>
                </c:pt>
                <c:pt idx="116">
                  <c:v>1046759773.2524935</c:v>
                </c:pt>
                <c:pt idx="117">
                  <c:v>1203874182.8474727</c:v>
                </c:pt>
                <c:pt idx="118">
                  <c:v>1384570830.0610061</c:v>
                </c:pt>
                <c:pt idx="119">
                  <c:v>1592389313.4094224</c:v>
                </c:pt>
                <c:pt idx="120">
                  <c:v>1831400510.8346925</c:v>
                </c:pt>
                <c:pt idx="121">
                  <c:v>2106286322.5980465</c:v>
                </c:pt>
                <c:pt idx="122">
                  <c:v>2422431383.2595887</c:v>
                </c:pt>
                <c:pt idx="123">
                  <c:v>2786028539.2551737</c:v>
                </c:pt>
                <c:pt idx="124">
                  <c:v>3204200158.2310715</c:v>
                </c:pt>
                <c:pt idx="125">
                  <c:v>3685137646.4193764</c:v>
                </c:pt>
                <c:pt idx="126">
                  <c:v>4238261907.0072465</c:v>
                </c:pt>
                <c:pt idx="127">
                  <c:v>4874407882.6586351</c:v>
                </c:pt>
                <c:pt idx="128">
                  <c:v>5606036797.1223879</c:v>
                </c:pt>
                <c:pt idx="129">
                  <c:v>6447480253.4474459</c:v>
                </c:pt>
                <c:pt idx="130">
                  <c:v>7415220970.3534279</c:v>
                </c:pt>
                <c:pt idx="131">
                  <c:v>8528215655.9950161</c:v>
                </c:pt>
                <c:pt idx="132">
                  <c:v>9808266343.7731285</c:v>
                </c:pt>
                <c:pt idx="133">
                  <c:v>11280447464.149929</c:v>
                </c:pt>
                <c:pt idx="134">
                  <c:v>12973597018.21632</c:v>
                </c:pt>
                <c:pt idx="135">
                  <c:v>14920881474.426088</c:v>
                </c:pt>
                <c:pt idx="136">
                  <c:v>17160445454.045799</c:v>
                </c:pt>
                <c:pt idx="137">
                  <c:v>19736158931.763573</c:v>
                </c:pt>
                <c:pt idx="138">
                  <c:v>22698476588.088669</c:v>
                </c:pt>
                <c:pt idx="139">
                  <c:v>26105426147.071072</c:v>
                </c:pt>
                <c:pt idx="140">
                  <c:v>30023745059.516571</c:v>
                </c:pt>
                <c:pt idx="141">
                  <c:v>34530187797.757339</c:v>
                </c:pt>
                <c:pt idx="142">
                  <c:v>39713029370.080315</c:v>
                </c:pt>
                <c:pt idx="143">
                  <c:v>45673794506.593819</c:v>
                </c:pt>
                <c:pt idx="144">
                  <c:v>52529246388.899902</c:v>
                </c:pt>
                <c:pt idx="145">
                  <c:v>60413673880.049225</c:v>
                </c:pt>
                <c:pt idx="146">
                  <c:v>69481522058.465988</c:v>
                </c:pt>
                <c:pt idx="147">
                  <c:v>79910417584.377151</c:v>
                </c:pt>
                <c:pt idx="148">
                  <c:v>91904648161.509949</c:v>
                </c:pt>
                <c:pt idx="149">
                  <c:v>105699164251.92422</c:v>
                </c:pt>
                <c:pt idx="150">
                  <c:v>121564181432.05807</c:v>
                </c:pt>
                <c:pt idx="151">
                  <c:v>139810473543.80859</c:v>
                </c:pt>
                <c:pt idx="152">
                  <c:v>160795460326.18851</c:v>
                </c:pt>
                <c:pt idx="153">
                  <c:v>184930208775.87775</c:v>
                </c:pt>
                <c:pt idx="154">
                  <c:v>212687485383.68808</c:v>
                </c:pt>
                <c:pt idx="155">
                  <c:v>244611016979.16464</c:v>
                </c:pt>
              </c:numCache>
            </c:numRef>
          </c:val>
          <c:smooth val="0"/>
          <c:extLst>
            <c:ext xmlns:c16="http://schemas.microsoft.com/office/drawing/2014/chart" uri="{C3380CC4-5D6E-409C-BE32-E72D297353CC}">
              <c16:uniqueId val="{00000001-9D79-4162-BC99-D62AA1B032EE}"/>
            </c:ext>
          </c:extLst>
        </c:ser>
        <c:ser>
          <c:idx val="2"/>
          <c:order val="2"/>
          <c:tx>
            <c:strRef>
              <c:f>Sheet1!$D$1</c:f>
              <c:strCache>
                <c:ptCount val="1"/>
                <c:pt idx="0">
                  <c:v>Series 3</c:v>
                </c:pt>
              </c:strCache>
            </c:strRef>
          </c:tx>
          <c:spPr>
            <a:ln w="28575" cap="rnd">
              <a:solidFill>
                <a:srgbClr val="92D050"/>
              </a:solidFill>
              <a:round/>
            </a:ln>
            <a:effectLst/>
          </c:spPr>
          <c:marker>
            <c:symbol val="none"/>
          </c:marker>
          <c:cat>
            <c:numRef>
              <c:f>Sheet1!$A$2:$A$157</c:f>
              <c:numCache>
                <c:formatCode>General</c:formatCode>
                <c:ptCount val="156"/>
                <c:pt idx="0">
                  <c:v>0</c:v>
                </c:pt>
                <c:pt idx="1">
                  <c:v>0.2</c:v>
                </c:pt>
                <c:pt idx="2">
                  <c:v>0.4</c:v>
                </c:pt>
                <c:pt idx="3">
                  <c:v>0.60000000000000009</c:v>
                </c:pt>
                <c:pt idx="4">
                  <c:v>0.8</c:v>
                </c:pt>
                <c:pt idx="5">
                  <c:v>1</c:v>
                </c:pt>
                <c:pt idx="6">
                  <c:v>1.2</c:v>
                </c:pt>
                <c:pt idx="7">
                  <c:v>1.4</c:v>
                </c:pt>
                <c:pt idx="8">
                  <c:v>1.5999999999999999</c:v>
                </c:pt>
                <c:pt idx="9">
                  <c:v>1.7999999999999998</c:v>
                </c:pt>
                <c:pt idx="10">
                  <c:v>1.9999999999999998</c:v>
                </c:pt>
                <c:pt idx="11">
                  <c:v>2.1999999999999997</c:v>
                </c:pt>
                <c:pt idx="12">
                  <c:v>2.4</c:v>
                </c:pt>
                <c:pt idx="13">
                  <c:v>2.6</c:v>
                </c:pt>
                <c:pt idx="14">
                  <c:v>2.8000000000000003</c:v>
                </c:pt>
                <c:pt idx="15">
                  <c:v>3.0000000000000004</c:v>
                </c:pt>
                <c:pt idx="16">
                  <c:v>3.2000000000000006</c:v>
                </c:pt>
                <c:pt idx="17">
                  <c:v>3.4000000000000008</c:v>
                </c:pt>
                <c:pt idx="18">
                  <c:v>3.600000000000001</c:v>
                </c:pt>
                <c:pt idx="19">
                  <c:v>3.8000000000000012</c:v>
                </c:pt>
                <c:pt idx="20">
                  <c:v>4.0000000000000009</c:v>
                </c:pt>
                <c:pt idx="21">
                  <c:v>4.2000000000000011</c:v>
                </c:pt>
                <c:pt idx="22">
                  <c:v>4.4000000000000012</c:v>
                </c:pt>
                <c:pt idx="23">
                  <c:v>4.6000000000000014</c:v>
                </c:pt>
                <c:pt idx="24">
                  <c:v>4.8000000000000016</c:v>
                </c:pt>
                <c:pt idx="25">
                  <c:v>5.0000000000000018</c:v>
                </c:pt>
                <c:pt idx="26">
                  <c:v>5.200000000000002</c:v>
                </c:pt>
                <c:pt idx="27">
                  <c:v>5.4000000000000021</c:v>
                </c:pt>
                <c:pt idx="28">
                  <c:v>5.6000000000000023</c:v>
                </c:pt>
                <c:pt idx="29">
                  <c:v>5.8000000000000025</c:v>
                </c:pt>
                <c:pt idx="30">
                  <c:v>6.0000000000000027</c:v>
                </c:pt>
                <c:pt idx="31">
                  <c:v>6.2000000000000028</c:v>
                </c:pt>
                <c:pt idx="32">
                  <c:v>6.400000000000003</c:v>
                </c:pt>
                <c:pt idx="33">
                  <c:v>6.6000000000000032</c:v>
                </c:pt>
                <c:pt idx="34">
                  <c:v>6.8000000000000034</c:v>
                </c:pt>
                <c:pt idx="35">
                  <c:v>7.0000000000000036</c:v>
                </c:pt>
                <c:pt idx="36">
                  <c:v>7.2000000000000037</c:v>
                </c:pt>
                <c:pt idx="37">
                  <c:v>7.4000000000000039</c:v>
                </c:pt>
                <c:pt idx="38">
                  <c:v>7.6000000000000041</c:v>
                </c:pt>
                <c:pt idx="39">
                  <c:v>7.8000000000000043</c:v>
                </c:pt>
                <c:pt idx="40">
                  <c:v>8.0000000000000036</c:v>
                </c:pt>
                <c:pt idx="41">
                  <c:v>8.2000000000000028</c:v>
                </c:pt>
                <c:pt idx="42">
                  <c:v>8.4000000000000021</c:v>
                </c:pt>
                <c:pt idx="43">
                  <c:v>8.6000000000000014</c:v>
                </c:pt>
                <c:pt idx="44">
                  <c:v>8.8000000000000007</c:v>
                </c:pt>
                <c:pt idx="45">
                  <c:v>9</c:v>
                </c:pt>
                <c:pt idx="46">
                  <c:v>9.1999999999999993</c:v>
                </c:pt>
                <c:pt idx="47">
                  <c:v>9.3999999999999986</c:v>
                </c:pt>
                <c:pt idx="48">
                  <c:v>9.5999999999999979</c:v>
                </c:pt>
                <c:pt idx="49">
                  <c:v>9.7999999999999972</c:v>
                </c:pt>
                <c:pt idx="50">
                  <c:v>9.9999999999999964</c:v>
                </c:pt>
                <c:pt idx="51">
                  <c:v>10.199999999999996</c:v>
                </c:pt>
                <c:pt idx="52">
                  <c:v>10.399999999999995</c:v>
                </c:pt>
                <c:pt idx="53">
                  <c:v>10.599999999999994</c:v>
                </c:pt>
                <c:pt idx="54">
                  <c:v>10.799999999999994</c:v>
                </c:pt>
                <c:pt idx="55">
                  <c:v>10.999999999999993</c:v>
                </c:pt>
                <c:pt idx="56">
                  <c:v>11.199999999999992</c:v>
                </c:pt>
                <c:pt idx="57">
                  <c:v>11.399999999999991</c:v>
                </c:pt>
                <c:pt idx="58">
                  <c:v>11.599999999999991</c:v>
                </c:pt>
                <c:pt idx="59">
                  <c:v>11.79999999999999</c:v>
                </c:pt>
                <c:pt idx="60">
                  <c:v>11.999999999999989</c:v>
                </c:pt>
                <c:pt idx="61">
                  <c:v>12.199999999999989</c:v>
                </c:pt>
                <c:pt idx="62">
                  <c:v>12.399999999999988</c:v>
                </c:pt>
                <c:pt idx="63">
                  <c:v>12.599999999999987</c:v>
                </c:pt>
                <c:pt idx="64">
                  <c:v>12.799999999999986</c:v>
                </c:pt>
                <c:pt idx="65">
                  <c:v>12.999999999999986</c:v>
                </c:pt>
                <c:pt idx="66">
                  <c:v>13.199999999999985</c:v>
                </c:pt>
                <c:pt idx="67">
                  <c:v>13.399999999999984</c:v>
                </c:pt>
                <c:pt idx="68">
                  <c:v>13.599999999999984</c:v>
                </c:pt>
                <c:pt idx="69">
                  <c:v>13.799999999999983</c:v>
                </c:pt>
                <c:pt idx="70">
                  <c:v>13.999999999999982</c:v>
                </c:pt>
                <c:pt idx="71">
                  <c:v>14.199999999999982</c:v>
                </c:pt>
                <c:pt idx="72">
                  <c:v>14.399999999999981</c:v>
                </c:pt>
                <c:pt idx="73">
                  <c:v>14.59999999999998</c:v>
                </c:pt>
                <c:pt idx="74">
                  <c:v>14.799999999999979</c:v>
                </c:pt>
                <c:pt idx="75">
                  <c:v>14.999999999999979</c:v>
                </c:pt>
                <c:pt idx="76">
                  <c:v>15.199999999999978</c:v>
                </c:pt>
                <c:pt idx="77">
                  <c:v>15.399999999999977</c:v>
                </c:pt>
                <c:pt idx="78">
                  <c:v>15.599999999999977</c:v>
                </c:pt>
                <c:pt idx="79">
                  <c:v>15.799999999999976</c:v>
                </c:pt>
                <c:pt idx="80">
                  <c:v>15.999999999999975</c:v>
                </c:pt>
                <c:pt idx="81">
                  <c:v>16.199999999999974</c:v>
                </c:pt>
                <c:pt idx="82">
                  <c:v>16.399999999999974</c:v>
                </c:pt>
                <c:pt idx="83">
                  <c:v>16.599999999999973</c:v>
                </c:pt>
                <c:pt idx="84">
                  <c:v>16.799999999999972</c:v>
                </c:pt>
                <c:pt idx="85">
                  <c:v>16.999999999999972</c:v>
                </c:pt>
                <c:pt idx="86">
                  <c:v>17.199999999999971</c:v>
                </c:pt>
                <c:pt idx="87">
                  <c:v>17.39999999999997</c:v>
                </c:pt>
                <c:pt idx="88">
                  <c:v>17.599999999999969</c:v>
                </c:pt>
                <c:pt idx="89">
                  <c:v>17.799999999999969</c:v>
                </c:pt>
                <c:pt idx="90">
                  <c:v>17.999999999999968</c:v>
                </c:pt>
                <c:pt idx="91">
                  <c:v>18.199999999999967</c:v>
                </c:pt>
                <c:pt idx="92">
                  <c:v>18.399999999999967</c:v>
                </c:pt>
                <c:pt idx="93">
                  <c:v>18.599999999999966</c:v>
                </c:pt>
                <c:pt idx="94">
                  <c:v>18.799999999999965</c:v>
                </c:pt>
                <c:pt idx="95">
                  <c:v>18.999999999999964</c:v>
                </c:pt>
                <c:pt idx="96">
                  <c:v>19.199999999999964</c:v>
                </c:pt>
                <c:pt idx="97">
                  <c:v>19.399999999999963</c:v>
                </c:pt>
                <c:pt idx="98">
                  <c:v>19.599999999999962</c:v>
                </c:pt>
                <c:pt idx="99">
                  <c:v>19.799999999999962</c:v>
                </c:pt>
                <c:pt idx="100">
                  <c:v>19.999999999999961</c:v>
                </c:pt>
                <c:pt idx="101">
                  <c:v>20.19999999999996</c:v>
                </c:pt>
                <c:pt idx="102">
                  <c:v>20.399999999999959</c:v>
                </c:pt>
                <c:pt idx="103">
                  <c:v>20.599999999999959</c:v>
                </c:pt>
                <c:pt idx="104">
                  <c:v>20.799999999999958</c:v>
                </c:pt>
                <c:pt idx="105">
                  <c:v>20.999999999999957</c:v>
                </c:pt>
                <c:pt idx="106">
                  <c:v>21.199999999999957</c:v>
                </c:pt>
                <c:pt idx="107">
                  <c:v>21.399999999999956</c:v>
                </c:pt>
                <c:pt idx="108">
                  <c:v>21.599999999999955</c:v>
                </c:pt>
                <c:pt idx="109">
                  <c:v>21.799999999999955</c:v>
                </c:pt>
                <c:pt idx="110">
                  <c:v>21.999999999999954</c:v>
                </c:pt>
                <c:pt idx="111">
                  <c:v>22.199999999999953</c:v>
                </c:pt>
                <c:pt idx="112">
                  <c:v>22.399999999999952</c:v>
                </c:pt>
                <c:pt idx="113">
                  <c:v>22.599999999999952</c:v>
                </c:pt>
                <c:pt idx="114">
                  <c:v>22.799999999999951</c:v>
                </c:pt>
                <c:pt idx="115">
                  <c:v>22.99999999999995</c:v>
                </c:pt>
                <c:pt idx="116">
                  <c:v>23.19999999999995</c:v>
                </c:pt>
                <c:pt idx="117">
                  <c:v>23.399999999999949</c:v>
                </c:pt>
                <c:pt idx="118">
                  <c:v>23.599999999999948</c:v>
                </c:pt>
                <c:pt idx="119">
                  <c:v>23.799999999999947</c:v>
                </c:pt>
                <c:pt idx="120">
                  <c:v>23.999999999999947</c:v>
                </c:pt>
                <c:pt idx="121">
                  <c:v>24.199999999999946</c:v>
                </c:pt>
                <c:pt idx="122">
                  <c:v>24.399999999999945</c:v>
                </c:pt>
                <c:pt idx="123">
                  <c:v>24.599999999999945</c:v>
                </c:pt>
                <c:pt idx="124">
                  <c:v>24.799999999999944</c:v>
                </c:pt>
                <c:pt idx="125">
                  <c:v>24.999999999999943</c:v>
                </c:pt>
                <c:pt idx="126">
                  <c:v>25.199999999999942</c:v>
                </c:pt>
                <c:pt idx="127">
                  <c:v>25.399999999999942</c:v>
                </c:pt>
                <c:pt idx="128">
                  <c:v>25.599999999999941</c:v>
                </c:pt>
                <c:pt idx="129">
                  <c:v>25.79999999999994</c:v>
                </c:pt>
                <c:pt idx="130">
                  <c:v>25.99999999999994</c:v>
                </c:pt>
                <c:pt idx="131">
                  <c:v>26.199999999999939</c:v>
                </c:pt>
                <c:pt idx="132">
                  <c:v>26.399999999999938</c:v>
                </c:pt>
                <c:pt idx="133">
                  <c:v>26.599999999999937</c:v>
                </c:pt>
                <c:pt idx="134">
                  <c:v>26.799999999999937</c:v>
                </c:pt>
                <c:pt idx="135">
                  <c:v>26.999999999999936</c:v>
                </c:pt>
                <c:pt idx="136">
                  <c:v>27.199999999999935</c:v>
                </c:pt>
                <c:pt idx="137">
                  <c:v>27.399999999999935</c:v>
                </c:pt>
                <c:pt idx="138">
                  <c:v>27.599999999999934</c:v>
                </c:pt>
                <c:pt idx="139">
                  <c:v>27.799999999999933</c:v>
                </c:pt>
                <c:pt idx="140">
                  <c:v>27.999999999999932</c:v>
                </c:pt>
                <c:pt idx="141">
                  <c:v>28.199999999999932</c:v>
                </c:pt>
                <c:pt idx="142">
                  <c:v>28.399999999999931</c:v>
                </c:pt>
                <c:pt idx="143">
                  <c:v>28.59999999999993</c:v>
                </c:pt>
                <c:pt idx="144">
                  <c:v>28.79999999999993</c:v>
                </c:pt>
                <c:pt idx="145">
                  <c:v>28.999999999999929</c:v>
                </c:pt>
                <c:pt idx="146">
                  <c:v>29.199999999999928</c:v>
                </c:pt>
                <c:pt idx="147">
                  <c:v>29.399999999999928</c:v>
                </c:pt>
                <c:pt idx="148">
                  <c:v>29.599999999999927</c:v>
                </c:pt>
                <c:pt idx="149">
                  <c:v>29.799999999999926</c:v>
                </c:pt>
                <c:pt idx="150">
                  <c:v>29.999999999999925</c:v>
                </c:pt>
                <c:pt idx="151">
                  <c:v>30.199999999999925</c:v>
                </c:pt>
                <c:pt idx="152">
                  <c:v>30.399999999999924</c:v>
                </c:pt>
                <c:pt idx="153">
                  <c:v>30.599999999999923</c:v>
                </c:pt>
                <c:pt idx="154">
                  <c:v>30.799999999999923</c:v>
                </c:pt>
                <c:pt idx="155">
                  <c:v>30.999999999999922</c:v>
                </c:pt>
              </c:numCache>
            </c:numRef>
          </c:cat>
          <c:val>
            <c:numRef>
              <c:f>Sheet1!$D$2:$D$157</c:f>
              <c:numCache>
                <c:formatCode>General</c:formatCode>
                <c:ptCount val="156"/>
                <c:pt idx="0">
                  <c:v>100</c:v>
                </c:pt>
                <c:pt idx="1">
                  <c:v>114.85839939076081</c:v>
                </c:pt>
                <c:pt idx="2">
                  <c:v>142.47848063456124</c:v>
                </c:pt>
                <c:pt idx="3">
                  <c:v>176.74038251978274</c:v>
                </c:pt>
                <c:pt idx="4">
                  <c:v>219.24126839447689</c:v>
                </c:pt>
                <c:pt idx="5">
                  <c:v>271.96237261644984</c:v>
                </c:pt>
                <c:pt idx="6">
                  <c:v>337.36135838298247</c:v>
                </c:pt>
                <c:pt idx="7">
                  <c:v>418.48688491375157</c:v>
                </c:pt>
                <c:pt idx="8">
                  <c:v>519.12072468596557</c:v>
                </c:pt>
                <c:pt idx="9">
                  <c:v>643.9540557024194</c:v>
                </c:pt>
                <c:pt idx="10">
                  <c:v>798.80614688702224</c:v>
                </c:pt>
                <c:pt idx="11">
                  <c:v>990.89563091339915</c:v>
                </c:pt>
                <c:pt idx="12">
                  <c:v>1229.1770102041203</c:v>
                </c:pt>
                <c:pt idx="13">
                  <c:v>1524.7580827676336</c:v>
                </c:pt>
                <c:pt idx="14">
                  <c:v>1891.4177467240095</c:v>
                </c:pt>
                <c:pt idx="15">
                  <c:v>2346.248321654391</c:v>
                </c:pt>
                <c:pt idx="16">
                  <c:v>2910.4523294236092</c:v>
                </c:pt>
                <c:pt idx="17">
                  <c:v>3610.3308774556353</c:v>
                </c:pt>
                <c:pt idx="18">
                  <c:v>4478.5097192404301</c:v>
                </c:pt>
                <c:pt idx="19">
                  <c:v>5555.4601464855514</c:v>
                </c:pt>
                <c:pt idx="20">
                  <c:v>6891.3856112885132</c:v>
                </c:pt>
                <c:pt idx="21">
                  <c:v>8548.562025688876</c:v>
                </c:pt>
                <c:pt idx="22">
                  <c:v>10604.240834723258</c:v>
                </c:pt>
                <c:pt idx="23">
                  <c:v>13154.250193528964</c:v>
                </c:pt>
                <c:pt idx="24">
                  <c:v>16317.462122074892</c:v>
                </c:pt>
                <c:pt idx="25">
                  <c:v>20241.33387977762</c:v>
                </c:pt>
                <c:pt idx="26">
                  <c:v>25108.781878424539</c:v>
                </c:pt>
                <c:pt idx="27">
                  <c:v>31146.708569841889</c:v>
                </c:pt>
                <c:pt idx="28">
                  <c:v>38636.579800323372</c:v>
                </c:pt>
                <c:pt idx="29">
                  <c:v>47927.545709024256</c:v>
                </c:pt>
                <c:pt idx="30">
                  <c:v>59452.716818153451</c:v>
                </c:pt>
                <c:pt idx="31">
                  <c:v>73749.354046184919</c:v>
                </c:pt>
                <c:pt idx="32">
                  <c:v>91483.913827951124</c:v>
                </c:pt>
                <c:pt idx="33">
                  <c:v>113483.11585263225</c:v>
                </c:pt>
                <c:pt idx="34">
                  <c:v>140772.48168286378</c:v>
                </c:pt>
                <c:pt idx="35">
                  <c:v>174624.14078307655</c:v>
                </c:pt>
                <c:pt idx="36">
                  <c:v>216616.13249757528</c:v>
                </c:pt>
                <c:pt idx="37">
                  <c:v>268705.96841759532</c:v>
                </c:pt>
                <c:pt idx="38">
                  <c:v>333321.88434324518</c:v>
                </c:pt>
                <c:pt idx="39">
                  <c:v>413476.03566983587</c:v>
                </c:pt>
                <c:pt idx="40">
                  <c:v>512904.91294952465</c:v>
                </c:pt>
                <c:pt idx="41">
                  <c:v>636243.52328323026</c:v>
                </c:pt>
                <c:pt idx="42">
                  <c:v>789241.45723613992</c:v>
                </c:pt>
                <c:pt idx="43">
                  <c:v>979030.91351852496</c:v>
                </c:pt>
                <c:pt idx="44">
                  <c:v>1214459.1757527718</c:v>
                </c:pt>
                <c:pt idx="45">
                  <c:v>1506501.0401657626</c:v>
                </c:pt>
                <c:pt idx="46">
                  <c:v>1868770.4200627229</c:v>
                </c:pt>
                <c:pt idx="47">
                  <c:v>2318154.976193801</c:v>
                </c:pt>
                <c:pt idx="48">
                  <c:v>2875603.3571377522</c:v>
                </c:pt>
                <c:pt idx="49">
                  <c:v>3567101.7479422335</c:v>
                </c:pt>
                <c:pt idx="50">
                  <c:v>4424885.2501123995</c:v>
                </c:pt>
                <c:pt idx="51">
                  <c:v>5488940.5630095256</c:v>
                </c:pt>
                <c:pt idx="52">
                  <c:v>6808870.0161175849</c:v>
                </c:pt>
                <c:pt idx="53">
                  <c:v>8446203.8464788925</c:v>
                </c:pt>
                <c:pt idx="54">
                  <c:v>10477268.511134239</c:v>
                </c:pt>
                <c:pt idx="55">
                  <c:v>12996744.744701847</c:v>
                </c:pt>
                <c:pt idx="56">
                  <c:v>16122081.225600762</c:v>
                </c:pt>
                <c:pt idx="57">
                  <c:v>19998969.599739637</c:v>
                </c:pt>
                <c:pt idx="58">
                  <c:v>24808136.087058224</c:v>
                </c:pt>
                <c:pt idx="59">
                  <c:v>30773766.27053896</c:v>
                </c:pt>
                <c:pt idx="60">
                  <c:v>38173955.800242417</c:v>
                </c:pt>
                <c:pt idx="61">
                  <c:v>47353674.185598485</c:v>
                </c:pt>
                <c:pt idx="62">
                  <c:v>58740846.000077784</c:v>
                </c:pt>
                <c:pt idx="63">
                  <c:v>72866299.144623488</c:v>
                </c:pt>
                <c:pt idx="64">
                  <c:v>90388510.084222078</c:v>
                </c:pt>
                <c:pt idx="65">
                  <c:v>112124299.5891653</c:v>
                </c:pt>
                <c:pt idx="66">
                  <c:v>139086909.90311381</c:v>
                </c:pt>
                <c:pt idx="67">
                  <c:v>172533238.35492915</c:v>
                </c:pt>
                <c:pt idx="68">
                  <c:v>214022429.27083901</c:v>
                </c:pt>
                <c:pt idx="69">
                  <c:v>265488555.52552474</c:v>
                </c:pt>
                <c:pt idx="70">
                  <c:v>329330777.87765014</c:v>
                </c:pt>
                <c:pt idx="71">
                  <c:v>408525184.9851231</c:v>
                </c:pt>
                <c:pt idx="72">
                  <c:v>506763527.66862202</c:v>
                </c:pt>
                <c:pt idx="73">
                  <c:v>628625314.7024405</c:v>
                </c:pt>
                <c:pt idx="74">
                  <c:v>779791292.60294378</c:v>
                </c:pt>
                <c:pt idx="75">
                  <c:v>967308261.05404902</c:v>
                </c:pt>
                <c:pt idx="76">
                  <c:v>1199917568.6869819</c:v>
                </c:pt>
                <c:pt idx="77">
                  <c:v>1488462602.4745934</c:v>
                </c:pt>
                <c:pt idx="78">
                  <c:v>1846394266.3909659</c:v>
                </c:pt>
                <c:pt idx="79">
                  <c:v>2290398012.8849926</c:v>
                </c:pt>
                <c:pt idx="80">
                  <c:v>2841171657.0597053</c:v>
                </c:pt>
                <c:pt idx="81">
                  <c:v>3524390232.3821416</c:v>
                </c:pt>
                <c:pt idx="82">
                  <c:v>4371902865.9343052</c:v>
                </c:pt>
                <c:pt idx="83">
                  <c:v>5423217467.1094217</c:v>
                </c:pt>
                <c:pt idx="84">
                  <c:v>6727342440.45821</c:v>
                </c:pt>
                <c:pt idx="85">
                  <c:v>8345071276.5372725</c:v>
                </c:pt>
                <c:pt idx="86">
                  <c:v>10351816519.948757</c:v>
                </c:pt>
                <c:pt idx="87">
                  <c:v>12841125223.695982</c:v>
                </c:pt>
                <c:pt idx="88">
                  <c:v>15929039767.356503</c:v>
                </c:pt>
                <c:pt idx="89">
                  <c:v>19759507324.311741</c:v>
                </c:pt>
                <c:pt idx="90">
                  <c:v>24511090147.420906</c:v>
                </c:pt>
                <c:pt idx="91">
                  <c:v>30405289481.878479</c:v>
                </c:pt>
                <c:pt idx="92">
                  <c:v>37716871135.333893</c:v>
                </c:pt>
                <c:pt idx="93">
                  <c:v>46786674045.226051</c:v>
                </c:pt>
                <c:pt idx="94">
                  <c:v>58037498931.440735</c:v>
                </c:pt>
                <c:pt idx="95">
                  <c:v>71993817704.609146</c:v>
                </c:pt>
                <c:pt idx="96">
                  <c:v>89306222409.881592</c:v>
                </c:pt>
                <c:pt idx="97">
                  <c:v>110781753425.65002</c:v>
                </c:pt>
                <c:pt idx="98">
                  <c:v>137421520705.85873</c:v>
                </c:pt>
                <c:pt idx="99">
                  <c:v>170467371829.28778</c:v>
                </c:pt>
                <c:pt idx="100">
                  <c:v>211459782347.94534</c:v>
                </c:pt>
                <c:pt idx="101">
                  <c:v>262309667068.83966</c:v>
                </c:pt>
                <c:pt idx="102">
                  <c:v>325387459845.90326</c:v>
                </c:pt>
                <c:pt idx="103">
                  <c:v>403633614453.03857</c:v>
                </c:pt>
                <c:pt idx="104">
                  <c:v>500695677680.94177</c:v>
                </c:pt>
                <c:pt idx="105">
                  <c:v>621098324499.29712</c:v>
                </c:pt>
                <c:pt idx="106">
                  <c:v>770454281695.74219</c:v>
                </c:pt>
                <c:pt idx="107">
                  <c:v>955725972472.77856</c:v>
                </c:pt>
                <c:pt idx="108">
                  <c:v>1185550078907.5344</c:v>
                </c:pt>
                <c:pt idx="109">
                  <c:v>1470640152177.8245</c:v>
                </c:pt>
                <c:pt idx="110">
                  <c:v>1824286038756.4431</c:v>
                </c:pt>
                <c:pt idx="111">
                  <c:v>2262973403978.7397</c:v>
                </c:pt>
                <c:pt idx="112">
                  <c:v>2807152232884.4854</c:v>
                </c:pt>
                <c:pt idx="113">
                  <c:v>3482190133005.3618</c:v>
                </c:pt>
                <c:pt idx="114">
                  <c:v>4319554878554.0029</c:v>
                </c:pt>
                <c:pt idx="115">
                  <c:v>5358281321857.665</c:v>
                </c:pt>
                <c:pt idx="116">
                  <c:v>6646791054030.9805</c:v>
                </c:pt>
                <c:pt idx="117">
                  <c:v>8245149640748.9307</c:v>
                </c:pt>
                <c:pt idx="118">
                  <c:v>10227866657116.275</c:v>
                </c:pt>
                <c:pt idx="119">
                  <c:v>12687369048919.836</c:v>
                </c:pt>
                <c:pt idx="120">
                  <c:v>15738309735539.176</c:v>
                </c:pt>
                <c:pt idx="121">
                  <c:v>19522912305672.637</c:v>
                </c:pt>
                <c:pt idx="122">
                  <c:v>24217600955857.992</c:v>
                </c:pt>
                <c:pt idx="123">
                  <c:v>30041224735039.305</c:v>
                </c:pt>
                <c:pt idx="124">
                  <c:v>37265259479091.031</c:v>
                </c:pt>
                <c:pt idx="125">
                  <c:v>46226463011817.734</c:v>
                </c:pt>
                <c:pt idx="126">
                  <c:v>57342573551162.844</c:v>
                </c:pt>
                <c:pt idx="127">
                  <c:v>71131783122361.766</c:v>
                </c:pt>
                <c:pt idx="128">
                  <c:v>88236893756648.281</c:v>
                </c:pt>
                <c:pt idx="129">
                  <c:v>109455282548293.05</c:v>
                </c:pt>
                <c:pt idx="130">
                  <c:v>135776072430292.55</c:v>
                </c:pt>
                <c:pt idx="131">
                  <c:v>168426241433000.13</c:v>
                </c:pt>
                <c:pt idx="132">
                  <c:v>208927819869078.75</c:v>
                </c:pt>
                <c:pt idx="133">
                  <c:v>259168841766326.81</c:v>
                </c:pt>
                <c:pt idx="134">
                  <c:v>321491358042166.88</c:v>
                </c:pt>
                <c:pt idx="135">
                  <c:v>398800614268999.88</c:v>
                </c:pt>
                <c:pt idx="136">
                  <c:v>494700482494687.31</c:v>
                </c:pt>
                <c:pt idx="137">
                  <c:v>613661460449510.5</c:v>
                </c:pt>
                <c:pt idx="138">
                  <c:v>761229069642294.25</c:v>
                </c:pt>
                <c:pt idx="139">
                  <c:v>944282367095385.13</c:v>
                </c:pt>
                <c:pt idx="140">
                  <c:v>1171354621580940</c:v>
                </c:pt>
                <c:pt idx="141">
                  <c:v>1453031103100577.5</c:v>
                </c:pt>
                <c:pt idx="142">
                  <c:v>1802442529084939</c:v>
                </c:pt>
                <c:pt idx="143">
                  <c:v>2235877169952927.8</c:v>
                </c:pt>
                <c:pt idx="144">
                  <c:v>2773540148131485</c:v>
                </c:pt>
                <c:pt idx="145">
                  <c:v>3440495326252267</c:v>
                </c:pt>
                <c:pt idx="146">
                  <c:v>4267833691875073.5</c:v>
                </c:pt>
                <c:pt idx="147">
                  <c:v>5294122704519113</c:v>
                </c:pt>
                <c:pt idx="148">
                  <c:v>6567204168208972</c:v>
                </c:pt>
                <c:pt idx="149">
                  <c:v>8146424439714409</c:v>
                </c:pt>
                <c:pt idx="150">
                  <c:v>1.0105400936556466E+16</c:v>
                </c:pt>
                <c:pt idx="151">
                  <c:v>1.25354539091674E+16</c:v>
                </c:pt>
                <c:pt idx="152">
                  <c:v>1.5549863453751194E+16</c:v>
                </c:pt>
                <c:pt idx="153">
                  <c:v>1.928915021206178E+16</c:v>
                </c:pt>
                <c:pt idx="154">
                  <c:v>2.392762592482576E+16</c:v>
                </c:pt>
                <c:pt idx="155">
                  <c:v>2.9681519201420808E+16</c:v>
                </c:pt>
              </c:numCache>
            </c:numRef>
          </c:val>
          <c:smooth val="0"/>
          <c:extLst>
            <c:ext xmlns:c16="http://schemas.microsoft.com/office/drawing/2014/chart" uri="{C3380CC4-5D6E-409C-BE32-E72D297353CC}">
              <c16:uniqueId val="{00000002-9D79-4162-BC99-D62AA1B032EE}"/>
            </c:ext>
          </c:extLst>
        </c:ser>
        <c:dLbls>
          <c:showLegendKey val="0"/>
          <c:showVal val="0"/>
          <c:showCatName val="0"/>
          <c:showSerName val="0"/>
          <c:showPercent val="0"/>
          <c:showBubbleSize val="0"/>
        </c:dLbls>
        <c:smooth val="0"/>
        <c:axId val="303357951"/>
        <c:axId val="102349328"/>
      </c:lineChart>
      <c:catAx>
        <c:axId val="30335795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Neue Haas Grotesk Text Pro" panose="020B0504020202020204" pitchFamily="34" charset="0"/>
                <a:ea typeface="+mn-ea"/>
                <a:cs typeface="+mn-cs"/>
              </a:defRPr>
            </a:pPr>
            <a:endParaRPr lang="en-US"/>
          </a:p>
        </c:txPr>
        <c:crossAx val="102349328"/>
        <c:crosses val="autoZero"/>
        <c:auto val="1"/>
        <c:lblAlgn val="ctr"/>
        <c:lblOffset val="100"/>
        <c:tickLblSkip val="10"/>
        <c:tickMarkSkip val="10"/>
        <c:noMultiLvlLbl val="0"/>
      </c:catAx>
      <c:valAx>
        <c:axId val="102349328"/>
        <c:scaling>
          <c:logBase val="10"/>
          <c:orientation val="minMax"/>
        </c:scaling>
        <c:delete val="1"/>
        <c:axPos val="l"/>
        <c:numFmt formatCode="General" sourceLinked="1"/>
        <c:majorTickMark val="none"/>
        <c:minorTickMark val="none"/>
        <c:tickLblPos val="nextTo"/>
        <c:crossAx val="3033579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 Haas Grotesk Text Pro" panose="020B05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Neue Haas Grotesk Text Pro" panose="020B0504020202020204" pitchFamily="34" charset="0"/>
                <a:ea typeface="Cambria" panose="02040503050406030204" pitchFamily="18" charset="0"/>
                <a:cs typeface="+mn-cs"/>
              </a:defRPr>
            </a:pPr>
            <a:endParaRPr lang="en-SG" sz="1000" b="1">
              <a:solidFill>
                <a:schemeClr val="tx1"/>
              </a:solidFill>
            </a:endParaRPr>
          </a:p>
        </c:rich>
      </c:tx>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Neue Haas Grotesk Text Pro" panose="020B0504020202020204" pitchFamily="34" charset="0"/>
              <a:ea typeface="Cambria" panose="02040503050406030204" pitchFamily="18" charset="0"/>
              <a:cs typeface="+mn-cs"/>
            </a:defRPr>
          </a:pPr>
          <a:endParaRPr lang="en-US"/>
        </a:p>
      </c:txPr>
    </c:title>
    <c:autoTitleDeleted val="0"/>
    <c:plotArea>
      <c:layout>
        <c:manualLayout>
          <c:layoutTarget val="inner"/>
          <c:xMode val="edge"/>
          <c:yMode val="edge"/>
          <c:x val="0.12103767985530921"/>
          <c:y val="0.10552123840953213"/>
          <c:w val="0.7355544163343789"/>
          <c:h val="0.7568952693321408"/>
        </c:manualLayout>
      </c:layout>
      <c:barChart>
        <c:barDir val="col"/>
        <c:grouping val="clustered"/>
        <c:varyColors val="0"/>
        <c:ser>
          <c:idx val="0"/>
          <c:order val="0"/>
          <c:tx>
            <c:strRef>
              <c:f>TSLA!$B$1</c:f>
              <c:strCache>
                <c:ptCount val="1"/>
                <c:pt idx="0">
                  <c:v>avg_14_days</c:v>
                </c:pt>
              </c:strCache>
            </c:strRef>
          </c:tx>
          <c:spPr>
            <a:solidFill>
              <a:schemeClr val="bg1">
                <a:lumMod val="95000"/>
              </a:schemeClr>
            </a:solidFill>
            <a:ln>
              <a:solidFill>
                <a:schemeClr val="bg1">
                  <a:lumMod val="75000"/>
                </a:schemeClr>
              </a:solidFill>
            </a:ln>
            <a:effectLst/>
          </c:spPr>
          <c:invertIfNegative val="0"/>
          <c:cat>
            <c:numRef>
              <c:f>TSLA!$A$2:$A$90</c:f>
              <c:numCache>
                <c:formatCode>m/d/yyyy</c:formatCode>
                <c:ptCount val="89"/>
                <c:pt idx="0">
                  <c:v>43990</c:v>
                </c:pt>
                <c:pt idx="1">
                  <c:v>43991</c:v>
                </c:pt>
                <c:pt idx="2">
                  <c:v>43992</c:v>
                </c:pt>
                <c:pt idx="3">
                  <c:v>43993</c:v>
                </c:pt>
                <c:pt idx="4">
                  <c:v>43994</c:v>
                </c:pt>
                <c:pt idx="5">
                  <c:v>43995</c:v>
                </c:pt>
                <c:pt idx="6">
                  <c:v>43996</c:v>
                </c:pt>
                <c:pt idx="7">
                  <c:v>43997</c:v>
                </c:pt>
                <c:pt idx="8">
                  <c:v>43998</c:v>
                </c:pt>
                <c:pt idx="9">
                  <c:v>43999</c:v>
                </c:pt>
                <c:pt idx="10">
                  <c:v>44000</c:v>
                </c:pt>
                <c:pt idx="11">
                  <c:v>44001</c:v>
                </c:pt>
                <c:pt idx="12">
                  <c:v>44002</c:v>
                </c:pt>
                <c:pt idx="13">
                  <c:v>44003</c:v>
                </c:pt>
                <c:pt idx="14">
                  <c:v>44004</c:v>
                </c:pt>
                <c:pt idx="15">
                  <c:v>44005</c:v>
                </c:pt>
                <c:pt idx="16">
                  <c:v>44006</c:v>
                </c:pt>
                <c:pt idx="17">
                  <c:v>44007</c:v>
                </c:pt>
                <c:pt idx="18">
                  <c:v>44008</c:v>
                </c:pt>
                <c:pt idx="19">
                  <c:v>44009</c:v>
                </c:pt>
                <c:pt idx="20">
                  <c:v>44010</c:v>
                </c:pt>
                <c:pt idx="21">
                  <c:v>44011</c:v>
                </c:pt>
                <c:pt idx="22">
                  <c:v>44012</c:v>
                </c:pt>
                <c:pt idx="23">
                  <c:v>44013</c:v>
                </c:pt>
                <c:pt idx="24">
                  <c:v>44014</c:v>
                </c:pt>
                <c:pt idx="25">
                  <c:v>44015</c:v>
                </c:pt>
                <c:pt idx="26">
                  <c:v>44016</c:v>
                </c:pt>
                <c:pt idx="27">
                  <c:v>44017</c:v>
                </c:pt>
                <c:pt idx="28">
                  <c:v>44018</c:v>
                </c:pt>
                <c:pt idx="29">
                  <c:v>44019</c:v>
                </c:pt>
                <c:pt idx="30">
                  <c:v>44020</c:v>
                </c:pt>
                <c:pt idx="31">
                  <c:v>44021</c:v>
                </c:pt>
                <c:pt idx="32">
                  <c:v>44022</c:v>
                </c:pt>
                <c:pt idx="33">
                  <c:v>44023</c:v>
                </c:pt>
                <c:pt idx="34">
                  <c:v>44024</c:v>
                </c:pt>
                <c:pt idx="35">
                  <c:v>44025</c:v>
                </c:pt>
                <c:pt idx="36">
                  <c:v>44026</c:v>
                </c:pt>
                <c:pt idx="37">
                  <c:v>44027</c:v>
                </c:pt>
                <c:pt idx="38">
                  <c:v>44028</c:v>
                </c:pt>
                <c:pt idx="39">
                  <c:v>44029</c:v>
                </c:pt>
                <c:pt idx="40">
                  <c:v>44030</c:v>
                </c:pt>
                <c:pt idx="41">
                  <c:v>44031</c:v>
                </c:pt>
                <c:pt idx="42">
                  <c:v>44032</c:v>
                </c:pt>
                <c:pt idx="43">
                  <c:v>44033</c:v>
                </c:pt>
                <c:pt idx="44">
                  <c:v>44034</c:v>
                </c:pt>
                <c:pt idx="45">
                  <c:v>44035</c:v>
                </c:pt>
                <c:pt idx="46">
                  <c:v>44036</c:v>
                </c:pt>
                <c:pt idx="47">
                  <c:v>44037</c:v>
                </c:pt>
                <c:pt idx="48">
                  <c:v>44038</c:v>
                </c:pt>
                <c:pt idx="49">
                  <c:v>44039</c:v>
                </c:pt>
                <c:pt idx="50">
                  <c:v>44040</c:v>
                </c:pt>
                <c:pt idx="51">
                  <c:v>44041</c:v>
                </c:pt>
                <c:pt idx="52">
                  <c:v>44042</c:v>
                </c:pt>
                <c:pt idx="53">
                  <c:v>44043</c:v>
                </c:pt>
                <c:pt idx="54">
                  <c:v>44044</c:v>
                </c:pt>
                <c:pt idx="55">
                  <c:v>44045</c:v>
                </c:pt>
                <c:pt idx="56">
                  <c:v>44046</c:v>
                </c:pt>
                <c:pt idx="57">
                  <c:v>44047</c:v>
                </c:pt>
                <c:pt idx="58">
                  <c:v>44048</c:v>
                </c:pt>
                <c:pt idx="59">
                  <c:v>44049</c:v>
                </c:pt>
                <c:pt idx="60">
                  <c:v>44050</c:v>
                </c:pt>
                <c:pt idx="61">
                  <c:v>44051</c:v>
                </c:pt>
                <c:pt idx="62">
                  <c:v>44052</c:v>
                </c:pt>
                <c:pt idx="63">
                  <c:v>44053</c:v>
                </c:pt>
                <c:pt idx="64">
                  <c:v>44054</c:v>
                </c:pt>
                <c:pt idx="65">
                  <c:v>44055</c:v>
                </c:pt>
                <c:pt idx="66">
                  <c:v>44056</c:v>
                </c:pt>
                <c:pt idx="67">
                  <c:v>44057</c:v>
                </c:pt>
                <c:pt idx="68">
                  <c:v>44058</c:v>
                </c:pt>
                <c:pt idx="69">
                  <c:v>44059</c:v>
                </c:pt>
                <c:pt idx="70">
                  <c:v>44060</c:v>
                </c:pt>
                <c:pt idx="71">
                  <c:v>44061</c:v>
                </c:pt>
                <c:pt idx="72">
                  <c:v>44062</c:v>
                </c:pt>
                <c:pt idx="73">
                  <c:v>44063</c:v>
                </c:pt>
                <c:pt idx="74">
                  <c:v>44064</c:v>
                </c:pt>
                <c:pt idx="75">
                  <c:v>44065</c:v>
                </c:pt>
                <c:pt idx="76">
                  <c:v>44066</c:v>
                </c:pt>
                <c:pt idx="77">
                  <c:v>44067</c:v>
                </c:pt>
                <c:pt idx="78">
                  <c:v>44068</c:v>
                </c:pt>
                <c:pt idx="79">
                  <c:v>44069</c:v>
                </c:pt>
                <c:pt idx="80">
                  <c:v>44070</c:v>
                </c:pt>
                <c:pt idx="81">
                  <c:v>44071</c:v>
                </c:pt>
                <c:pt idx="82">
                  <c:v>44072</c:v>
                </c:pt>
                <c:pt idx="83">
                  <c:v>44073</c:v>
                </c:pt>
                <c:pt idx="84">
                  <c:v>44074</c:v>
                </c:pt>
                <c:pt idx="85">
                  <c:v>44075</c:v>
                </c:pt>
                <c:pt idx="86">
                  <c:v>44076</c:v>
                </c:pt>
                <c:pt idx="87">
                  <c:v>44077</c:v>
                </c:pt>
                <c:pt idx="88">
                  <c:v>44078</c:v>
                </c:pt>
              </c:numCache>
            </c:numRef>
          </c:cat>
          <c:val>
            <c:numRef>
              <c:f>TSLA!$B$2:$B$90</c:f>
              <c:numCache>
                <c:formatCode>General</c:formatCode>
                <c:ptCount val="89"/>
                <c:pt idx="0">
                  <c:v>12</c:v>
                </c:pt>
                <c:pt idx="1">
                  <c:v>14</c:v>
                </c:pt>
                <c:pt idx="2">
                  <c:v>17</c:v>
                </c:pt>
                <c:pt idx="3">
                  <c:v>21</c:v>
                </c:pt>
                <c:pt idx="4">
                  <c:v>23</c:v>
                </c:pt>
                <c:pt idx="5">
                  <c:v>22</c:v>
                </c:pt>
                <c:pt idx="6">
                  <c:v>21</c:v>
                </c:pt>
                <c:pt idx="7">
                  <c:v>21</c:v>
                </c:pt>
                <c:pt idx="8">
                  <c:v>25</c:v>
                </c:pt>
                <c:pt idx="9">
                  <c:v>23</c:v>
                </c:pt>
                <c:pt idx="10">
                  <c:v>24</c:v>
                </c:pt>
                <c:pt idx="11">
                  <c:v>20</c:v>
                </c:pt>
                <c:pt idx="12">
                  <c:v>25</c:v>
                </c:pt>
                <c:pt idx="13">
                  <c:v>26</c:v>
                </c:pt>
                <c:pt idx="14">
                  <c:v>27</c:v>
                </c:pt>
                <c:pt idx="15">
                  <c:v>28</c:v>
                </c:pt>
                <c:pt idx="16">
                  <c:v>22</c:v>
                </c:pt>
                <c:pt idx="17">
                  <c:v>17</c:v>
                </c:pt>
                <c:pt idx="18">
                  <c:v>15</c:v>
                </c:pt>
                <c:pt idx="19">
                  <c:v>11</c:v>
                </c:pt>
                <c:pt idx="20">
                  <c:v>9</c:v>
                </c:pt>
                <c:pt idx="21">
                  <c:v>9</c:v>
                </c:pt>
                <c:pt idx="22">
                  <c:v>9</c:v>
                </c:pt>
                <c:pt idx="23">
                  <c:v>6</c:v>
                </c:pt>
                <c:pt idx="24">
                  <c:v>7</c:v>
                </c:pt>
                <c:pt idx="25">
                  <c:v>8</c:v>
                </c:pt>
                <c:pt idx="26">
                  <c:v>8</c:v>
                </c:pt>
                <c:pt idx="27">
                  <c:v>10</c:v>
                </c:pt>
                <c:pt idx="28">
                  <c:v>4</c:v>
                </c:pt>
                <c:pt idx="29">
                  <c:v>-3</c:v>
                </c:pt>
                <c:pt idx="30">
                  <c:v>-1</c:v>
                </c:pt>
                <c:pt idx="31">
                  <c:v>-2</c:v>
                </c:pt>
                <c:pt idx="32">
                  <c:v>3</c:v>
                </c:pt>
                <c:pt idx="33">
                  <c:v>4</c:v>
                </c:pt>
                <c:pt idx="34">
                  <c:v>6</c:v>
                </c:pt>
                <c:pt idx="35">
                  <c:v>7</c:v>
                </c:pt>
                <c:pt idx="36">
                  <c:v>7</c:v>
                </c:pt>
                <c:pt idx="37">
                  <c:v>3</c:v>
                </c:pt>
                <c:pt idx="38">
                  <c:v>7</c:v>
                </c:pt>
                <c:pt idx="39">
                  <c:v>9</c:v>
                </c:pt>
                <c:pt idx="40">
                  <c:v>7</c:v>
                </c:pt>
                <c:pt idx="41">
                  <c:v>10</c:v>
                </c:pt>
                <c:pt idx="42">
                  <c:v>11</c:v>
                </c:pt>
                <c:pt idx="43">
                  <c:v>12</c:v>
                </c:pt>
                <c:pt idx="44">
                  <c:v>17</c:v>
                </c:pt>
                <c:pt idx="45">
                  <c:v>22</c:v>
                </c:pt>
                <c:pt idx="46">
                  <c:v>15</c:v>
                </c:pt>
                <c:pt idx="47">
                  <c:v>15</c:v>
                </c:pt>
                <c:pt idx="48">
                  <c:v>13</c:v>
                </c:pt>
                <c:pt idx="49">
                  <c:v>16</c:v>
                </c:pt>
                <c:pt idx="50">
                  <c:v>18</c:v>
                </c:pt>
                <c:pt idx="51">
                  <c:v>13</c:v>
                </c:pt>
                <c:pt idx="52">
                  <c:v>11</c:v>
                </c:pt>
                <c:pt idx="53">
                  <c:v>9</c:v>
                </c:pt>
                <c:pt idx="54">
                  <c:v>8</c:v>
                </c:pt>
                <c:pt idx="55">
                  <c:v>7</c:v>
                </c:pt>
                <c:pt idx="56">
                  <c:v>9</c:v>
                </c:pt>
                <c:pt idx="57">
                  <c:v>9</c:v>
                </c:pt>
                <c:pt idx="58">
                  <c:v>13</c:v>
                </c:pt>
                <c:pt idx="59">
                  <c:v>15</c:v>
                </c:pt>
                <c:pt idx="60">
                  <c:v>14</c:v>
                </c:pt>
                <c:pt idx="61">
                  <c:v>12</c:v>
                </c:pt>
                <c:pt idx="62">
                  <c:v>17</c:v>
                </c:pt>
                <c:pt idx="63">
                  <c:v>22</c:v>
                </c:pt>
                <c:pt idx="64">
                  <c:v>26</c:v>
                </c:pt>
                <c:pt idx="65">
                  <c:v>22</c:v>
                </c:pt>
                <c:pt idx="66">
                  <c:v>18</c:v>
                </c:pt>
                <c:pt idx="67">
                  <c:v>24</c:v>
                </c:pt>
                <c:pt idx="68">
                  <c:v>26</c:v>
                </c:pt>
                <c:pt idx="69">
                  <c:v>34</c:v>
                </c:pt>
                <c:pt idx="70">
                  <c:v>29</c:v>
                </c:pt>
                <c:pt idx="71">
                  <c:v>27</c:v>
                </c:pt>
                <c:pt idx="72">
                  <c:v>26</c:v>
                </c:pt>
                <c:pt idx="73">
                  <c:v>24</c:v>
                </c:pt>
                <c:pt idx="74">
                  <c:v>23</c:v>
                </c:pt>
                <c:pt idx="75">
                  <c:v>20</c:v>
                </c:pt>
                <c:pt idx="76">
                  <c:v>19</c:v>
                </c:pt>
                <c:pt idx="77">
                  <c:v>21</c:v>
                </c:pt>
                <c:pt idx="78">
                  <c:v>18</c:v>
                </c:pt>
                <c:pt idx="79">
                  <c:v>14</c:v>
                </c:pt>
                <c:pt idx="80">
                  <c:v>9</c:v>
                </c:pt>
                <c:pt idx="81">
                  <c:v>13</c:v>
                </c:pt>
                <c:pt idx="82">
                  <c:v>10</c:v>
                </c:pt>
                <c:pt idx="83">
                  <c:v>9</c:v>
                </c:pt>
                <c:pt idx="84">
                  <c:v>9</c:v>
                </c:pt>
                <c:pt idx="85">
                  <c:v>7</c:v>
                </c:pt>
                <c:pt idx="86">
                  <c:v>7</c:v>
                </c:pt>
                <c:pt idx="87">
                  <c:v>6</c:v>
                </c:pt>
                <c:pt idx="88">
                  <c:v>5</c:v>
                </c:pt>
              </c:numCache>
            </c:numRef>
          </c:val>
          <c:extLst>
            <c:ext xmlns:c16="http://schemas.microsoft.com/office/drawing/2014/chart" uri="{C3380CC4-5D6E-409C-BE32-E72D297353CC}">
              <c16:uniqueId val="{00000000-17B5-49A4-99EC-58AE0E6FE128}"/>
            </c:ext>
          </c:extLst>
        </c:ser>
        <c:dLbls>
          <c:showLegendKey val="0"/>
          <c:showVal val="0"/>
          <c:showCatName val="0"/>
          <c:showSerName val="0"/>
          <c:showPercent val="0"/>
          <c:showBubbleSize val="0"/>
        </c:dLbls>
        <c:gapWidth val="0"/>
        <c:axId val="2035959279"/>
        <c:axId val="2036283103"/>
      </c:barChart>
      <c:lineChart>
        <c:grouping val="standard"/>
        <c:varyColors val="0"/>
        <c:ser>
          <c:idx val="1"/>
          <c:order val="1"/>
          <c:tx>
            <c:strRef>
              <c:f>TSLA!$C$1</c:f>
              <c:strCache>
                <c:ptCount val="1"/>
                <c:pt idx="0">
                  <c:v>stock price</c:v>
                </c:pt>
              </c:strCache>
            </c:strRef>
          </c:tx>
          <c:spPr>
            <a:ln w="19050" cap="rnd">
              <a:solidFill>
                <a:schemeClr val="tx1"/>
              </a:solidFill>
              <a:round/>
            </a:ln>
            <a:effectLst/>
          </c:spPr>
          <c:marker>
            <c:symbol val="none"/>
          </c:marker>
          <c:cat>
            <c:numRef>
              <c:f>TSLA!$A$2:$A$90</c:f>
              <c:numCache>
                <c:formatCode>m/d/yyyy</c:formatCode>
                <c:ptCount val="89"/>
                <c:pt idx="0">
                  <c:v>43990</c:v>
                </c:pt>
                <c:pt idx="1">
                  <c:v>43991</c:v>
                </c:pt>
                <c:pt idx="2">
                  <c:v>43992</c:v>
                </c:pt>
                <c:pt idx="3">
                  <c:v>43993</c:v>
                </c:pt>
                <c:pt idx="4">
                  <c:v>43994</c:v>
                </c:pt>
                <c:pt idx="5">
                  <c:v>43995</c:v>
                </c:pt>
                <c:pt idx="6">
                  <c:v>43996</c:v>
                </c:pt>
                <c:pt idx="7">
                  <c:v>43997</c:v>
                </c:pt>
                <c:pt idx="8">
                  <c:v>43998</c:v>
                </c:pt>
                <c:pt idx="9">
                  <c:v>43999</c:v>
                </c:pt>
                <c:pt idx="10">
                  <c:v>44000</c:v>
                </c:pt>
                <c:pt idx="11">
                  <c:v>44001</c:v>
                </c:pt>
                <c:pt idx="12">
                  <c:v>44002</c:v>
                </c:pt>
                <c:pt idx="13">
                  <c:v>44003</c:v>
                </c:pt>
                <c:pt idx="14">
                  <c:v>44004</c:v>
                </c:pt>
                <c:pt idx="15">
                  <c:v>44005</c:v>
                </c:pt>
                <c:pt idx="16">
                  <c:v>44006</c:v>
                </c:pt>
                <c:pt idx="17">
                  <c:v>44007</c:v>
                </c:pt>
                <c:pt idx="18">
                  <c:v>44008</c:v>
                </c:pt>
                <c:pt idx="19">
                  <c:v>44009</c:v>
                </c:pt>
                <c:pt idx="20">
                  <c:v>44010</c:v>
                </c:pt>
                <c:pt idx="21">
                  <c:v>44011</c:v>
                </c:pt>
                <c:pt idx="22">
                  <c:v>44012</c:v>
                </c:pt>
                <c:pt idx="23">
                  <c:v>44013</c:v>
                </c:pt>
                <c:pt idx="24">
                  <c:v>44014</c:v>
                </c:pt>
                <c:pt idx="25">
                  <c:v>44015</c:v>
                </c:pt>
                <c:pt idx="26">
                  <c:v>44016</c:v>
                </c:pt>
                <c:pt idx="27">
                  <c:v>44017</c:v>
                </c:pt>
                <c:pt idx="28">
                  <c:v>44018</c:v>
                </c:pt>
                <c:pt idx="29">
                  <c:v>44019</c:v>
                </c:pt>
                <c:pt idx="30">
                  <c:v>44020</c:v>
                </c:pt>
                <c:pt idx="31">
                  <c:v>44021</c:v>
                </c:pt>
                <c:pt idx="32">
                  <c:v>44022</c:v>
                </c:pt>
                <c:pt idx="33">
                  <c:v>44023</c:v>
                </c:pt>
                <c:pt idx="34">
                  <c:v>44024</c:v>
                </c:pt>
                <c:pt idx="35">
                  <c:v>44025</c:v>
                </c:pt>
                <c:pt idx="36">
                  <c:v>44026</c:v>
                </c:pt>
                <c:pt idx="37">
                  <c:v>44027</c:v>
                </c:pt>
                <c:pt idx="38">
                  <c:v>44028</c:v>
                </c:pt>
                <c:pt idx="39">
                  <c:v>44029</c:v>
                </c:pt>
                <c:pt idx="40">
                  <c:v>44030</c:v>
                </c:pt>
                <c:pt idx="41">
                  <c:v>44031</c:v>
                </c:pt>
                <c:pt idx="42">
                  <c:v>44032</c:v>
                </c:pt>
                <c:pt idx="43">
                  <c:v>44033</c:v>
                </c:pt>
                <c:pt idx="44">
                  <c:v>44034</c:v>
                </c:pt>
                <c:pt idx="45">
                  <c:v>44035</c:v>
                </c:pt>
                <c:pt idx="46">
                  <c:v>44036</c:v>
                </c:pt>
                <c:pt idx="47">
                  <c:v>44037</c:v>
                </c:pt>
                <c:pt idx="48">
                  <c:v>44038</c:v>
                </c:pt>
                <c:pt idx="49">
                  <c:v>44039</c:v>
                </c:pt>
                <c:pt idx="50">
                  <c:v>44040</c:v>
                </c:pt>
                <c:pt idx="51">
                  <c:v>44041</c:v>
                </c:pt>
                <c:pt idx="52">
                  <c:v>44042</c:v>
                </c:pt>
                <c:pt idx="53">
                  <c:v>44043</c:v>
                </c:pt>
                <c:pt idx="54">
                  <c:v>44044</c:v>
                </c:pt>
                <c:pt idx="55">
                  <c:v>44045</c:v>
                </c:pt>
                <c:pt idx="56">
                  <c:v>44046</c:v>
                </c:pt>
                <c:pt idx="57">
                  <c:v>44047</c:v>
                </c:pt>
                <c:pt idx="58">
                  <c:v>44048</c:v>
                </c:pt>
                <c:pt idx="59">
                  <c:v>44049</c:v>
                </c:pt>
                <c:pt idx="60">
                  <c:v>44050</c:v>
                </c:pt>
                <c:pt idx="61">
                  <c:v>44051</c:v>
                </c:pt>
                <c:pt idx="62">
                  <c:v>44052</c:v>
                </c:pt>
                <c:pt idx="63">
                  <c:v>44053</c:v>
                </c:pt>
                <c:pt idx="64">
                  <c:v>44054</c:v>
                </c:pt>
                <c:pt idx="65">
                  <c:v>44055</c:v>
                </c:pt>
                <c:pt idx="66">
                  <c:v>44056</c:v>
                </c:pt>
                <c:pt idx="67">
                  <c:v>44057</c:v>
                </c:pt>
                <c:pt idx="68">
                  <c:v>44058</c:v>
                </c:pt>
                <c:pt idx="69">
                  <c:v>44059</c:v>
                </c:pt>
                <c:pt idx="70">
                  <c:v>44060</c:v>
                </c:pt>
                <c:pt idx="71">
                  <c:v>44061</c:v>
                </c:pt>
                <c:pt idx="72">
                  <c:v>44062</c:v>
                </c:pt>
                <c:pt idx="73">
                  <c:v>44063</c:v>
                </c:pt>
                <c:pt idx="74">
                  <c:v>44064</c:v>
                </c:pt>
                <c:pt idx="75">
                  <c:v>44065</c:v>
                </c:pt>
                <c:pt idx="76">
                  <c:v>44066</c:v>
                </c:pt>
                <c:pt idx="77">
                  <c:v>44067</c:v>
                </c:pt>
                <c:pt idx="78">
                  <c:v>44068</c:v>
                </c:pt>
                <c:pt idx="79">
                  <c:v>44069</c:v>
                </c:pt>
                <c:pt idx="80">
                  <c:v>44070</c:v>
                </c:pt>
                <c:pt idx="81">
                  <c:v>44071</c:v>
                </c:pt>
                <c:pt idx="82">
                  <c:v>44072</c:v>
                </c:pt>
                <c:pt idx="83">
                  <c:v>44073</c:v>
                </c:pt>
                <c:pt idx="84">
                  <c:v>44074</c:v>
                </c:pt>
                <c:pt idx="85">
                  <c:v>44075</c:v>
                </c:pt>
                <c:pt idx="86">
                  <c:v>44076</c:v>
                </c:pt>
                <c:pt idx="87">
                  <c:v>44077</c:v>
                </c:pt>
                <c:pt idx="88">
                  <c:v>44078</c:v>
                </c:pt>
              </c:numCache>
            </c:numRef>
          </c:cat>
          <c:val>
            <c:numRef>
              <c:f>TSLA!$C$2:$C$90</c:f>
              <c:numCache>
                <c:formatCode>General</c:formatCode>
                <c:ptCount val="89"/>
                <c:pt idx="0">
                  <c:v>189.983994</c:v>
                </c:pt>
                <c:pt idx="1">
                  <c:v>188.13400300000001</c:v>
                </c:pt>
                <c:pt idx="2">
                  <c:v>205.009995</c:v>
                </c:pt>
                <c:pt idx="3">
                  <c:v>194.567993</c:v>
                </c:pt>
                <c:pt idx="4">
                  <c:v>187.05600000000001</c:v>
                </c:pt>
                <c:pt idx="5">
                  <c:v>187.05600000000001</c:v>
                </c:pt>
                <c:pt idx="6">
                  <c:v>187.05600000000001</c:v>
                </c:pt>
                <c:pt idx="7">
                  <c:v>198.179993</c:v>
                </c:pt>
                <c:pt idx="8">
                  <c:v>196.425995</c:v>
                </c:pt>
                <c:pt idx="9">
                  <c:v>198.358002</c:v>
                </c:pt>
                <c:pt idx="10">
                  <c:v>200.79200700000001</c:v>
                </c:pt>
                <c:pt idx="11">
                  <c:v>200.179993</c:v>
                </c:pt>
                <c:pt idx="12">
                  <c:v>200.179993</c:v>
                </c:pt>
                <c:pt idx="13">
                  <c:v>200.179993</c:v>
                </c:pt>
                <c:pt idx="14">
                  <c:v>198.86399800000001</c:v>
                </c:pt>
                <c:pt idx="15">
                  <c:v>200.35600299999999</c:v>
                </c:pt>
                <c:pt idx="16">
                  <c:v>192.16999799999999</c:v>
                </c:pt>
                <c:pt idx="17">
                  <c:v>197.195999</c:v>
                </c:pt>
                <c:pt idx="18">
                  <c:v>191.94799800000001</c:v>
                </c:pt>
                <c:pt idx="19">
                  <c:v>191.94799800000001</c:v>
                </c:pt>
                <c:pt idx="20">
                  <c:v>191.94799800000001</c:v>
                </c:pt>
                <c:pt idx="21">
                  <c:v>201.86999499999999</c:v>
                </c:pt>
                <c:pt idx="22">
                  <c:v>215.962006</c:v>
                </c:pt>
                <c:pt idx="23">
                  <c:v>223.925995</c:v>
                </c:pt>
                <c:pt idx="24">
                  <c:v>241.73199500000001</c:v>
                </c:pt>
                <c:pt idx="25">
                  <c:v>241.73199500000001</c:v>
                </c:pt>
                <c:pt idx="26">
                  <c:v>241.73199500000001</c:v>
                </c:pt>
                <c:pt idx="27">
                  <c:v>241.73199500000001</c:v>
                </c:pt>
                <c:pt idx="28">
                  <c:v>274.31601000000001</c:v>
                </c:pt>
                <c:pt idx="29">
                  <c:v>277.97198500000002</c:v>
                </c:pt>
                <c:pt idx="30">
                  <c:v>273.175995</c:v>
                </c:pt>
                <c:pt idx="31">
                  <c:v>278.85598800000002</c:v>
                </c:pt>
                <c:pt idx="32">
                  <c:v>308.92999300000002</c:v>
                </c:pt>
                <c:pt idx="33">
                  <c:v>308.92999300000002</c:v>
                </c:pt>
                <c:pt idx="34">
                  <c:v>308.92999300000002</c:v>
                </c:pt>
                <c:pt idx="35">
                  <c:v>299.41198700000001</c:v>
                </c:pt>
                <c:pt idx="36">
                  <c:v>303.35998499999999</c:v>
                </c:pt>
                <c:pt idx="37">
                  <c:v>309.20199600000001</c:v>
                </c:pt>
                <c:pt idx="38">
                  <c:v>300.12799100000001</c:v>
                </c:pt>
                <c:pt idx="39">
                  <c:v>300.16799900000001</c:v>
                </c:pt>
                <c:pt idx="40">
                  <c:v>300.16799900000001</c:v>
                </c:pt>
                <c:pt idx="41">
                  <c:v>300.16799900000001</c:v>
                </c:pt>
                <c:pt idx="42">
                  <c:v>328.60000600000001</c:v>
                </c:pt>
                <c:pt idx="43">
                  <c:v>313.67199699999998</c:v>
                </c:pt>
                <c:pt idx="44">
                  <c:v>318.466003</c:v>
                </c:pt>
                <c:pt idx="45">
                  <c:v>302.614014</c:v>
                </c:pt>
                <c:pt idx="46">
                  <c:v>283.39999399999999</c:v>
                </c:pt>
                <c:pt idx="47">
                  <c:v>283.39999399999999</c:v>
                </c:pt>
                <c:pt idx="48">
                  <c:v>283.39999399999999</c:v>
                </c:pt>
                <c:pt idx="49">
                  <c:v>307.92001299999998</c:v>
                </c:pt>
                <c:pt idx="50">
                  <c:v>295.29800399999999</c:v>
                </c:pt>
                <c:pt idx="51">
                  <c:v>299.82199100000003</c:v>
                </c:pt>
                <c:pt idx="52">
                  <c:v>297.49798600000003</c:v>
                </c:pt>
                <c:pt idx="53">
                  <c:v>286.15200800000002</c:v>
                </c:pt>
                <c:pt idx="54">
                  <c:v>286.15200800000002</c:v>
                </c:pt>
                <c:pt idx="55">
                  <c:v>286.15200800000002</c:v>
                </c:pt>
                <c:pt idx="56">
                  <c:v>297</c:v>
                </c:pt>
                <c:pt idx="57">
                  <c:v>297.39999399999999</c:v>
                </c:pt>
                <c:pt idx="58">
                  <c:v>297.00399800000002</c:v>
                </c:pt>
                <c:pt idx="59">
                  <c:v>297.91598499999998</c:v>
                </c:pt>
                <c:pt idx="60">
                  <c:v>290.54199199999999</c:v>
                </c:pt>
                <c:pt idx="61">
                  <c:v>290.54199199999999</c:v>
                </c:pt>
                <c:pt idx="62">
                  <c:v>290.54199199999999</c:v>
                </c:pt>
                <c:pt idx="63">
                  <c:v>283.71398900000003</c:v>
                </c:pt>
                <c:pt idx="64">
                  <c:v>274.87799100000001</c:v>
                </c:pt>
                <c:pt idx="65">
                  <c:v>310.95199600000001</c:v>
                </c:pt>
                <c:pt idx="66">
                  <c:v>324.20001200000002</c:v>
                </c:pt>
                <c:pt idx="67">
                  <c:v>330.141998</c:v>
                </c:pt>
                <c:pt idx="68">
                  <c:v>330.141998</c:v>
                </c:pt>
                <c:pt idx="69">
                  <c:v>330.141998</c:v>
                </c:pt>
                <c:pt idx="70">
                  <c:v>367.12799100000001</c:v>
                </c:pt>
                <c:pt idx="71">
                  <c:v>377.41799900000001</c:v>
                </c:pt>
                <c:pt idx="72">
                  <c:v>375.70599399999998</c:v>
                </c:pt>
                <c:pt idx="73">
                  <c:v>400.36599699999999</c:v>
                </c:pt>
                <c:pt idx="74">
                  <c:v>409.99600199999998</c:v>
                </c:pt>
                <c:pt idx="75">
                  <c:v>409.99600199999998</c:v>
                </c:pt>
                <c:pt idx="76">
                  <c:v>409.99600199999998</c:v>
                </c:pt>
                <c:pt idx="77">
                  <c:v>402.83999599999999</c:v>
                </c:pt>
                <c:pt idx="78">
                  <c:v>404.66799900000001</c:v>
                </c:pt>
                <c:pt idx="79">
                  <c:v>430.63400300000001</c:v>
                </c:pt>
                <c:pt idx="80">
                  <c:v>447.75</c:v>
                </c:pt>
                <c:pt idx="81">
                  <c:v>442.67999300000002</c:v>
                </c:pt>
                <c:pt idx="82">
                  <c:v>442.67999300000002</c:v>
                </c:pt>
                <c:pt idx="83">
                  <c:v>442.67999300000002</c:v>
                </c:pt>
                <c:pt idx="84">
                  <c:v>498.32000699999998</c:v>
                </c:pt>
                <c:pt idx="85">
                  <c:v>475.04998799999998</c:v>
                </c:pt>
                <c:pt idx="86">
                  <c:v>447.36999500000002</c:v>
                </c:pt>
                <c:pt idx="87">
                  <c:v>407</c:v>
                </c:pt>
                <c:pt idx="88">
                  <c:v>418.32000699999998</c:v>
                </c:pt>
              </c:numCache>
            </c:numRef>
          </c:val>
          <c:smooth val="0"/>
          <c:extLst>
            <c:ext xmlns:c16="http://schemas.microsoft.com/office/drawing/2014/chart" uri="{C3380CC4-5D6E-409C-BE32-E72D297353CC}">
              <c16:uniqueId val="{00000001-17B5-49A4-99EC-58AE0E6FE128}"/>
            </c:ext>
          </c:extLst>
        </c:ser>
        <c:dLbls>
          <c:showLegendKey val="0"/>
          <c:showVal val="0"/>
          <c:showCatName val="0"/>
          <c:showSerName val="0"/>
          <c:showPercent val="0"/>
          <c:showBubbleSize val="0"/>
        </c:dLbls>
        <c:marker val="1"/>
        <c:smooth val="0"/>
        <c:axId val="2038864047"/>
        <c:axId val="1884536767"/>
      </c:lineChart>
      <c:dateAx>
        <c:axId val="203595927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r>
                  <a:rPr lang="en-SG"/>
                  <a:t>Date</a:t>
                </a:r>
              </a:p>
            </c:rich>
          </c:tx>
          <c:layout>
            <c:manualLayout>
              <c:xMode val="edge"/>
              <c:yMode val="edge"/>
              <c:x val="0.46858307776536412"/>
              <c:y val="0.9191218039986117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title>
        <c:numFmt formatCode="dd/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crossAx val="2036283103"/>
        <c:crosses val="autoZero"/>
        <c:auto val="1"/>
        <c:lblOffset val="100"/>
        <c:baseTimeUnit val="days"/>
        <c:majorUnit val="7"/>
        <c:majorTimeUnit val="days"/>
      </c:dateAx>
      <c:valAx>
        <c:axId val="203628310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r>
                  <a:rPr lang="en-SG"/>
                  <a:t>Sentiment Scor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crossAx val="2035959279"/>
        <c:crosses val="autoZero"/>
        <c:crossBetween val="between"/>
      </c:valAx>
      <c:valAx>
        <c:axId val="1884536767"/>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r>
                  <a:rPr lang="en-SG"/>
                  <a:t>Share Pri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Neue Haas Grotesk Text Pro" panose="020B0504020202020204" pitchFamily="34" charset="0"/>
                <a:ea typeface="Cambria" panose="02040503050406030204" pitchFamily="18" charset="0"/>
                <a:cs typeface="+mn-cs"/>
              </a:defRPr>
            </a:pPr>
            <a:endParaRPr lang="en-US"/>
          </a:p>
        </c:txPr>
        <c:crossAx val="2038864047"/>
        <c:crosses val="max"/>
        <c:crossBetween val="between"/>
      </c:valAx>
      <c:dateAx>
        <c:axId val="2038864047"/>
        <c:scaling>
          <c:orientation val="minMax"/>
        </c:scaling>
        <c:delete val="1"/>
        <c:axPos val="b"/>
        <c:numFmt formatCode="m/d/yyyy" sourceLinked="1"/>
        <c:majorTickMark val="out"/>
        <c:minorTickMark val="none"/>
        <c:tickLblPos val="nextTo"/>
        <c:crossAx val="1884536767"/>
        <c:crosses val="autoZero"/>
        <c:auto val="1"/>
        <c:lblOffset val="100"/>
        <c:baseTimeUnit val="day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Neue Haas Grotesk Text Pro" panose="020B0504020202020204" pitchFamily="34" charset="0"/>
          <a:ea typeface="Cambria" panose="02040503050406030204" pitchFamily="18"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77F1E6-AE72-4C12-853A-560367975C68}" type="datetimeFigureOut">
              <a:rPr lang="en-SG" smtClean="0"/>
              <a:t>7/9/2020</a:t>
            </a:fld>
            <a:endParaRPr lang="en-S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78333B-AA0A-4827-B21E-780DF7F98E14}" type="slidenum">
              <a:rPr lang="en-SG" smtClean="0"/>
              <a:t>‹#›</a:t>
            </a:fld>
            <a:endParaRPr lang="en-SG"/>
          </a:p>
        </p:txBody>
      </p:sp>
    </p:spTree>
    <p:extLst>
      <p:ext uri="{BB962C8B-B14F-4D97-AF65-F5344CB8AC3E}">
        <p14:creationId xmlns:p14="http://schemas.microsoft.com/office/powerpoint/2010/main" val="3006753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4D5156"/>
                </a:solidFill>
                <a:effectLst/>
                <a:latin typeface="arial" panose="020B0604020202020204" pitchFamily="34" charset="0"/>
              </a:rPr>
              <a:t>Script:</a:t>
            </a:r>
          </a:p>
          <a:p>
            <a:r>
              <a:rPr lang="en-SG" dirty="0"/>
              <a:t>Modern day youths are bombarded with a large amount of information and finds it increasing difficult to make sense of them. To start out with </a:t>
            </a:r>
            <a:r>
              <a:rPr lang="en-SG" sz="1200" b="0" i="0" dirty="0">
                <a:solidFill>
                  <a:srgbClr val="000000"/>
                </a:solidFill>
                <a:effectLst/>
                <a:latin typeface="Calibri" panose="020F0502020204030204" pitchFamily="34" charset="0"/>
              </a:rPr>
              <a:t>an apt investment plan for retirement is becoming increasingly complicated as useful information gets mixed with the rest. Besides the lack of financial knowledge, the lack of a clear direction in properly setting up an investment plan has caused many to fall into the pitfall of short-term trading without first understanding what they are investing in. We want to step in to be the guiding platform for youths to follow a proper, professional structure when it comes to investing their money. </a:t>
            </a:r>
            <a:endParaRPr lang="en-SG" dirty="0"/>
          </a:p>
        </p:txBody>
      </p:sp>
      <p:sp>
        <p:nvSpPr>
          <p:cNvPr id="4" name="Slide Number Placeholder 3"/>
          <p:cNvSpPr>
            <a:spLocks noGrp="1"/>
          </p:cNvSpPr>
          <p:nvPr>
            <p:ph type="sldNum" sz="quarter" idx="5"/>
          </p:nvPr>
        </p:nvSpPr>
        <p:spPr/>
        <p:txBody>
          <a:bodyPr/>
          <a:lstStyle/>
          <a:p>
            <a:fld id="{3878333B-AA0A-4827-B21E-780DF7F98E14}" type="slidenum">
              <a:rPr lang="en-SG" smtClean="0"/>
              <a:t>0</a:t>
            </a:fld>
            <a:endParaRPr lang="en-SG"/>
          </a:p>
        </p:txBody>
      </p:sp>
    </p:spTree>
    <p:extLst>
      <p:ext uri="{BB962C8B-B14F-4D97-AF65-F5344CB8AC3E}">
        <p14:creationId xmlns:p14="http://schemas.microsoft.com/office/powerpoint/2010/main" val="228605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Our platform, </a:t>
            </a:r>
            <a:r>
              <a:rPr lang="en-SG" dirty="0" err="1"/>
              <a:t>stockoverflow</a:t>
            </a:r>
            <a:r>
              <a:rPr lang="en-SG" dirty="0"/>
              <a:t>, seeks to create a systematic structure for new investors to understand both personal financial requirements going into adulthood, and their retirement sum needed. Based on a risk assessment survey, we recommend a portfolio mix consisting of stocks and bonds. And from there, based on a set of fundamental metrics derived, we allocate a quality score for stocks in a summarised dashboard help determine the attractiveness of companies. We also included a sentiment indicator to </a:t>
            </a:r>
            <a:r>
              <a:rPr lang="en-US" sz="1200" dirty="0">
                <a:latin typeface="Neue Haas Grotesk Text Pro" panose="020B0504020202020204" pitchFamily="34" charset="0"/>
              </a:rPr>
              <a:t>measure real time a stock’s sentiment on social media. </a:t>
            </a:r>
            <a:endParaRPr lang="en-SG" dirty="0"/>
          </a:p>
        </p:txBody>
      </p:sp>
      <p:sp>
        <p:nvSpPr>
          <p:cNvPr id="4" name="Slide Number Placeholder 3"/>
          <p:cNvSpPr>
            <a:spLocks noGrp="1"/>
          </p:cNvSpPr>
          <p:nvPr>
            <p:ph type="sldNum" sz="quarter" idx="5"/>
          </p:nvPr>
        </p:nvSpPr>
        <p:spPr/>
        <p:txBody>
          <a:bodyPr/>
          <a:lstStyle/>
          <a:p>
            <a:fld id="{3878333B-AA0A-4827-B21E-780DF7F98E14}" type="slidenum">
              <a:rPr lang="en-SG" smtClean="0"/>
              <a:t>1</a:t>
            </a:fld>
            <a:endParaRPr lang="en-SG"/>
          </a:p>
        </p:txBody>
      </p:sp>
    </p:spTree>
    <p:extLst>
      <p:ext uri="{BB962C8B-B14F-4D97-AF65-F5344CB8AC3E}">
        <p14:creationId xmlns:p14="http://schemas.microsoft.com/office/powerpoint/2010/main" val="1198312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Lets move on to a detailed analysis of our solutions. We begin first with a risk assessment survey, which contains five questions that touches such as years to withdrawal, ability to endure drawdowns and aversion to losses.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Based on the results of this survey, we recommend a portfolio allocation, which ranges from a full allocation to low-risk assets like bonds to a full allocation to high-risk assets like stocks. </a:t>
            </a:r>
          </a:p>
          <a:p>
            <a:pPr>
              <a:lnSpc>
                <a:spcPct val="107000"/>
              </a:lnSpc>
              <a:spcAft>
                <a:spcPts val="800"/>
              </a:spcAft>
            </a:pPr>
            <a:endParaRPr lang="en-SG" sz="1800" dirty="0">
              <a:effectLst/>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Following this, we move on to the retirement plan. In this segment, users are asked to estimate their expected retirement expenditure by approximating their monthly expenditure and the expected duration of their retirement.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We then proceed to compute an estimate of the monthly deposit required to achieve that target requirement, based on the earlier portfolio allocation and the historical returns by asset class.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However, we know that investment returns are rarely guaranteed, so we will also display a chart showing the range of possible returns given an 80% confidence level, which gives the user a better idea of the risk involved. </a:t>
            </a:r>
          </a:p>
          <a:p>
            <a:endParaRPr lang="en-SG" dirty="0"/>
          </a:p>
        </p:txBody>
      </p:sp>
      <p:sp>
        <p:nvSpPr>
          <p:cNvPr id="4" name="Slide Number Placeholder 3"/>
          <p:cNvSpPr>
            <a:spLocks noGrp="1"/>
          </p:cNvSpPr>
          <p:nvPr>
            <p:ph type="sldNum" sz="quarter" idx="5"/>
          </p:nvPr>
        </p:nvSpPr>
        <p:spPr/>
        <p:txBody>
          <a:bodyPr/>
          <a:lstStyle/>
          <a:p>
            <a:fld id="{3878333B-AA0A-4827-B21E-780DF7F98E14}" type="slidenum">
              <a:rPr lang="en-SG" smtClean="0"/>
              <a:t>2</a:t>
            </a:fld>
            <a:endParaRPr lang="en-SG"/>
          </a:p>
        </p:txBody>
      </p:sp>
    </p:spTree>
    <p:extLst>
      <p:ext uri="{BB962C8B-B14F-4D97-AF65-F5344CB8AC3E}">
        <p14:creationId xmlns:p14="http://schemas.microsoft.com/office/powerpoint/2010/main" val="2106230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Following this, we provide resources to help the user pick specific assets to invest in.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For bonds, a list of links is provided to help users compare current bond and fixed deposit yields. And for stocks, we provide a screener that filters S&amp;P 500 stocks by key metrics like market capitalisation, industry, dividend yield, growth and our proprietary quality indicator.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This quality indicator is underpinned by four factors that support the long term success of businesses: business dynamics, growth potential, cyclicality and prudency, and we have indicators for each of these factors- they are GPTA, revenue growth rates, beta and debt to market cap respectively. For details on why we chose each of these metrics, please refer to the detailed slide deck that we will be submitting separately.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When users click through to the stock dashboard, they can access another leading indicator of share prices, a social media sentiment indicator that is the product of a machine learning tool. It measures the sentiment of social media content, weighted by the popularity of that content. As seen on screen, positive sentiment tends to build up prior to a significant advancement in share prices, supporting the use of this indicator in investment decisions. </a:t>
            </a:r>
          </a:p>
          <a:p>
            <a:endParaRPr lang="en-SG" dirty="0"/>
          </a:p>
        </p:txBody>
      </p:sp>
      <p:sp>
        <p:nvSpPr>
          <p:cNvPr id="4" name="Slide Number Placeholder 3"/>
          <p:cNvSpPr>
            <a:spLocks noGrp="1"/>
          </p:cNvSpPr>
          <p:nvPr>
            <p:ph type="sldNum" sz="quarter" idx="5"/>
          </p:nvPr>
        </p:nvSpPr>
        <p:spPr/>
        <p:txBody>
          <a:bodyPr/>
          <a:lstStyle/>
          <a:p>
            <a:fld id="{3878333B-AA0A-4827-B21E-780DF7F98E14}" type="slidenum">
              <a:rPr lang="en-SG" smtClean="0"/>
              <a:t>3</a:t>
            </a:fld>
            <a:endParaRPr lang="en-SG"/>
          </a:p>
        </p:txBody>
      </p:sp>
    </p:spTree>
    <p:extLst>
      <p:ext uri="{BB962C8B-B14F-4D97-AF65-F5344CB8AC3E}">
        <p14:creationId xmlns:p14="http://schemas.microsoft.com/office/powerpoint/2010/main" val="2832567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Next, we believe that our service is superior to existing market tools in the areas of financial planning, risk tolerance and investment selection</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In terms of financial planning, a lot of valuable information exists but there is rarely an easy to use financial planning tool. We provide a one-stop solution for financial planning, which simplifies the process significantly by recommending a minimum monthly contribution to achieve their financial target</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At the same time, risk assessment checklists are fairly common on the internet, but there is a lack of concrete information on what to do with the results of those checklists. We simplify things by recommending an asset equity-bond allocation based on those risk assessment scores </a:t>
            </a:r>
          </a:p>
          <a:p>
            <a:pPr>
              <a:lnSpc>
                <a:spcPct val="107000"/>
              </a:lnSpc>
              <a:spcAft>
                <a:spcPts val="800"/>
              </a:spcAft>
            </a:pPr>
            <a:r>
              <a:rPr lang="en-SG" sz="1800" dirty="0">
                <a:effectLst/>
                <a:latin typeface="Calibri" panose="020F0502020204030204" pitchFamily="34" charset="0"/>
                <a:ea typeface="DengXian" panose="02010600030101010101" pitchFamily="2" charset="-122"/>
                <a:cs typeface="Times New Roman" panose="02020603050405020304" pitchFamily="18" charset="0"/>
              </a:rPr>
              <a:t>With investment selection, there are, again, a wealth of resources online about different selection methodologies. However, it is easy to get lost without the requisite knowledge. We provide a</a:t>
            </a:r>
            <a:r>
              <a:rPr lang="en-US" sz="1800" dirty="0">
                <a:effectLst/>
                <a:latin typeface="Calibri" panose="020F0502020204030204" pitchFamily="34" charset="0"/>
                <a:ea typeface="DengXian" panose="02010600030101010101" pitchFamily="2" charset="-122"/>
                <a:cs typeface="Times New Roman" panose="02020603050405020304" pitchFamily="18" charset="0"/>
              </a:rPr>
              <a:t> stock screener and resources for bond selection, all on one site to simplify that process. In addition, our </a:t>
            </a:r>
            <a:r>
              <a:rPr lang="en-US" sz="1800" b="1" dirty="0">
                <a:effectLst/>
                <a:latin typeface="Calibri" panose="020F0502020204030204" pitchFamily="34" charset="0"/>
                <a:ea typeface="DengXian" panose="02010600030101010101" pitchFamily="2" charset="-122"/>
                <a:cs typeface="Times New Roman" panose="02020603050405020304" pitchFamily="18" charset="0"/>
              </a:rPr>
              <a:t>real-time sentiment score and our proprietary </a:t>
            </a:r>
            <a:r>
              <a:rPr lang="en-SG" sz="1800" dirty="0">
                <a:effectLst/>
                <a:latin typeface="Calibri" panose="020F0502020204030204" pitchFamily="34" charset="0"/>
                <a:ea typeface="DengXian" panose="02010600030101010101" pitchFamily="2" charset="-122"/>
                <a:cs typeface="Times New Roman" panose="02020603050405020304" pitchFamily="18" charset="0"/>
              </a:rPr>
              <a:t>b</a:t>
            </a:r>
            <a:r>
              <a:rPr lang="en-US" sz="1800" b="1" dirty="0" err="1">
                <a:effectLst/>
                <a:latin typeface="Calibri" panose="020F0502020204030204" pitchFamily="34" charset="0"/>
                <a:ea typeface="DengXian" panose="02010600030101010101" pitchFamily="2" charset="-122"/>
                <a:cs typeface="Times New Roman" panose="02020603050405020304" pitchFamily="18" charset="0"/>
              </a:rPr>
              <a:t>usiness</a:t>
            </a:r>
            <a:r>
              <a:rPr lang="en-US" sz="1800" b="1" dirty="0">
                <a:effectLst/>
                <a:latin typeface="Calibri" panose="020F0502020204030204" pitchFamily="34" charset="0"/>
                <a:ea typeface="DengXian" panose="02010600030101010101" pitchFamily="2" charset="-122"/>
                <a:cs typeface="Times New Roman" panose="02020603050405020304" pitchFamily="18" charset="0"/>
              </a:rPr>
              <a:t> quality score</a:t>
            </a:r>
            <a:r>
              <a:rPr lang="en-US" sz="1800" dirty="0">
                <a:effectLst/>
                <a:latin typeface="Calibri" panose="020F0502020204030204" pitchFamily="34" charset="0"/>
                <a:ea typeface="DengXian" panose="02010600030101010101" pitchFamily="2" charset="-122"/>
                <a:cs typeface="Times New Roman" panose="02020603050405020304" pitchFamily="18" charset="0"/>
              </a:rPr>
              <a:t> facilitates users’ investment decisions</a:t>
            </a:r>
            <a:endParaRPr lang="en-SG" sz="1800" dirty="0">
              <a:effectLst/>
              <a:latin typeface="Calibri" panose="020F0502020204030204" pitchFamily="34" charset="0"/>
              <a:ea typeface="DengXia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865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400">
                <a:latin typeface="Neue Haas Grotesk Text Pro" panose="020B0504020202020204" pitchFamily="34" charset="0"/>
              </a:rPr>
              <a:t>In order to keep users engaged in our platform, we allow users to save all data in their individual “user profile”,  </a:t>
            </a:r>
            <a:r>
              <a:rPr lang="en-SG" sz="1200">
                <a:latin typeface="Neue Haas Grotesk Text Pro" panose="020B0504020202020204" pitchFamily="34" charset="0"/>
              </a:rPr>
              <a:t>allowing them to update figures as and when needed.</a:t>
            </a:r>
          </a:p>
          <a:p>
            <a:r>
              <a:rPr lang="en-SG" sz="1200">
                <a:latin typeface="Neue Haas Grotesk Text Pro" panose="020B0504020202020204" pitchFamily="34" charset="0"/>
              </a:rPr>
              <a:t>News articles, company metrics and the sentiment indicator are also updated daily, making the site a useful source of regular check-in</a:t>
            </a:r>
          </a:p>
          <a:p>
            <a:pPr marL="0" indent="0">
              <a:buFont typeface="Arial" panose="020B0604020202020204" pitchFamily="34" charset="0"/>
              <a:buNone/>
            </a:pPr>
            <a:r>
              <a:rPr lang="en-SG" sz="1200">
                <a:latin typeface="Neue Haas Grotesk Text Pro" panose="020B0504020202020204" pitchFamily="34" charset="0"/>
              </a:rPr>
              <a:t>Same goes for the quality score, which is updated when the company releases a new set of financial results, allowing users to monitor their holdings over time</a:t>
            </a:r>
          </a:p>
          <a:p>
            <a:endParaRPr lang="en-SG" sz="1200" b="1">
              <a:latin typeface="Neue Haas Grotesk Text Pro" panose="020B0504020202020204" pitchFamily="34" charset="0"/>
            </a:endParaRPr>
          </a:p>
          <a:p>
            <a:pPr algn="just"/>
            <a:r>
              <a:rPr lang="en-SG" sz="1400" b="1">
                <a:latin typeface="Neue Haas Grotesk Text Pro" panose="020B0504020202020204" pitchFamily="34" charset="0"/>
              </a:rPr>
              <a:t>Due to time constraints, we were unable to deploy all our ideas. Some areas of improvement we could look into are:</a:t>
            </a:r>
          </a:p>
          <a:p>
            <a:pPr marL="285750" indent="-285750" algn="l">
              <a:buFont typeface="Arial" panose="020B0604020202020204" pitchFamily="34" charset="0"/>
              <a:buChar char="•"/>
            </a:pPr>
            <a:r>
              <a:rPr lang="en-SG" sz="1200">
                <a:latin typeface="Neue Haas Grotesk Text Pro" panose="020B0504020202020204" pitchFamily="34" charset="0"/>
              </a:rPr>
              <a:t>A forum for interaction between users to improve user stickiness</a:t>
            </a:r>
          </a:p>
          <a:p>
            <a:pPr marL="285750" indent="-285750" algn="l">
              <a:buFont typeface="Arial" panose="020B0604020202020204" pitchFamily="34" charset="0"/>
              <a:buChar char="•"/>
            </a:pPr>
            <a:r>
              <a:rPr lang="en-SG" sz="1200">
                <a:latin typeface="Neue Haas Grotesk Text Pro" panose="020B0504020202020204" pitchFamily="34" charset="0"/>
              </a:rPr>
              <a:t>A portfolio integration function for users to track real-time portfolio performance</a:t>
            </a:r>
          </a:p>
          <a:p>
            <a:pPr marL="285750" indent="-285750" algn="l">
              <a:buFont typeface="Arial" panose="020B0604020202020204" pitchFamily="34" charset="0"/>
              <a:buChar char="•"/>
            </a:pPr>
            <a:r>
              <a:rPr lang="en-SG" sz="1200">
                <a:latin typeface="Neue Haas Grotesk Text Pro" panose="020B0504020202020204" pitchFamily="34" charset="0"/>
              </a:rPr>
              <a:t>A monthly income contribution tracker that denotes whether the user is on-track to reaching their target</a:t>
            </a:r>
          </a:p>
          <a:p>
            <a:pPr marL="0" indent="0" algn="just">
              <a:buFont typeface="Arial" panose="020B0604020202020204" pitchFamily="34" charset="0"/>
              <a:buNone/>
            </a:pPr>
            <a:endParaRPr lang="en-US" sz="1400" kern="0">
              <a:solidFill>
                <a:prstClr val="black"/>
              </a:solidFill>
              <a:latin typeface="Neue Haas Grotesk Text Pro" panose="020B0504020202020204" pitchFamily="34" charset="0"/>
            </a:endParaRPr>
          </a:p>
          <a:p>
            <a:pPr marL="0" indent="0" algn="just">
              <a:buFont typeface="Arial" panose="020B0604020202020204" pitchFamily="34" charset="0"/>
              <a:buNone/>
            </a:pPr>
            <a:r>
              <a:rPr lang="en-US" sz="1400" b="1" kern="0">
                <a:solidFill>
                  <a:prstClr val="black"/>
                </a:solidFill>
                <a:latin typeface="Neue Haas Grotesk Text Pro" panose="020B0504020202020204" pitchFamily="34" charset="0"/>
              </a:rPr>
              <a:t>We also thought about </a:t>
            </a:r>
          </a:p>
          <a:p>
            <a:pPr marL="285750" indent="-285750" algn="just">
              <a:buFont typeface="Arial" panose="020B0604020202020204" pitchFamily="34" charset="0"/>
              <a:buChar char="•"/>
            </a:pPr>
            <a:r>
              <a:rPr lang="en-US" sz="1200" kern="0">
                <a:solidFill>
                  <a:prstClr val="black"/>
                </a:solidFill>
                <a:latin typeface="Neue Haas Grotesk Text Pro" panose="020B0504020202020204" pitchFamily="34" charset="0"/>
              </a:rPr>
              <a:t>Widening the variety of investing styles (beyond just stocks and bonds in general) to accommodate more specific preference</a:t>
            </a:r>
          </a:p>
          <a:p>
            <a:pPr marL="285750" indent="-285750" algn="just">
              <a:buFont typeface="Arial" panose="020B0604020202020204" pitchFamily="34" charset="0"/>
              <a:buChar char="•"/>
            </a:pPr>
            <a:r>
              <a:rPr lang="en-US" sz="1200" kern="0">
                <a:solidFill>
                  <a:prstClr val="black"/>
                </a:solidFill>
                <a:latin typeface="Neue Haas Grotesk Text Pro" panose="020B0504020202020204" pitchFamily="34" charset="0"/>
              </a:rPr>
              <a:t>Partnering with financial institutions such as brokerages for referral revenue</a:t>
            </a:r>
          </a:p>
          <a:p>
            <a:endParaRPr lang="en-SG" sz="1200">
              <a:latin typeface="Neue Haas Grotesk Text Pro" panose="020B0504020202020204" pitchFamily="34" charset="0"/>
            </a:endParaRPr>
          </a:p>
          <a:p>
            <a:endParaRPr lang="en-SG"/>
          </a:p>
          <a:p>
            <a:endParaRPr lang="en-SG"/>
          </a:p>
        </p:txBody>
      </p:sp>
      <p:sp>
        <p:nvSpPr>
          <p:cNvPr id="4" name="Slide Number Placeholder 3"/>
          <p:cNvSpPr>
            <a:spLocks noGrp="1"/>
          </p:cNvSpPr>
          <p:nvPr>
            <p:ph type="sldNum" sz="quarter" idx="5"/>
          </p:nvPr>
        </p:nvSpPr>
        <p:spPr/>
        <p:txBody>
          <a:bodyPr/>
          <a:lstStyle/>
          <a:p>
            <a:fld id="{3878333B-AA0A-4827-B21E-780DF7F98E14}" type="slidenum">
              <a:rPr lang="en-SG" smtClean="0"/>
              <a:t>5</a:t>
            </a:fld>
            <a:endParaRPr lang="en-SG"/>
          </a:p>
        </p:txBody>
      </p:sp>
    </p:spTree>
    <p:extLst>
      <p:ext uri="{BB962C8B-B14F-4D97-AF65-F5344CB8AC3E}">
        <p14:creationId xmlns:p14="http://schemas.microsoft.com/office/powerpoint/2010/main" val="1648234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553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keep information of stocks updated, we call on a number of APIs. We used Bloomberg and Yahoo Finance API to fetch key financial metrics. These include metrics needed for the four quality indicators mentioned before. The score is aggregated to sum of up to 100 based on ranking.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06457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55A22-EDCB-440B-813C-B6944ED862CE}"/>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4" name="Line 34">
            <a:extLst>
              <a:ext uri="{FF2B5EF4-FFF2-40B4-BE49-F238E27FC236}">
                <a16:creationId xmlns:a16="http://schemas.microsoft.com/office/drawing/2014/main" id="{E9891190-82BF-474F-AD50-BB3862970A46}"/>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5" name="Line 35">
            <a:extLst>
              <a:ext uri="{FF2B5EF4-FFF2-40B4-BE49-F238E27FC236}">
                <a16:creationId xmlns:a16="http://schemas.microsoft.com/office/drawing/2014/main" id="{BA6B2BF4-F517-4544-8066-34AE0F0ACC2D}"/>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6" name="TextBox 5">
            <a:extLst>
              <a:ext uri="{FF2B5EF4-FFF2-40B4-BE49-F238E27FC236}">
                <a16:creationId xmlns:a16="http://schemas.microsoft.com/office/drawing/2014/main" id="{D65A5BC2-5C25-4191-B198-A3ABA801D92E}"/>
              </a:ext>
            </a:extLst>
          </p:cNvPr>
          <p:cNvSpPr txBox="1"/>
          <p:nvPr userDrawn="1"/>
        </p:nvSpPr>
        <p:spPr>
          <a:xfrm>
            <a:off x="-1331090" y="2064821"/>
            <a:ext cx="729205" cy="738664"/>
          </a:xfrm>
          <a:prstGeom prst="rect">
            <a:avLst/>
          </a:prstGeom>
          <a:solidFill>
            <a:srgbClr val="F97304"/>
          </a:solidFill>
          <a:ln>
            <a:solidFill>
              <a:schemeClr val="tx1"/>
            </a:solidFill>
          </a:ln>
        </p:spPr>
        <p:txBody>
          <a:bodyPr wrap="square" rtlCol="0">
            <a:spAutoFit/>
          </a:bodyPr>
          <a:lstStyle/>
          <a:p>
            <a:r>
              <a:rPr lang="en-SG" sz="1400"/>
              <a:t>249</a:t>
            </a:r>
          </a:p>
          <a:p>
            <a:r>
              <a:rPr lang="en-SG" sz="1400"/>
              <a:t>115</a:t>
            </a:r>
          </a:p>
          <a:p>
            <a:r>
              <a:rPr lang="en-SG" sz="1400"/>
              <a:t>4</a:t>
            </a:r>
          </a:p>
        </p:txBody>
      </p:sp>
      <p:sp>
        <p:nvSpPr>
          <p:cNvPr id="7" name="TextBox 6">
            <a:extLst>
              <a:ext uri="{FF2B5EF4-FFF2-40B4-BE49-F238E27FC236}">
                <a16:creationId xmlns:a16="http://schemas.microsoft.com/office/drawing/2014/main" id="{5C8FA7B4-9D7C-421C-9E23-EDBB53AB0A79}"/>
              </a:ext>
            </a:extLst>
          </p:cNvPr>
          <p:cNvSpPr txBox="1"/>
          <p:nvPr userDrawn="1"/>
        </p:nvSpPr>
        <p:spPr>
          <a:xfrm>
            <a:off x="-1331090" y="2948272"/>
            <a:ext cx="729205" cy="738664"/>
          </a:xfrm>
          <a:prstGeom prst="rect">
            <a:avLst/>
          </a:prstGeom>
          <a:solidFill>
            <a:srgbClr val="7399C6"/>
          </a:solidFill>
          <a:ln>
            <a:solidFill>
              <a:schemeClr val="tx1"/>
            </a:solidFill>
          </a:ln>
        </p:spPr>
        <p:txBody>
          <a:bodyPr wrap="square" rtlCol="0">
            <a:spAutoFit/>
          </a:bodyPr>
          <a:lstStyle/>
          <a:p>
            <a:r>
              <a:rPr lang="en-SG" sz="1400"/>
              <a:t>115</a:t>
            </a:r>
          </a:p>
          <a:p>
            <a:r>
              <a:rPr lang="en-SG" sz="1400"/>
              <a:t>153</a:t>
            </a:r>
          </a:p>
          <a:p>
            <a:r>
              <a:rPr lang="en-SG" sz="1400"/>
              <a:t>198</a:t>
            </a:r>
          </a:p>
        </p:txBody>
      </p:sp>
      <p:sp>
        <p:nvSpPr>
          <p:cNvPr id="8" name="TextBox 7">
            <a:extLst>
              <a:ext uri="{FF2B5EF4-FFF2-40B4-BE49-F238E27FC236}">
                <a16:creationId xmlns:a16="http://schemas.microsoft.com/office/drawing/2014/main" id="{DF81FCD4-0CED-4260-8877-6852B636D80F}"/>
              </a:ext>
            </a:extLst>
          </p:cNvPr>
          <p:cNvSpPr txBox="1"/>
          <p:nvPr userDrawn="1"/>
        </p:nvSpPr>
        <p:spPr>
          <a:xfrm>
            <a:off x="-1331090" y="1181370"/>
            <a:ext cx="729205" cy="738664"/>
          </a:xfrm>
          <a:prstGeom prst="rect">
            <a:avLst/>
          </a:prstGeom>
          <a:solidFill>
            <a:srgbClr val="5CD4EF"/>
          </a:solidFill>
          <a:ln>
            <a:solidFill>
              <a:schemeClr val="tx1"/>
            </a:solidFill>
          </a:ln>
        </p:spPr>
        <p:txBody>
          <a:bodyPr wrap="square" rtlCol="0">
            <a:spAutoFit/>
          </a:bodyPr>
          <a:lstStyle/>
          <a:p>
            <a:r>
              <a:rPr lang="en-SG" sz="1400">
                <a:solidFill>
                  <a:sysClr val="windowText" lastClr="000000"/>
                </a:solidFill>
              </a:rPr>
              <a:t>92</a:t>
            </a:r>
          </a:p>
          <a:p>
            <a:r>
              <a:rPr lang="en-SG" sz="1400">
                <a:solidFill>
                  <a:sysClr val="windowText" lastClr="000000"/>
                </a:solidFill>
              </a:rPr>
              <a:t>212</a:t>
            </a:r>
          </a:p>
          <a:p>
            <a:r>
              <a:rPr lang="en-SG" sz="1400">
                <a:solidFill>
                  <a:sysClr val="windowText" lastClr="000000"/>
                </a:solidFill>
              </a:rPr>
              <a:t>239</a:t>
            </a:r>
          </a:p>
        </p:txBody>
      </p:sp>
      <p:sp>
        <p:nvSpPr>
          <p:cNvPr id="9" name="Text Placeholder 25">
            <a:extLst>
              <a:ext uri="{FF2B5EF4-FFF2-40B4-BE49-F238E27FC236}">
                <a16:creationId xmlns:a16="http://schemas.microsoft.com/office/drawing/2014/main" id="{0140BBD1-36FD-4F67-A00B-B55C2288A75F}"/>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
        <p:nvSpPr>
          <p:cNvPr id="10" name="Slide Number Placeholder 2">
            <a:extLst>
              <a:ext uri="{FF2B5EF4-FFF2-40B4-BE49-F238E27FC236}">
                <a16:creationId xmlns:a16="http://schemas.microsoft.com/office/drawing/2014/main" id="{F0CB55EE-AFB5-48C1-916F-C11D67482F1F}"/>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7B1F08B7-2281-4878-8DFB-7EF004C74B92}" type="slidenum">
              <a:rPr lang="en-SG" smtClean="0"/>
              <a:pPr/>
              <a:t>‹#›</a:t>
            </a:fld>
            <a:endParaRPr lang="en-SG"/>
          </a:p>
        </p:txBody>
      </p:sp>
      <p:sp>
        <p:nvSpPr>
          <p:cNvPr id="11" name="TextBox 10">
            <a:extLst>
              <a:ext uri="{FF2B5EF4-FFF2-40B4-BE49-F238E27FC236}">
                <a16:creationId xmlns:a16="http://schemas.microsoft.com/office/drawing/2014/main" id="{DA260E0D-B53C-4E10-B123-8045F969DA71}"/>
              </a:ext>
            </a:extLst>
          </p:cNvPr>
          <p:cNvSpPr txBox="1"/>
          <p:nvPr userDrawn="1"/>
        </p:nvSpPr>
        <p:spPr>
          <a:xfrm>
            <a:off x="-1331090" y="3831723"/>
            <a:ext cx="729205" cy="738664"/>
          </a:xfrm>
          <a:prstGeom prst="rect">
            <a:avLst/>
          </a:prstGeom>
          <a:solidFill>
            <a:srgbClr val="D44206"/>
          </a:solidFill>
          <a:ln>
            <a:solidFill>
              <a:schemeClr val="tx1"/>
            </a:solidFill>
          </a:ln>
        </p:spPr>
        <p:txBody>
          <a:bodyPr wrap="square" rtlCol="0">
            <a:spAutoFit/>
          </a:bodyPr>
          <a:lstStyle/>
          <a:p>
            <a:r>
              <a:rPr lang="en-SG" sz="1400"/>
              <a:t>212</a:t>
            </a:r>
          </a:p>
          <a:p>
            <a:r>
              <a:rPr lang="en-SG" sz="1400"/>
              <a:t>66</a:t>
            </a:r>
          </a:p>
          <a:p>
            <a:r>
              <a:rPr lang="en-SG" sz="1400"/>
              <a:t>6</a:t>
            </a:r>
          </a:p>
        </p:txBody>
      </p:sp>
    </p:spTree>
    <p:extLst>
      <p:ext uri="{BB962C8B-B14F-4D97-AF65-F5344CB8AC3E}">
        <p14:creationId xmlns:p14="http://schemas.microsoft.com/office/powerpoint/2010/main" val="2662837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5D4A4-3E99-4EA5-8FD2-EE0DAF2FCE8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3DE80D8E-1571-4095-8311-DE63B03577DA}"/>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3B35B37A-3A7B-4D93-9991-2D67238B723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D80F886C-7C9D-4FFB-93B1-A002B4F27FB5}"/>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6" name="Footer Placeholder 5">
            <a:extLst>
              <a:ext uri="{FF2B5EF4-FFF2-40B4-BE49-F238E27FC236}">
                <a16:creationId xmlns:a16="http://schemas.microsoft.com/office/drawing/2014/main" id="{14E55247-F02E-4849-B867-31BEA837032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A8C039DA-339F-456B-A8D1-A37823BE9722}"/>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3520844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8947D-BB5C-4526-8560-D2629E230CF8}"/>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BE6C6885-2EA9-4CEA-87C4-E10FBB4EECA6}"/>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75E766-A3D4-41AA-A89D-56DA686B49B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EAD88E55-F90A-4FF4-A1C2-09747A0903B5}"/>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530442-17AE-46F4-8BDF-19AA57F2D6B4}"/>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A95B48D3-F85F-4C7D-9477-FD6A055AC384}"/>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8" name="Footer Placeholder 7">
            <a:extLst>
              <a:ext uri="{FF2B5EF4-FFF2-40B4-BE49-F238E27FC236}">
                <a16:creationId xmlns:a16="http://schemas.microsoft.com/office/drawing/2014/main" id="{2255BDCB-B6DE-4730-BDDD-ABA97385E88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9" name="Slide Number Placeholder 8">
            <a:extLst>
              <a:ext uri="{FF2B5EF4-FFF2-40B4-BE49-F238E27FC236}">
                <a16:creationId xmlns:a16="http://schemas.microsoft.com/office/drawing/2014/main" id="{177E9FA5-CF51-4019-B793-10FE4DAF7D51}"/>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1600263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E6C03-1C4A-4104-AF88-CB1DDA7D9DB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BB9D2EDE-2704-4D48-9ECF-F57E156CCCDD}"/>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4" name="Footer Placeholder 3">
            <a:extLst>
              <a:ext uri="{FF2B5EF4-FFF2-40B4-BE49-F238E27FC236}">
                <a16:creationId xmlns:a16="http://schemas.microsoft.com/office/drawing/2014/main" id="{6E84C5CD-93DF-4631-8455-72E865B120F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5" name="Slide Number Placeholder 4">
            <a:extLst>
              <a:ext uri="{FF2B5EF4-FFF2-40B4-BE49-F238E27FC236}">
                <a16:creationId xmlns:a16="http://schemas.microsoft.com/office/drawing/2014/main" id="{2FABC10C-601B-4E7B-9C5A-0ACE9631CFBE}"/>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13149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5983D1-8145-4CDD-8824-3F0364494E0F}"/>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3" name="Footer Placeholder 2">
            <a:extLst>
              <a:ext uri="{FF2B5EF4-FFF2-40B4-BE49-F238E27FC236}">
                <a16:creationId xmlns:a16="http://schemas.microsoft.com/office/drawing/2014/main" id="{E4651CC2-68B5-4EB3-BF08-CF2758AEAC91}"/>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4" name="Slide Number Placeholder 3">
            <a:extLst>
              <a:ext uri="{FF2B5EF4-FFF2-40B4-BE49-F238E27FC236}">
                <a16:creationId xmlns:a16="http://schemas.microsoft.com/office/drawing/2014/main" id="{5E4852AC-9DE7-4ACE-8E1D-C5335FDA3ED3}"/>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2736452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2CE4-583A-444A-B97E-9F3D225A4A4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6A0503E0-9890-4A6E-8166-CC26937B712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F688113B-391A-4A6C-AE36-BCBBE59B40F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11FD6C-E3A0-4229-997C-6730039D6689}"/>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6" name="Footer Placeholder 5">
            <a:extLst>
              <a:ext uri="{FF2B5EF4-FFF2-40B4-BE49-F238E27FC236}">
                <a16:creationId xmlns:a16="http://schemas.microsoft.com/office/drawing/2014/main" id="{819CC43E-ADD4-40DD-832E-27A345DB1AF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B5757A89-C304-4B87-B7BD-A0F2E43536B3}"/>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539484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AC041-422F-4A63-B6EB-13C5E600F09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5699618A-F26C-49C9-B37A-39D952AE4780}"/>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4B8602CE-9FB5-4D79-BA62-069A1DB0ED6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C077B5-8645-4601-A609-3787763FC855}"/>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6" name="Footer Placeholder 5">
            <a:extLst>
              <a:ext uri="{FF2B5EF4-FFF2-40B4-BE49-F238E27FC236}">
                <a16:creationId xmlns:a16="http://schemas.microsoft.com/office/drawing/2014/main" id="{08E400B8-71CD-49BC-BC62-AFFF71DDA58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D4C97D55-D5B1-44E3-8A25-9EB79822A578}"/>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3506192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080F7-1653-4D27-9DA7-268B9998FC1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DD943287-5490-48C2-BF9B-B29EF8EC9C3D}"/>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94934192-4D13-4103-BBB0-48362FB4B617}"/>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5" name="Footer Placeholder 4">
            <a:extLst>
              <a:ext uri="{FF2B5EF4-FFF2-40B4-BE49-F238E27FC236}">
                <a16:creationId xmlns:a16="http://schemas.microsoft.com/office/drawing/2014/main" id="{BDD167B0-B9E7-42D6-8DDB-D1F98D81721B}"/>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EDDC8D05-8E69-47DC-9375-0AAB665F965C}"/>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11426859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AD0132-5A87-4DAD-BCA6-4B1BD6198FA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3783ECC7-1AE2-419C-9C02-5AB936B95890}"/>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36C9C842-1806-4F01-9563-9EB30C495B1F}"/>
              </a:ext>
            </a:extLst>
          </p:cNvPr>
          <p:cNvSpPr>
            <a:spLocks noGrp="1"/>
          </p:cNvSpPr>
          <p:nvPr>
            <p:ph type="dt" sz="half" idx="10"/>
          </p:nvPr>
        </p:nvSpPr>
        <p:spPr>
          <a:xfrm>
            <a:off x="838200" y="6356350"/>
            <a:ext cx="2743200" cy="365125"/>
          </a:xfrm>
          <a:prstGeom prst="rect">
            <a:avLst/>
          </a:prstGeom>
        </p:spPr>
        <p:txBody>
          <a:bodyPr/>
          <a:lstStyle/>
          <a:p>
            <a:endParaRPr lang="en-SG"/>
          </a:p>
        </p:txBody>
      </p:sp>
      <p:sp>
        <p:nvSpPr>
          <p:cNvPr id="5" name="Footer Placeholder 4">
            <a:extLst>
              <a:ext uri="{FF2B5EF4-FFF2-40B4-BE49-F238E27FC236}">
                <a16:creationId xmlns:a16="http://schemas.microsoft.com/office/drawing/2014/main" id="{A8831F60-7D54-4A3E-BDCB-EAAB303B83AD}"/>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EF1036E9-4CCE-41B2-B64A-710577D24A9F}"/>
              </a:ext>
            </a:extLst>
          </p:cNvPr>
          <p:cNvSpPr>
            <a:spLocks noGrp="1"/>
          </p:cNvSpPr>
          <p:nvPr>
            <p:ph type="sldNum" sz="quarter" idx="12"/>
          </p:nvPr>
        </p:nvSpPr>
        <p:spPr>
          <a:xfrm>
            <a:off x="11635319" y="6418368"/>
            <a:ext cx="502915" cy="365125"/>
          </a:xfrm>
          <a:prstGeom prst="rect">
            <a:avLst/>
          </a:prstGeom>
        </p:spPr>
        <p:txBody>
          <a:bodyPr/>
          <a:lstStyle/>
          <a:p>
            <a:fld id="{F5D0115F-629B-413B-A4C8-7182E324E1C4}" type="slidenum">
              <a:rPr lang="en-SG" smtClean="0"/>
              <a:t>‹#›</a:t>
            </a:fld>
            <a:endParaRPr lang="en-SG"/>
          </a:p>
        </p:txBody>
      </p:sp>
    </p:spTree>
    <p:extLst>
      <p:ext uri="{BB962C8B-B14F-4D97-AF65-F5344CB8AC3E}">
        <p14:creationId xmlns:p14="http://schemas.microsoft.com/office/powerpoint/2010/main" val="3853044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609600" y="1052736"/>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31292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8" name="Text Placeholder 25">
            <a:extLst>
              <a:ext uri="{FF2B5EF4-FFF2-40B4-BE49-F238E27FC236}">
                <a16:creationId xmlns:a16="http://schemas.microsoft.com/office/drawing/2014/main" id="{4BC9D665-DBCD-473A-A684-8C0BE5CA551E}"/>
              </a:ext>
            </a:extLst>
          </p:cNvPr>
          <p:cNvSpPr>
            <a:spLocks noGrp="1"/>
          </p:cNvSpPr>
          <p:nvPr>
            <p:ph type="body" sz="quarter" idx="13"/>
          </p:nvPr>
        </p:nvSpPr>
        <p:spPr>
          <a:xfrm>
            <a:off x="339725" y="3619688"/>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9" name="Text Placeholder 25">
            <a:extLst>
              <a:ext uri="{FF2B5EF4-FFF2-40B4-BE49-F238E27FC236}">
                <a16:creationId xmlns:a16="http://schemas.microsoft.com/office/drawing/2014/main" id="{4CAB95DD-FA78-4B53-8158-323ED005A4B3}"/>
              </a:ext>
            </a:extLst>
          </p:cNvPr>
          <p:cNvSpPr>
            <a:spLocks noGrp="1"/>
          </p:cNvSpPr>
          <p:nvPr>
            <p:ph type="body" sz="quarter" idx="14"/>
          </p:nvPr>
        </p:nvSpPr>
        <p:spPr>
          <a:xfrm>
            <a:off x="6269037" y="3619688"/>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31" name="Text Placeholder 2">
            <a:extLst>
              <a:ext uri="{FF2B5EF4-FFF2-40B4-BE49-F238E27FC236}">
                <a16:creationId xmlns:a16="http://schemas.microsoft.com/office/drawing/2014/main" id="{5463B791-0FFA-46D6-BB80-FFCA3BF85983}"/>
              </a:ext>
            </a:extLst>
          </p:cNvPr>
          <p:cNvSpPr>
            <a:spLocks noGrp="1"/>
          </p:cNvSpPr>
          <p:nvPr>
            <p:ph type="body" sz="quarter" idx="16"/>
          </p:nvPr>
        </p:nvSpPr>
        <p:spPr>
          <a:xfrm>
            <a:off x="339725" y="2368397"/>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2" name="Text Placeholder 2">
            <a:extLst>
              <a:ext uri="{FF2B5EF4-FFF2-40B4-BE49-F238E27FC236}">
                <a16:creationId xmlns:a16="http://schemas.microsoft.com/office/drawing/2014/main" id="{19537ADE-042C-4A3E-A552-F863D53C2C5F}"/>
              </a:ext>
            </a:extLst>
          </p:cNvPr>
          <p:cNvSpPr>
            <a:spLocks noGrp="1"/>
          </p:cNvSpPr>
          <p:nvPr>
            <p:ph type="body" sz="quarter" idx="17"/>
          </p:nvPr>
        </p:nvSpPr>
        <p:spPr>
          <a:xfrm>
            <a:off x="6269037" y="2368397"/>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3" name="Text Placeholder 2">
            <a:extLst>
              <a:ext uri="{FF2B5EF4-FFF2-40B4-BE49-F238E27FC236}">
                <a16:creationId xmlns:a16="http://schemas.microsoft.com/office/drawing/2014/main" id="{0D164930-43FC-4E35-83E3-C5E03B852390}"/>
              </a:ext>
            </a:extLst>
          </p:cNvPr>
          <p:cNvSpPr>
            <a:spLocks noGrp="1"/>
          </p:cNvSpPr>
          <p:nvPr>
            <p:ph type="body" sz="quarter" idx="18"/>
          </p:nvPr>
        </p:nvSpPr>
        <p:spPr>
          <a:xfrm>
            <a:off x="339725" y="4904632"/>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4" name="Text Placeholder 2">
            <a:extLst>
              <a:ext uri="{FF2B5EF4-FFF2-40B4-BE49-F238E27FC236}">
                <a16:creationId xmlns:a16="http://schemas.microsoft.com/office/drawing/2014/main" id="{EE5972B5-56FE-4CC5-895F-21D99E6887EE}"/>
              </a:ext>
            </a:extLst>
          </p:cNvPr>
          <p:cNvSpPr>
            <a:spLocks noGrp="1"/>
          </p:cNvSpPr>
          <p:nvPr>
            <p:ph type="body" sz="quarter" idx="19"/>
          </p:nvPr>
        </p:nvSpPr>
        <p:spPr>
          <a:xfrm>
            <a:off x="6269037" y="4904632"/>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7" name="Slide Number Placeholder 2">
            <a:extLst>
              <a:ext uri="{FF2B5EF4-FFF2-40B4-BE49-F238E27FC236}">
                <a16:creationId xmlns:a16="http://schemas.microsoft.com/office/drawing/2014/main" id="{31F6F29A-3C3D-4538-8B21-B694C13DA2CC}"/>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38" name="Title 1">
            <a:extLst>
              <a:ext uri="{FF2B5EF4-FFF2-40B4-BE49-F238E27FC236}">
                <a16:creationId xmlns:a16="http://schemas.microsoft.com/office/drawing/2014/main" id="{7F188704-D3BD-47E2-89C4-6CF9DA16A0C8}"/>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9" name="Line 34">
            <a:extLst>
              <a:ext uri="{FF2B5EF4-FFF2-40B4-BE49-F238E27FC236}">
                <a16:creationId xmlns:a16="http://schemas.microsoft.com/office/drawing/2014/main" id="{DF3519E7-8744-41FD-A988-616F1719127D}"/>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40" name="Line 35">
            <a:extLst>
              <a:ext uri="{FF2B5EF4-FFF2-40B4-BE49-F238E27FC236}">
                <a16:creationId xmlns:a16="http://schemas.microsoft.com/office/drawing/2014/main" id="{28E81C13-AE9D-4309-BDA5-16CCC6F24EF7}"/>
              </a:ext>
            </a:extLst>
          </p:cNvPr>
          <p:cNvSpPr>
            <a:spLocks noChangeShapeType="1"/>
          </p:cNvSpPr>
          <p:nvPr userDrawn="1"/>
        </p:nvSpPr>
        <p:spPr bwMode="auto">
          <a:xfrm>
            <a:off x="340696" y="546289"/>
            <a:ext cx="11518949" cy="0"/>
          </a:xfrm>
          <a:prstGeom prst="line">
            <a:avLst/>
          </a:prstGeom>
          <a:noFill/>
          <a:ln w="9525">
            <a:solidFill>
              <a:schemeClr val="tx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21" name="Text Placeholder 25">
            <a:extLst>
              <a:ext uri="{FF2B5EF4-FFF2-40B4-BE49-F238E27FC236}">
                <a16:creationId xmlns:a16="http://schemas.microsoft.com/office/drawing/2014/main" id="{359D0321-778C-4119-BB4E-824664A90812}"/>
              </a:ext>
            </a:extLst>
          </p:cNvPr>
          <p:cNvSpPr>
            <a:spLocks noGrp="1"/>
          </p:cNvSpPr>
          <p:nvPr>
            <p:ph type="body" sz="quarter" idx="11"/>
          </p:nvPr>
        </p:nvSpPr>
        <p:spPr>
          <a:xfrm>
            <a:off x="339725"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2" name="Text Placeholder 25">
            <a:extLst>
              <a:ext uri="{FF2B5EF4-FFF2-40B4-BE49-F238E27FC236}">
                <a16:creationId xmlns:a16="http://schemas.microsoft.com/office/drawing/2014/main" id="{733DF301-B4B3-482B-9DA9-347B1F630DD4}"/>
              </a:ext>
            </a:extLst>
          </p:cNvPr>
          <p:cNvSpPr>
            <a:spLocks noGrp="1"/>
          </p:cNvSpPr>
          <p:nvPr>
            <p:ph type="body" sz="quarter" idx="20"/>
          </p:nvPr>
        </p:nvSpPr>
        <p:spPr>
          <a:xfrm>
            <a:off x="6268860"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3" name="Text Placeholder 25">
            <a:extLst>
              <a:ext uri="{FF2B5EF4-FFF2-40B4-BE49-F238E27FC236}">
                <a16:creationId xmlns:a16="http://schemas.microsoft.com/office/drawing/2014/main" id="{EF04AB9E-805A-4EEE-8C18-B7ABC53C59F8}"/>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Tree>
    <p:extLst>
      <p:ext uri="{BB962C8B-B14F-4D97-AF65-F5344CB8AC3E}">
        <p14:creationId xmlns:p14="http://schemas.microsoft.com/office/powerpoint/2010/main" val="14785092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8" name="Text Placeholder 25">
            <a:extLst>
              <a:ext uri="{FF2B5EF4-FFF2-40B4-BE49-F238E27FC236}">
                <a16:creationId xmlns:a16="http://schemas.microsoft.com/office/drawing/2014/main" id="{4BC9D665-DBCD-473A-A684-8C0BE5CA551E}"/>
              </a:ext>
            </a:extLst>
          </p:cNvPr>
          <p:cNvSpPr>
            <a:spLocks noGrp="1"/>
          </p:cNvSpPr>
          <p:nvPr>
            <p:ph type="body" sz="quarter" idx="13"/>
          </p:nvPr>
        </p:nvSpPr>
        <p:spPr>
          <a:xfrm>
            <a:off x="339724" y="3619688"/>
            <a:ext cx="11512551"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3" name="Text Placeholder 2">
            <a:extLst>
              <a:ext uri="{FF2B5EF4-FFF2-40B4-BE49-F238E27FC236}">
                <a16:creationId xmlns:a16="http://schemas.microsoft.com/office/drawing/2014/main" id="{53F58C3D-CAFD-47E5-B9A8-7F8F561998CE}"/>
              </a:ext>
            </a:extLst>
          </p:cNvPr>
          <p:cNvSpPr>
            <a:spLocks noGrp="1"/>
          </p:cNvSpPr>
          <p:nvPr>
            <p:ph type="body" sz="quarter" idx="14"/>
          </p:nvPr>
        </p:nvSpPr>
        <p:spPr>
          <a:xfrm>
            <a:off x="339725" y="2368397"/>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14" name="Text Placeholder 2">
            <a:extLst>
              <a:ext uri="{FF2B5EF4-FFF2-40B4-BE49-F238E27FC236}">
                <a16:creationId xmlns:a16="http://schemas.microsoft.com/office/drawing/2014/main" id="{8C9D9212-2AF3-457C-8320-91E1745F1C61}"/>
              </a:ext>
            </a:extLst>
          </p:cNvPr>
          <p:cNvSpPr>
            <a:spLocks noGrp="1"/>
          </p:cNvSpPr>
          <p:nvPr>
            <p:ph type="body" sz="quarter" idx="16"/>
          </p:nvPr>
        </p:nvSpPr>
        <p:spPr>
          <a:xfrm>
            <a:off x="6269037" y="2368397"/>
            <a:ext cx="5578475"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19" name="Text Placeholder 2">
            <a:extLst>
              <a:ext uri="{FF2B5EF4-FFF2-40B4-BE49-F238E27FC236}">
                <a16:creationId xmlns:a16="http://schemas.microsoft.com/office/drawing/2014/main" id="{ABB94528-12D6-48A1-8CDD-6BD0F7A1C31B}"/>
              </a:ext>
            </a:extLst>
          </p:cNvPr>
          <p:cNvSpPr>
            <a:spLocks noGrp="1"/>
          </p:cNvSpPr>
          <p:nvPr>
            <p:ph type="body" sz="quarter" idx="17"/>
          </p:nvPr>
        </p:nvSpPr>
        <p:spPr>
          <a:xfrm>
            <a:off x="339725" y="4358814"/>
            <a:ext cx="11518763"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21" name="Text Placeholder 25">
            <a:extLst>
              <a:ext uri="{FF2B5EF4-FFF2-40B4-BE49-F238E27FC236}">
                <a16:creationId xmlns:a16="http://schemas.microsoft.com/office/drawing/2014/main" id="{AEBD0FBF-9813-4288-B024-31BEF326BA2B}"/>
              </a:ext>
            </a:extLst>
          </p:cNvPr>
          <p:cNvSpPr>
            <a:spLocks noGrp="1"/>
          </p:cNvSpPr>
          <p:nvPr>
            <p:ph type="body" sz="quarter" idx="11"/>
          </p:nvPr>
        </p:nvSpPr>
        <p:spPr>
          <a:xfrm>
            <a:off x="339725"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2" name="Text Placeholder 25">
            <a:extLst>
              <a:ext uri="{FF2B5EF4-FFF2-40B4-BE49-F238E27FC236}">
                <a16:creationId xmlns:a16="http://schemas.microsoft.com/office/drawing/2014/main" id="{921CC0E6-4DE4-408D-B7E8-98558DE393A0}"/>
              </a:ext>
            </a:extLst>
          </p:cNvPr>
          <p:cNvSpPr>
            <a:spLocks noGrp="1"/>
          </p:cNvSpPr>
          <p:nvPr>
            <p:ph type="body" sz="quarter" idx="19"/>
          </p:nvPr>
        </p:nvSpPr>
        <p:spPr>
          <a:xfrm>
            <a:off x="6268860"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3" name="Text Placeholder 25">
            <a:extLst>
              <a:ext uri="{FF2B5EF4-FFF2-40B4-BE49-F238E27FC236}">
                <a16:creationId xmlns:a16="http://schemas.microsoft.com/office/drawing/2014/main" id="{2916D4AB-172C-405C-9661-D06A438F6F97}"/>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Tree>
    <p:extLst>
      <p:ext uri="{BB962C8B-B14F-4D97-AF65-F5344CB8AC3E}">
        <p14:creationId xmlns:p14="http://schemas.microsoft.com/office/powerpoint/2010/main" val="36946408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9F50997B-21CB-460E-9AD1-D7FE07EE8D75}"/>
              </a:ext>
            </a:extLst>
          </p:cNvPr>
          <p:cNvSpPr>
            <a:spLocks noGrp="1"/>
          </p:cNvSpPr>
          <p:nvPr>
            <p:ph type="body" sz="quarter" idx="11"/>
          </p:nvPr>
        </p:nvSpPr>
        <p:spPr>
          <a:xfrm>
            <a:off x="339725"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7" name="Text Placeholder 25">
            <a:extLst>
              <a:ext uri="{FF2B5EF4-FFF2-40B4-BE49-F238E27FC236}">
                <a16:creationId xmlns:a16="http://schemas.microsoft.com/office/drawing/2014/main" id="{01E39587-2188-4F23-B7E7-14ECCEF19E52}"/>
              </a:ext>
            </a:extLst>
          </p:cNvPr>
          <p:cNvSpPr>
            <a:spLocks noGrp="1"/>
          </p:cNvSpPr>
          <p:nvPr>
            <p:ph type="body" sz="quarter" idx="12"/>
          </p:nvPr>
        </p:nvSpPr>
        <p:spPr>
          <a:xfrm>
            <a:off x="339539" y="280242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8" name="Text Placeholder 25">
            <a:extLst>
              <a:ext uri="{FF2B5EF4-FFF2-40B4-BE49-F238E27FC236}">
                <a16:creationId xmlns:a16="http://schemas.microsoft.com/office/drawing/2014/main" id="{4BC9D665-DBCD-473A-A684-8C0BE5CA551E}"/>
              </a:ext>
            </a:extLst>
          </p:cNvPr>
          <p:cNvSpPr>
            <a:spLocks noGrp="1"/>
          </p:cNvSpPr>
          <p:nvPr>
            <p:ph type="body" sz="quarter" idx="13"/>
          </p:nvPr>
        </p:nvSpPr>
        <p:spPr>
          <a:xfrm>
            <a:off x="339539" y="4448670"/>
            <a:ext cx="55836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41" name="Text Placeholder 25">
            <a:extLst>
              <a:ext uri="{FF2B5EF4-FFF2-40B4-BE49-F238E27FC236}">
                <a16:creationId xmlns:a16="http://schemas.microsoft.com/office/drawing/2014/main" id="{92FC3D96-6F24-453C-82F8-28D14A9E40DB}"/>
              </a:ext>
            </a:extLst>
          </p:cNvPr>
          <p:cNvSpPr>
            <a:spLocks noGrp="1"/>
          </p:cNvSpPr>
          <p:nvPr>
            <p:ph type="body" sz="quarter" idx="19"/>
          </p:nvPr>
        </p:nvSpPr>
        <p:spPr>
          <a:xfrm>
            <a:off x="6268860"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42" name="Text Placeholder 25">
            <a:extLst>
              <a:ext uri="{FF2B5EF4-FFF2-40B4-BE49-F238E27FC236}">
                <a16:creationId xmlns:a16="http://schemas.microsoft.com/office/drawing/2014/main" id="{C5BE390F-E8CA-47BE-B7FA-BF4AEF29076B}"/>
              </a:ext>
            </a:extLst>
          </p:cNvPr>
          <p:cNvSpPr>
            <a:spLocks noGrp="1"/>
          </p:cNvSpPr>
          <p:nvPr>
            <p:ph type="body" sz="quarter" idx="20"/>
          </p:nvPr>
        </p:nvSpPr>
        <p:spPr>
          <a:xfrm>
            <a:off x="6268674" y="280242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43" name="Text Placeholder 25">
            <a:extLst>
              <a:ext uri="{FF2B5EF4-FFF2-40B4-BE49-F238E27FC236}">
                <a16:creationId xmlns:a16="http://schemas.microsoft.com/office/drawing/2014/main" id="{68CF0232-F032-457D-A5E7-FA6261BC208E}"/>
              </a:ext>
            </a:extLst>
          </p:cNvPr>
          <p:cNvSpPr>
            <a:spLocks noGrp="1"/>
          </p:cNvSpPr>
          <p:nvPr>
            <p:ph type="body" sz="quarter" idx="21"/>
          </p:nvPr>
        </p:nvSpPr>
        <p:spPr>
          <a:xfrm>
            <a:off x="6268674" y="4448670"/>
            <a:ext cx="55836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2" name="Text Placeholder 25">
            <a:extLst>
              <a:ext uri="{FF2B5EF4-FFF2-40B4-BE49-F238E27FC236}">
                <a16:creationId xmlns:a16="http://schemas.microsoft.com/office/drawing/2014/main" id="{6576719C-3F95-48E5-844E-C9972B793A6B}"/>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Tree>
    <p:extLst>
      <p:ext uri="{BB962C8B-B14F-4D97-AF65-F5344CB8AC3E}">
        <p14:creationId xmlns:p14="http://schemas.microsoft.com/office/powerpoint/2010/main" val="2859503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28" name="Text Placeholder 25">
            <a:extLst>
              <a:ext uri="{FF2B5EF4-FFF2-40B4-BE49-F238E27FC236}">
                <a16:creationId xmlns:a16="http://schemas.microsoft.com/office/drawing/2014/main" id="{26F02C05-FC9A-4E6E-B6E0-54F2A5BE3A69}"/>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cxnSp>
        <p:nvCxnSpPr>
          <p:cNvPr id="34" name="Straight Connector 33">
            <a:extLst>
              <a:ext uri="{FF2B5EF4-FFF2-40B4-BE49-F238E27FC236}">
                <a16:creationId xmlns:a16="http://schemas.microsoft.com/office/drawing/2014/main" id="{0ADC3FD0-EC89-4F87-87B1-BCC1F80DC2A9}"/>
              </a:ext>
            </a:extLst>
          </p:cNvPr>
          <p:cNvCxnSpPr>
            <a:cxnSpLocks/>
          </p:cNvCxnSpPr>
          <p:nvPr userDrawn="1"/>
        </p:nvCxnSpPr>
        <p:spPr>
          <a:xfrm>
            <a:off x="-267126" y="6308725"/>
            <a:ext cx="12649200"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DCF30618-935C-45E0-BAE0-059AD1A7099E}"/>
              </a:ext>
            </a:extLst>
          </p:cNvPr>
          <p:cNvSpPr>
            <a:spLocks noGrp="1"/>
          </p:cNvSpPr>
          <p:nvPr>
            <p:ph type="body" sz="quarter" idx="22"/>
          </p:nvPr>
        </p:nvSpPr>
        <p:spPr>
          <a:xfrm>
            <a:off x="3247191"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7" name="Text Placeholder 25">
            <a:extLst>
              <a:ext uri="{FF2B5EF4-FFF2-40B4-BE49-F238E27FC236}">
                <a16:creationId xmlns:a16="http://schemas.microsoft.com/office/drawing/2014/main" id="{0D2868A9-67FB-4F24-A900-88066290B92D}"/>
              </a:ext>
            </a:extLst>
          </p:cNvPr>
          <p:cNvSpPr>
            <a:spLocks noGrp="1"/>
          </p:cNvSpPr>
          <p:nvPr>
            <p:ph type="body" sz="quarter" idx="17"/>
          </p:nvPr>
        </p:nvSpPr>
        <p:spPr>
          <a:xfrm>
            <a:off x="6148231"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33" name="Text Placeholder 25">
            <a:extLst>
              <a:ext uri="{FF2B5EF4-FFF2-40B4-BE49-F238E27FC236}">
                <a16:creationId xmlns:a16="http://schemas.microsoft.com/office/drawing/2014/main" id="{4A20E733-F172-494E-884B-479835E054B0}"/>
              </a:ext>
            </a:extLst>
          </p:cNvPr>
          <p:cNvSpPr>
            <a:spLocks noGrp="1"/>
          </p:cNvSpPr>
          <p:nvPr>
            <p:ph type="body" sz="quarter" idx="18"/>
          </p:nvPr>
        </p:nvSpPr>
        <p:spPr>
          <a:xfrm>
            <a:off x="9055697"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35" name="Text Placeholder 25">
            <a:extLst>
              <a:ext uri="{FF2B5EF4-FFF2-40B4-BE49-F238E27FC236}">
                <a16:creationId xmlns:a16="http://schemas.microsoft.com/office/drawing/2014/main" id="{C4176B98-232C-4A97-9B32-D3A0968F3B72}"/>
              </a:ext>
            </a:extLst>
          </p:cNvPr>
          <p:cNvSpPr>
            <a:spLocks noGrp="1"/>
          </p:cNvSpPr>
          <p:nvPr>
            <p:ph type="body" sz="quarter" idx="11"/>
          </p:nvPr>
        </p:nvSpPr>
        <p:spPr>
          <a:xfrm>
            <a:off x="339725" y="1160837"/>
            <a:ext cx="27720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Tree>
    <p:extLst>
      <p:ext uri="{BB962C8B-B14F-4D97-AF65-F5344CB8AC3E}">
        <p14:creationId xmlns:p14="http://schemas.microsoft.com/office/powerpoint/2010/main" val="2454715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4" name="Text Placeholder 25">
            <a:extLst>
              <a:ext uri="{FF2B5EF4-FFF2-40B4-BE49-F238E27FC236}">
                <a16:creationId xmlns:a16="http://schemas.microsoft.com/office/drawing/2014/main" id="{5F3B7F30-8E65-4426-9E3C-A9D2F2B21F7E}"/>
              </a:ext>
            </a:extLst>
          </p:cNvPr>
          <p:cNvSpPr>
            <a:spLocks noGrp="1"/>
          </p:cNvSpPr>
          <p:nvPr>
            <p:ph type="body" sz="quarter" idx="16"/>
          </p:nvPr>
        </p:nvSpPr>
        <p:spPr>
          <a:xfrm>
            <a:off x="3247191"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39" name="Text Placeholder 25">
            <a:extLst>
              <a:ext uri="{FF2B5EF4-FFF2-40B4-BE49-F238E27FC236}">
                <a16:creationId xmlns:a16="http://schemas.microsoft.com/office/drawing/2014/main" id="{7B02736E-509C-450F-AC74-8AC1AB792C53}"/>
              </a:ext>
            </a:extLst>
          </p:cNvPr>
          <p:cNvSpPr>
            <a:spLocks noGrp="1"/>
          </p:cNvSpPr>
          <p:nvPr>
            <p:ph type="body" sz="quarter" idx="17"/>
          </p:nvPr>
        </p:nvSpPr>
        <p:spPr>
          <a:xfrm>
            <a:off x="6148231"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40" name="Text Placeholder 25">
            <a:extLst>
              <a:ext uri="{FF2B5EF4-FFF2-40B4-BE49-F238E27FC236}">
                <a16:creationId xmlns:a16="http://schemas.microsoft.com/office/drawing/2014/main" id="{431AA4DB-3E92-467E-9293-9EAB797A7ED0}"/>
              </a:ext>
            </a:extLst>
          </p:cNvPr>
          <p:cNvSpPr>
            <a:spLocks noGrp="1"/>
          </p:cNvSpPr>
          <p:nvPr>
            <p:ph type="body" sz="quarter" idx="18"/>
          </p:nvPr>
        </p:nvSpPr>
        <p:spPr>
          <a:xfrm>
            <a:off x="9055697" y="1160837"/>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0" name="Text Placeholder 25">
            <a:extLst>
              <a:ext uri="{FF2B5EF4-FFF2-40B4-BE49-F238E27FC236}">
                <a16:creationId xmlns:a16="http://schemas.microsoft.com/office/drawing/2014/main" id="{CEBC2257-99B1-4DDF-A033-B0345B7D8501}"/>
              </a:ext>
            </a:extLst>
          </p:cNvPr>
          <p:cNvSpPr>
            <a:spLocks noGrp="1"/>
          </p:cNvSpPr>
          <p:nvPr>
            <p:ph type="body" sz="quarter" idx="11"/>
          </p:nvPr>
        </p:nvSpPr>
        <p:spPr>
          <a:xfrm>
            <a:off x="339725" y="1160837"/>
            <a:ext cx="27720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2" name="Text Placeholder 25">
            <a:extLst>
              <a:ext uri="{FF2B5EF4-FFF2-40B4-BE49-F238E27FC236}">
                <a16:creationId xmlns:a16="http://schemas.microsoft.com/office/drawing/2014/main" id="{4A355DC7-1B5A-46B7-8F99-F4458CD13908}"/>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
        <p:nvSpPr>
          <p:cNvPr id="21" name="Text Placeholder 25">
            <a:extLst>
              <a:ext uri="{FF2B5EF4-FFF2-40B4-BE49-F238E27FC236}">
                <a16:creationId xmlns:a16="http://schemas.microsoft.com/office/drawing/2014/main" id="{F872B9E1-FCF8-4555-B099-D99105B53AF8}"/>
              </a:ext>
            </a:extLst>
          </p:cNvPr>
          <p:cNvSpPr>
            <a:spLocks noGrp="1"/>
          </p:cNvSpPr>
          <p:nvPr>
            <p:ph type="body" sz="quarter" idx="19"/>
          </p:nvPr>
        </p:nvSpPr>
        <p:spPr>
          <a:xfrm>
            <a:off x="3247191" y="3619688"/>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3" name="Text Placeholder 25">
            <a:extLst>
              <a:ext uri="{FF2B5EF4-FFF2-40B4-BE49-F238E27FC236}">
                <a16:creationId xmlns:a16="http://schemas.microsoft.com/office/drawing/2014/main" id="{854FF81E-E3DA-49AF-B52E-6D6CEFBFCB23}"/>
              </a:ext>
            </a:extLst>
          </p:cNvPr>
          <p:cNvSpPr>
            <a:spLocks noGrp="1"/>
          </p:cNvSpPr>
          <p:nvPr>
            <p:ph type="body" sz="quarter" idx="20"/>
          </p:nvPr>
        </p:nvSpPr>
        <p:spPr>
          <a:xfrm>
            <a:off x="6148231" y="3619688"/>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6" name="Text Placeholder 25">
            <a:extLst>
              <a:ext uri="{FF2B5EF4-FFF2-40B4-BE49-F238E27FC236}">
                <a16:creationId xmlns:a16="http://schemas.microsoft.com/office/drawing/2014/main" id="{88A67457-11A7-48DD-83D0-E629061D0E80}"/>
              </a:ext>
            </a:extLst>
          </p:cNvPr>
          <p:cNvSpPr>
            <a:spLocks noGrp="1"/>
          </p:cNvSpPr>
          <p:nvPr>
            <p:ph type="body" sz="quarter" idx="21"/>
          </p:nvPr>
        </p:nvSpPr>
        <p:spPr>
          <a:xfrm>
            <a:off x="9055697" y="3619688"/>
            <a:ext cx="2796765"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7" name="Text Placeholder 25">
            <a:extLst>
              <a:ext uri="{FF2B5EF4-FFF2-40B4-BE49-F238E27FC236}">
                <a16:creationId xmlns:a16="http://schemas.microsoft.com/office/drawing/2014/main" id="{15A2C511-98C3-425C-A9E0-3C8A2EE870D0}"/>
              </a:ext>
            </a:extLst>
          </p:cNvPr>
          <p:cNvSpPr>
            <a:spLocks noGrp="1"/>
          </p:cNvSpPr>
          <p:nvPr>
            <p:ph type="body" sz="quarter" idx="22"/>
          </p:nvPr>
        </p:nvSpPr>
        <p:spPr>
          <a:xfrm>
            <a:off x="339725" y="3619688"/>
            <a:ext cx="27720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Tree>
    <p:extLst>
      <p:ext uri="{BB962C8B-B14F-4D97-AF65-F5344CB8AC3E}">
        <p14:creationId xmlns:p14="http://schemas.microsoft.com/office/powerpoint/2010/main" val="338627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F7151BFE-3DC6-4A7D-9C9E-7DC3B0C793AA}"/>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22" name="Text Placeholder 25">
            <a:extLst>
              <a:ext uri="{FF2B5EF4-FFF2-40B4-BE49-F238E27FC236}">
                <a16:creationId xmlns:a16="http://schemas.microsoft.com/office/drawing/2014/main" id="{C08EDC4A-FBBA-4114-83AC-6D2DA3FFCFCA}"/>
              </a:ext>
            </a:extLst>
          </p:cNvPr>
          <p:cNvSpPr>
            <a:spLocks noGrp="1"/>
          </p:cNvSpPr>
          <p:nvPr>
            <p:ph type="body" sz="quarter" idx="18"/>
          </p:nvPr>
        </p:nvSpPr>
        <p:spPr>
          <a:xfrm>
            <a:off x="8065008" y="1487246"/>
            <a:ext cx="3787267" cy="230187"/>
          </a:xfrm>
          <a:prstGeom prst="rect">
            <a:avLst/>
          </a:prstGeom>
          <a:solidFill>
            <a:schemeClr val="tx2"/>
          </a:solidFill>
          <a:ln w="6350">
            <a:noFill/>
          </a:ln>
        </p:spPr>
        <p:txBody>
          <a:bodyPr anchor="ctr">
            <a:noAutofit/>
          </a:bodyPr>
          <a:lstStyle>
            <a:lvl1pPr marL="0" indent="0">
              <a:buNone/>
              <a:defRPr sz="1400">
                <a:solidFill>
                  <a:schemeClr val="bg1"/>
                </a:solidFill>
                <a:latin typeface="+mn-lt"/>
              </a:defRPr>
            </a:lvl1pPr>
          </a:lstStyle>
          <a:p>
            <a:pPr lvl="0"/>
            <a:endParaRPr lang="en-SG"/>
          </a:p>
        </p:txBody>
      </p:sp>
      <p:sp>
        <p:nvSpPr>
          <p:cNvPr id="23" name="Text Placeholder 2">
            <a:extLst>
              <a:ext uri="{FF2B5EF4-FFF2-40B4-BE49-F238E27FC236}">
                <a16:creationId xmlns:a16="http://schemas.microsoft.com/office/drawing/2014/main" id="{2D3C5471-F907-432A-B509-CF0C663E2075}"/>
              </a:ext>
            </a:extLst>
          </p:cNvPr>
          <p:cNvSpPr>
            <a:spLocks noGrp="1"/>
          </p:cNvSpPr>
          <p:nvPr>
            <p:ph type="body" sz="quarter" idx="17"/>
          </p:nvPr>
        </p:nvSpPr>
        <p:spPr>
          <a:xfrm>
            <a:off x="339725" y="4806026"/>
            <a:ext cx="11518763"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4" name="Chart Placeholder 3">
            <a:extLst>
              <a:ext uri="{FF2B5EF4-FFF2-40B4-BE49-F238E27FC236}">
                <a16:creationId xmlns:a16="http://schemas.microsoft.com/office/drawing/2014/main" id="{4063ABBC-FB70-40E7-B5B9-7A6EA99B23B0}"/>
              </a:ext>
            </a:extLst>
          </p:cNvPr>
          <p:cNvSpPr>
            <a:spLocks noGrp="1"/>
          </p:cNvSpPr>
          <p:nvPr>
            <p:ph type="chart" sz="quarter" idx="19"/>
          </p:nvPr>
        </p:nvSpPr>
        <p:spPr>
          <a:xfrm>
            <a:off x="339724" y="1487246"/>
            <a:ext cx="7653338" cy="2877845"/>
          </a:xfrm>
          <a:prstGeom prst="rect">
            <a:avLst/>
          </a:prstGeom>
        </p:spPr>
        <p:txBody>
          <a:bodyPr/>
          <a:lstStyle>
            <a:lvl1pPr>
              <a:defRPr sz="1100"/>
            </a:lvl1pPr>
          </a:lstStyle>
          <a:p>
            <a:endParaRPr lang="en-SG"/>
          </a:p>
        </p:txBody>
      </p:sp>
      <p:sp>
        <p:nvSpPr>
          <p:cNvPr id="35" name="Text Placeholder 25">
            <a:extLst>
              <a:ext uri="{FF2B5EF4-FFF2-40B4-BE49-F238E27FC236}">
                <a16:creationId xmlns:a16="http://schemas.microsoft.com/office/drawing/2014/main" id="{794479AC-AF88-4501-9399-6ABB64ECC21A}"/>
              </a:ext>
            </a:extLst>
          </p:cNvPr>
          <p:cNvSpPr>
            <a:spLocks noGrp="1"/>
          </p:cNvSpPr>
          <p:nvPr>
            <p:ph type="body" sz="quarter" idx="20"/>
          </p:nvPr>
        </p:nvSpPr>
        <p:spPr>
          <a:xfrm>
            <a:off x="4477702" y="4579526"/>
            <a:ext cx="3245039" cy="226500"/>
          </a:xfrm>
          <a:prstGeom prst="rect">
            <a:avLst/>
          </a:prstGeom>
          <a:solidFill>
            <a:schemeClr val="accent1"/>
          </a:solidFill>
          <a:ln w="6350">
            <a:noFill/>
          </a:ln>
        </p:spPr>
        <p:txBody>
          <a:bodyPr anchor="ctr">
            <a:noAutofit/>
          </a:bodyPr>
          <a:lstStyle>
            <a:lvl1pPr marL="0" indent="0">
              <a:buNone/>
              <a:defRPr sz="1400">
                <a:solidFill>
                  <a:schemeClr val="bg1"/>
                </a:solidFill>
                <a:latin typeface="+mn-lt"/>
              </a:defRPr>
            </a:lvl1pPr>
          </a:lstStyle>
          <a:p>
            <a:pPr lvl="0"/>
            <a:endParaRPr lang="en-SG"/>
          </a:p>
        </p:txBody>
      </p:sp>
      <p:sp>
        <p:nvSpPr>
          <p:cNvPr id="36" name="Text Placeholder 25">
            <a:extLst>
              <a:ext uri="{FF2B5EF4-FFF2-40B4-BE49-F238E27FC236}">
                <a16:creationId xmlns:a16="http://schemas.microsoft.com/office/drawing/2014/main" id="{7CC23E7D-83B0-4DD2-92B8-A9D53B347CEB}"/>
              </a:ext>
            </a:extLst>
          </p:cNvPr>
          <p:cNvSpPr>
            <a:spLocks noGrp="1"/>
          </p:cNvSpPr>
          <p:nvPr>
            <p:ph type="body" sz="quarter" idx="21"/>
          </p:nvPr>
        </p:nvSpPr>
        <p:spPr>
          <a:xfrm>
            <a:off x="8615679" y="4579525"/>
            <a:ext cx="3245039" cy="230187"/>
          </a:xfrm>
          <a:prstGeom prst="rect">
            <a:avLst/>
          </a:prstGeom>
          <a:solidFill>
            <a:schemeClr val="accent1"/>
          </a:solidFill>
          <a:ln w="6350">
            <a:noFill/>
          </a:ln>
        </p:spPr>
        <p:txBody>
          <a:bodyPr anchor="ctr">
            <a:noAutofit/>
          </a:bodyPr>
          <a:lstStyle>
            <a:lvl1pPr marL="0" indent="0">
              <a:buNone/>
              <a:defRPr sz="1400">
                <a:solidFill>
                  <a:schemeClr val="bg1"/>
                </a:solidFill>
                <a:latin typeface="+mn-lt"/>
              </a:defRPr>
            </a:lvl1pPr>
          </a:lstStyle>
          <a:p>
            <a:pPr lvl="0"/>
            <a:endParaRPr lang="en-SG"/>
          </a:p>
        </p:txBody>
      </p:sp>
      <p:sp>
        <p:nvSpPr>
          <p:cNvPr id="37" name="Text Placeholder 25">
            <a:extLst>
              <a:ext uri="{FF2B5EF4-FFF2-40B4-BE49-F238E27FC236}">
                <a16:creationId xmlns:a16="http://schemas.microsoft.com/office/drawing/2014/main" id="{09CDAA00-B9E4-45F9-8362-98287FCE7480}"/>
              </a:ext>
            </a:extLst>
          </p:cNvPr>
          <p:cNvSpPr>
            <a:spLocks noGrp="1"/>
          </p:cNvSpPr>
          <p:nvPr>
            <p:ph type="body" sz="quarter" idx="11"/>
          </p:nvPr>
        </p:nvSpPr>
        <p:spPr>
          <a:xfrm>
            <a:off x="339725" y="4579525"/>
            <a:ext cx="3245039" cy="230187"/>
          </a:xfrm>
          <a:prstGeom prst="rect">
            <a:avLst/>
          </a:prstGeom>
          <a:solidFill>
            <a:schemeClr val="accent1"/>
          </a:solidFill>
          <a:ln w="6350">
            <a:noFill/>
          </a:ln>
        </p:spPr>
        <p:txBody>
          <a:bodyPr anchor="ctr">
            <a:noAutofit/>
          </a:bodyPr>
          <a:lstStyle>
            <a:lvl1pPr marL="0" indent="0">
              <a:buNone/>
              <a:defRPr sz="1400">
                <a:solidFill>
                  <a:schemeClr val="bg1"/>
                </a:solidFill>
                <a:latin typeface="+mn-lt"/>
              </a:defRPr>
            </a:lvl1pPr>
          </a:lstStyle>
          <a:p>
            <a:pPr lvl="0"/>
            <a:endParaRPr lang="en-SG"/>
          </a:p>
        </p:txBody>
      </p:sp>
      <p:sp>
        <p:nvSpPr>
          <p:cNvPr id="38" name="Text Placeholder 2">
            <a:extLst>
              <a:ext uri="{FF2B5EF4-FFF2-40B4-BE49-F238E27FC236}">
                <a16:creationId xmlns:a16="http://schemas.microsoft.com/office/drawing/2014/main" id="{C9E19915-8097-47BB-8BB0-5293D5032477}"/>
              </a:ext>
            </a:extLst>
          </p:cNvPr>
          <p:cNvSpPr>
            <a:spLocks noGrp="1"/>
          </p:cNvSpPr>
          <p:nvPr>
            <p:ph type="body" sz="quarter" idx="22"/>
          </p:nvPr>
        </p:nvSpPr>
        <p:spPr>
          <a:xfrm>
            <a:off x="8065008" y="1789601"/>
            <a:ext cx="3794637" cy="2575485"/>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20" name="Text Placeholder 25">
            <a:extLst>
              <a:ext uri="{FF2B5EF4-FFF2-40B4-BE49-F238E27FC236}">
                <a16:creationId xmlns:a16="http://schemas.microsoft.com/office/drawing/2014/main" id="{75DA62EB-8A50-4EE5-9A31-4DE890DFC490}"/>
              </a:ext>
            </a:extLst>
          </p:cNvPr>
          <p:cNvSpPr>
            <a:spLocks noGrp="1"/>
          </p:cNvSpPr>
          <p:nvPr>
            <p:ph type="body" sz="quarter" idx="23"/>
          </p:nvPr>
        </p:nvSpPr>
        <p:spPr>
          <a:xfrm>
            <a:off x="339725"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1" name="Text Placeholder 25">
            <a:extLst>
              <a:ext uri="{FF2B5EF4-FFF2-40B4-BE49-F238E27FC236}">
                <a16:creationId xmlns:a16="http://schemas.microsoft.com/office/drawing/2014/main" id="{DD22903C-F8B5-4886-9C11-64996E0B3243}"/>
              </a:ext>
            </a:extLst>
          </p:cNvPr>
          <p:cNvSpPr>
            <a:spLocks noGrp="1"/>
          </p:cNvSpPr>
          <p:nvPr>
            <p:ph type="body" sz="quarter" idx="24"/>
          </p:nvPr>
        </p:nvSpPr>
        <p:spPr>
          <a:xfrm>
            <a:off x="6268860" y="1160837"/>
            <a:ext cx="5583238"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Tree>
    <p:extLst>
      <p:ext uri="{BB962C8B-B14F-4D97-AF65-F5344CB8AC3E}">
        <p14:creationId xmlns:p14="http://schemas.microsoft.com/office/powerpoint/2010/main" val="299221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7" name="Text Placeholder 25">
            <a:extLst>
              <a:ext uri="{FF2B5EF4-FFF2-40B4-BE49-F238E27FC236}">
                <a16:creationId xmlns:a16="http://schemas.microsoft.com/office/drawing/2014/main" id="{01E39587-2188-4F23-B7E7-14ECCEF19E52}"/>
              </a:ext>
            </a:extLst>
          </p:cNvPr>
          <p:cNvSpPr>
            <a:spLocks noGrp="1"/>
          </p:cNvSpPr>
          <p:nvPr>
            <p:ph type="body" sz="quarter" idx="12"/>
          </p:nvPr>
        </p:nvSpPr>
        <p:spPr>
          <a:xfrm>
            <a:off x="339539" y="2723342"/>
            <a:ext cx="5583238" cy="230187"/>
          </a:xfrm>
          <a:prstGeom prst="rect">
            <a:avLst/>
          </a:prstGeom>
          <a:solidFill>
            <a:schemeClr val="tx2"/>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8" name="Text Placeholder 25">
            <a:extLst>
              <a:ext uri="{FF2B5EF4-FFF2-40B4-BE49-F238E27FC236}">
                <a16:creationId xmlns:a16="http://schemas.microsoft.com/office/drawing/2014/main" id="{4BC9D665-DBCD-473A-A684-8C0BE5CA551E}"/>
              </a:ext>
            </a:extLst>
          </p:cNvPr>
          <p:cNvSpPr>
            <a:spLocks noGrp="1"/>
          </p:cNvSpPr>
          <p:nvPr>
            <p:ph type="body" sz="quarter" idx="13"/>
          </p:nvPr>
        </p:nvSpPr>
        <p:spPr>
          <a:xfrm>
            <a:off x="339539" y="4516034"/>
            <a:ext cx="5583600" cy="230187"/>
          </a:xfrm>
          <a:prstGeom prst="rect">
            <a:avLst/>
          </a:prstGeom>
          <a:solidFill>
            <a:schemeClr val="tx2"/>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23" name="Freeform 22">
            <a:extLst>
              <a:ext uri="{FF2B5EF4-FFF2-40B4-BE49-F238E27FC236}">
                <a16:creationId xmlns:a16="http://schemas.microsoft.com/office/drawing/2014/main" id="{4FB9169C-658C-4FD5-8535-5228E346F802}"/>
              </a:ext>
            </a:extLst>
          </p:cNvPr>
          <p:cNvSpPr>
            <a:spLocks/>
          </p:cNvSpPr>
          <p:nvPr userDrawn="1"/>
        </p:nvSpPr>
        <p:spPr bwMode="auto">
          <a:xfrm>
            <a:off x="6283568" y="3286628"/>
            <a:ext cx="5580000" cy="1066800"/>
          </a:xfrm>
          <a:custGeom>
            <a:avLst/>
            <a:gdLst>
              <a:gd name="T0" fmla="*/ 2234 w 2250"/>
              <a:gd name="T1" fmla="*/ 0 h 1183"/>
              <a:gd name="T2" fmla="*/ 2250 w 2250"/>
              <a:gd name="T3" fmla="*/ 72 h 1183"/>
              <a:gd name="T4" fmla="*/ 2235 w 2250"/>
              <a:gd name="T5" fmla="*/ 165 h 1183"/>
              <a:gd name="T6" fmla="*/ 2233 w 2250"/>
              <a:gd name="T7" fmla="*/ 228 h 1183"/>
              <a:gd name="T8" fmla="*/ 2243 w 2250"/>
              <a:gd name="T9" fmla="*/ 298 h 1183"/>
              <a:gd name="T10" fmla="*/ 2231 w 2250"/>
              <a:gd name="T11" fmla="*/ 436 h 1183"/>
              <a:gd name="T12" fmla="*/ 2222 w 2250"/>
              <a:gd name="T13" fmla="*/ 567 h 1183"/>
              <a:gd name="T14" fmla="*/ 2222 w 2250"/>
              <a:gd name="T15" fmla="*/ 773 h 1183"/>
              <a:gd name="T16" fmla="*/ 2224 w 2250"/>
              <a:gd name="T17" fmla="*/ 893 h 1183"/>
              <a:gd name="T18" fmla="*/ 2212 w 2250"/>
              <a:gd name="T19" fmla="*/ 1063 h 1183"/>
              <a:gd name="T20" fmla="*/ 2214 w 2250"/>
              <a:gd name="T21" fmla="*/ 1132 h 1183"/>
              <a:gd name="T22" fmla="*/ 2183 w 2250"/>
              <a:gd name="T23" fmla="*/ 1132 h 1183"/>
              <a:gd name="T24" fmla="*/ 2116 w 2250"/>
              <a:gd name="T25" fmla="*/ 1156 h 1183"/>
              <a:gd name="T26" fmla="*/ 2014 w 2250"/>
              <a:gd name="T27" fmla="*/ 1132 h 1183"/>
              <a:gd name="T28" fmla="*/ 1969 w 2250"/>
              <a:gd name="T29" fmla="*/ 1128 h 1183"/>
              <a:gd name="T30" fmla="*/ 1905 w 2250"/>
              <a:gd name="T31" fmla="*/ 1124 h 1183"/>
              <a:gd name="T32" fmla="*/ 1839 w 2250"/>
              <a:gd name="T33" fmla="*/ 1138 h 1183"/>
              <a:gd name="T34" fmla="*/ 1772 w 2250"/>
              <a:gd name="T35" fmla="*/ 1134 h 1183"/>
              <a:gd name="T36" fmla="*/ 1714 w 2250"/>
              <a:gd name="T37" fmla="*/ 1105 h 1183"/>
              <a:gd name="T38" fmla="*/ 1651 w 2250"/>
              <a:gd name="T39" fmla="*/ 1093 h 1183"/>
              <a:gd name="T40" fmla="*/ 1614 w 2250"/>
              <a:gd name="T41" fmla="*/ 1118 h 1183"/>
              <a:gd name="T42" fmla="*/ 1467 w 2250"/>
              <a:gd name="T43" fmla="*/ 1114 h 1183"/>
              <a:gd name="T44" fmla="*/ 1379 w 2250"/>
              <a:gd name="T45" fmla="*/ 1112 h 1183"/>
              <a:gd name="T46" fmla="*/ 1251 w 2250"/>
              <a:gd name="T47" fmla="*/ 1122 h 1183"/>
              <a:gd name="T48" fmla="*/ 1180 w 2250"/>
              <a:gd name="T49" fmla="*/ 1142 h 1183"/>
              <a:gd name="T50" fmla="*/ 1010 w 2250"/>
              <a:gd name="T51" fmla="*/ 1134 h 1183"/>
              <a:gd name="T52" fmla="*/ 994 w 2250"/>
              <a:gd name="T53" fmla="*/ 1152 h 1183"/>
              <a:gd name="T54" fmla="*/ 910 w 2250"/>
              <a:gd name="T55" fmla="*/ 1156 h 1183"/>
              <a:gd name="T56" fmla="*/ 906 w 2250"/>
              <a:gd name="T57" fmla="*/ 1134 h 1183"/>
              <a:gd name="T58" fmla="*/ 805 w 2250"/>
              <a:gd name="T59" fmla="*/ 1148 h 1183"/>
              <a:gd name="T60" fmla="*/ 762 w 2250"/>
              <a:gd name="T61" fmla="*/ 1144 h 1183"/>
              <a:gd name="T62" fmla="*/ 735 w 2250"/>
              <a:gd name="T63" fmla="*/ 1183 h 1183"/>
              <a:gd name="T64" fmla="*/ 674 w 2250"/>
              <a:gd name="T65" fmla="*/ 1177 h 1183"/>
              <a:gd name="T66" fmla="*/ 585 w 2250"/>
              <a:gd name="T67" fmla="*/ 1161 h 1183"/>
              <a:gd name="T68" fmla="*/ 555 w 2250"/>
              <a:gd name="T69" fmla="*/ 1142 h 1183"/>
              <a:gd name="T70" fmla="*/ 537 w 2250"/>
              <a:gd name="T71" fmla="*/ 1128 h 1183"/>
              <a:gd name="T72" fmla="*/ 510 w 2250"/>
              <a:gd name="T73" fmla="*/ 1152 h 1183"/>
              <a:gd name="T74" fmla="*/ 417 w 2250"/>
              <a:gd name="T75" fmla="*/ 1167 h 1183"/>
              <a:gd name="T76" fmla="*/ 410 w 2250"/>
              <a:gd name="T77" fmla="*/ 1159 h 1183"/>
              <a:gd name="T78" fmla="*/ 369 w 2250"/>
              <a:gd name="T79" fmla="*/ 1105 h 1183"/>
              <a:gd name="T80" fmla="*/ 316 w 2250"/>
              <a:gd name="T81" fmla="*/ 1085 h 1183"/>
              <a:gd name="T82" fmla="*/ 239 w 2250"/>
              <a:gd name="T83" fmla="*/ 1077 h 1183"/>
              <a:gd name="T84" fmla="*/ 162 w 2250"/>
              <a:gd name="T85" fmla="*/ 1050 h 1183"/>
              <a:gd name="T86" fmla="*/ 52 w 2250"/>
              <a:gd name="T87" fmla="*/ 1065 h 1183"/>
              <a:gd name="T88" fmla="*/ 1 w 2250"/>
              <a:gd name="T89" fmla="*/ 1065 h 1183"/>
              <a:gd name="T90" fmla="*/ 0 w 2250"/>
              <a:gd name="T91" fmla="*/ 0 h 1183"/>
              <a:gd name="T92" fmla="*/ 2234 w 2250"/>
              <a:gd name="T93"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0" h="1183">
                <a:moveTo>
                  <a:pt x="2234" y="0"/>
                </a:moveTo>
                <a:lnTo>
                  <a:pt x="2250" y="72"/>
                </a:lnTo>
                <a:lnTo>
                  <a:pt x="2235" y="165"/>
                </a:lnTo>
                <a:lnTo>
                  <a:pt x="2233" y="228"/>
                </a:lnTo>
                <a:lnTo>
                  <a:pt x="2243" y="298"/>
                </a:lnTo>
                <a:lnTo>
                  <a:pt x="2231" y="436"/>
                </a:lnTo>
                <a:lnTo>
                  <a:pt x="2222" y="567"/>
                </a:lnTo>
                <a:lnTo>
                  <a:pt x="2222" y="773"/>
                </a:lnTo>
                <a:lnTo>
                  <a:pt x="2224" y="893"/>
                </a:lnTo>
                <a:lnTo>
                  <a:pt x="2212" y="1063"/>
                </a:lnTo>
                <a:lnTo>
                  <a:pt x="2214" y="1132"/>
                </a:lnTo>
                <a:lnTo>
                  <a:pt x="2183" y="1132"/>
                </a:lnTo>
                <a:lnTo>
                  <a:pt x="2116" y="1156"/>
                </a:lnTo>
                <a:lnTo>
                  <a:pt x="2014" y="1132"/>
                </a:lnTo>
                <a:lnTo>
                  <a:pt x="1969" y="1128"/>
                </a:lnTo>
                <a:lnTo>
                  <a:pt x="1905" y="1124"/>
                </a:lnTo>
                <a:lnTo>
                  <a:pt x="1839" y="1138"/>
                </a:lnTo>
                <a:lnTo>
                  <a:pt x="1772" y="1134"/>
                </a:lnTo>
                <a:lnTo>
                  <a:pt x="1714" y="1105"/>
                </a:lnTo>
                <a:lnTo>
                  <a:pt x="1651" y="1093"/>
                </a:lnTo>
                <a:lnTo>
                  <a:pt x="1614" y="1118"/>
                </a:lnTo>
                <a:lnTo>
                  <a:pt x="1467" y="1114"/>
                </a:lnTo>
                <a:lnTo>
                  <a:pt x="1379" y="1112"/>
                </a:lnTo>
                <a:lnTo>
                  <a:pt x="1251" y="1122"/>
                </a:lnTo>
                <a:lnTo>
                  <a:pt x="1180" y="1142"/>
                </a:lnTo>
                <a:lnTo>
                  <a:pt x="1010" y="1134"/>
                </a:lnTo>
                <a:lnTo>
                  <a:pt x="994" y="1152"/>
                </a:lnTo>
                <a:lnTo>
                  <a:pt x="910" y="1156"/>
                </a:lnTo>
                <a:lnTo>
                  <a:pt x="906" y="1134"/>
                </a:lnTo>
                <a:lnTo>
                  <a:pt x="805" y="1148"/>
                </a:lnTo>
                <a:lnTo>
                  <a:pt x="762" y="1144"/>
                </a:lnTo>
                <a:lnTo>
                  <a:pt x="735" y="1183"/>
                </a:lnTo>
                <a:lnTo>
                  <a:pt x="674" y="1177"/>
                </a:lnTo>
                <a:lnTo>
                  <a:pt x="585" y="1161"/>
                </a:lnTo>
                <a:lnTo>
                  <a:pt x="555" y="1142"/>
                </a:lnTo>
                <a:lnTo>
                  <a:pt x="537" y="1128"/>
                </a:lnTo>
                <a:lnTo>
                  <a:pt x="510" y="1152"/>
                </a:lnTo>
                <a:lnTo>
                  <a:pt x="417" y="1167"/>
                </a:lnTo>
                <a:lnTo>
                  <a:pt x="410" y="1159"/>
                </a:lnTo>
                <a:lnTo>
                  <a:pt x="369" y="1105"/>
                </a:lnTo>
                <a:lnTo>
                  <a:pt x="316" y="1085"/>
                </a:lnTo>
                <a:lnTo>
                  <a:pt x="239" y="1077"/>
                </a:lnTo>
                <a:lnTo>
                  <a:pt x="162" y="1050"/>
                </a:lnTo>
                <a:lnTo>
                  <a:pt x="52" y="1065"/>
                </a:lnTo>
                <a:lnTo>
                  <a:pt x="1" y="1065"/>
                </a:lnTo>
                <a:lnTo>
                  <a:pt x="0" y="0"/>
                </a:lnTo>
                <a:lnTo>
                  <a:pt x="2234" y="0"/>
                </a:lnTo>
                <a:close/>
              </a:path>
            </a:pathLst>
          </a:custGeom>
          <a:solidFill>
            <a:schemeClr val="accent1">
              <a:lumMod val="20000"/>
              <a:lumOff val="80000"/>
            </a:schemeClr>
          </a:solidFill>
          <a:ln w="6350" cap="rnd" cmpd="sng">
            <a:noFill/>
            <a:prstDash val="solid"/>
            <a:round/>
            <a:headEnd type="none" w="med" len="med"/>
            <a:tailEnd type="none" w="med" len="med"/>
          </a:ln>
          <a:effectLst/>
        </p:spPr>
        <p:txBody>
          <a:bodyPr wrap="square">
            <a:spAutoFit/>
          </a:bodyPr>
          <a:lstStyle/>
          <a:p>
            <a:endParaRPr lang="en-SG"/>
          </a:p>
        </p:txBody>
      </p:sp>
      <p:sp>
        <p:nvSpPr>
          <p:cNvPr id="29" name="Freeform 22">
            <a:extLst>
              <a:ext uri="{FF2B5EF4-FFF2-40B4-BE49-F238E27FC236}">
                <a16:creationId xmlns:a16="http://schemas.microsoft.com/office/drawing/2014/main" id="{8C86B1DC-D928-4089-AF6F-99698EAF4163}"/>
              </a:ext>
            </a:extLst>
          </p:cNvPr>
          <p:cNvSpPr>
            <a:spLocks/>
          </p:cNvSpPr>
          <p:nvPr userDrawn="1"/>
        </p:nvSpPr>
        <p:spPr bwMode="auto">
          <a:xfrm>
            <a:off x="6283568" y="4991655"/>
            <a:ext cx="5580000" cy="1066800"/>
          </a:xfrm>
          <a:custGeom>
            <a:avLst/>
            <a:gdLst>
              <a:gd name="T0" fmla="*/ 2234 w 2250"/>
              <a:gd name="T1" fmla="*/ 0 h 1183"/>
              <a:gd name="T2" fmla="*/ 2250 w 2250"/>
              <a:gd name="T3" fmla="*/ 72 h 1183"/>
              <a:gd name="T4" fmla="*/ 2235 w 2250"/>
              <a:gd name="T5" fmla="*/ 165 h 1183"/>
              <a:gd name="T6" fmla="*/ 2233 w 2250"/>
              <a:gd name="T7" fmla="*/ 228 h 1183"/>
              <a:gd name="T8" fmla="*/ 2243 w 2250"/>
              <a:gd name="T9" fmla="*/ 298 h 1183"/>
              <a:gd name="T10" fmla="*/ 2231 w 2250"/>
              <a:gd name="T11" fmla="*/ 436 h 1183"/>
              <a:gd name="T12" fmla="*/ 2222 w 2250"/>
              <a:gd name="T13" fmla="*/ 567 h 1183"/>
              <a:gd name="T14" fmla="*/ 2222 w 2250"/>
              <a:gd name="T15" fmla="*/ 773 h 1183"/>
              <a:gd name="T16" fmla="*/ 2224 w 2250"/>
              <a:gd name="T17" fmla="*/ 893 h 1183"/>
              <a:gd name="T18" fmla="*/ 2212 w 2250"/>
              <a:gd name="T19" fmla="*/ 1063 h 1183"/>
              <a:gd name="T20" fmla="*/ 2214 w 2250"/>
              <a:gd name="T21" fmla="*/ 1132 h 1183"/>
              <a:gd name="T22" fmla="*/ 2183 w 2250"/>
              <a:gd name="T23" fmla="*/ 1132 h 1183"/>
              <a:gd name="T24" fmla="*/ 2116 w 2250"/>
              <a:gd name="T25" fmla="*/ 1156 h 1183"/>
              <a:gd name="T26" fmla="*/ 2014 w 2250"/>
              <a:gd name="T27" fmla="*/ 1132 h 1183"/>
              <a:gd name="T28" fmla="*/ 1969 w 2250"/>
              <a:gd name="T29" fmla="*/ 1128 h 1183"/>
              <a:gd name="T30" fmla="*/ 1905 w 2250"/>
              <a:gd name="T31" fmla="*/ 1124 h 1183"/>
              <a:gd name="T32" fmla="*/ 1839 w 2250"/>
              <a:gd name="T33" fmla="*/ 1138 h 1183"/>
              <a:gd name="T34" fmla="*/ 1772 w 2250"/>
              <a:gd name="T35" fmla="*/ 1134 h 1183"/>
              <a:gd name="T36" fmla="*/ 1714 w 2250"/>
              <a:gd name="T37" fmla="*/ 1105 h 1183"/>
              <a:gd name="T38" fmla="*/ 1651 w 2250"/>
              <a:gd name="T39" fmla="*/ 1093 h 1183"/>
              <a:gd name="T40" fmla="*/ 1614 w 2250"/>
              <a:gd name="T41" fmla="*/ 1118 h 1183"/>
              <a:gd name="T42" fmla="*/ 1467 w 2250"/>
              <a:gd name="T43" fmla="*/ 1114 h 1183"/>
              <a:gd name="T44" fmla="*/ 1379 w 2250"/>
              <a:gd name="T45" fmla="*/ 1112 h 1183"/>
              <a:gd name="T46" fmla="*/ 1251 w 2250"/>
              <a:gd name="T47" fmla="*/ 1122 h 1183"/>
              <a:gd name="T48" fmla="*/ 1180 w 2250"/>
              <a:gd name="T49" fmla="*/ 1142 h 1183"/>
              <a:gd name="T50" fmla="*/ 1010 w 2250"/>
              <a:gd name="T51" fmla="*/ 1134 h 1183"/>
              <a:gd name="T52" fmla="*/ 994 w 2250"/>
              <a:gd name="T53" fmla="*/ 1152 h 1183"/>
              <a:gd name="T54" fmla="*/ 910 w 2250"/>
              <a:gd name="T55" fmla="*/ 1156 h 1183"/>
              <a:gd name="T56" fmla="*/ 906 w 2250"/>
              <a:gd name="T57" fmla="*/ 1134 h 1183"/>
              <a:gd name="T58" fmla="*/ 805 w 2250"/>
              <a:gd name="T59" fmla="*/ 1148 h 1183"/>
              <a:gd name="T60" fmla="*/ 762 w 2250"/>
              <a:gd name="T61" fmla="*/ 1144 h 1183"/>
              <a:gd name="T62" fmla="*/ 735 w 2250"/>
              <a:gd name="T63" fmla="*/ 1183 h 1183"/>
              <a:gd name="T64" fmla="*/ 674 w 2250"/>
              <a:gd name="T65" fmla="*/ 1177 h 1183"/>
              <a:gd name="T66" fmla="*/ 585 w 2250"/>
              <a:gd name="T67" fmla="*/ 1161 h 1183"/>
              <a:gd name="T68" fmla="*/ 555 w 2250"/>
              <a:gd name="T69" fmla="*/ 1142 h 1183"/>
              <a:gd name="T70" fmla="*/ 537 w 2250"/>
              <a:gd name="T71" fmla="*/ 1128 h 1183"/>
              <a:gd name="T72" fmla="*/ 510 w 2250"/>
              <a:gd name="T73" fmla="*/ 1152 h 1183"/>
              <a:gd name="T74" fmla="*/ 417 w 2250"/>
              <a:gd name="T75" fmla="*/ 1167 h 1183"/>
              <a:gd name="T76" fmla="*/ 410 w 2250"/>
              <a:gd name="T77" fmla="*/ 1159 h 1183"/>
              <a:gd name="T78" fmla="*/ 369 w 2250"/>
              <a:gd name="T79" fmla="*/ 1105 h 1183"/>
              <a:gd name="T80" fmla="*/ 316 w 2250"/>
              <a:gd name="T81" fmla="*/ 1085 h 1183"/>
              <a:gd name="T82" fmla="*/ 239 w 2250"/>
              <a:gd name="T83" fmla="*/ 1077 h 1183"/>
              <a:gd name="T84" fmla="*/ 162 w 2250"/>
              <a:gd name="T85" fmla="*/ 1050 h 1183"/>
              <a:gd name="T86" fmla="*/ 52 w 2250"/>
              <a:gd name="T87" fmla="*/ 1065 h 1183"/>
              <a:gd name="T88" fmla="*/ 1 w 2250"/>
              <a:gd name="T89" fmla="*/ 1065 h 1183"/>
              <a:gd name="T90" fmla="*/ 0 w 2250"/>
              <a:gd name="T91" fmla="*/ 0 h 1183"/>
              <a:gd name="T92" fmla="*/ 2234 w 2250"/>
              <a:gd name="T93"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0" h="1183">
                <a:moveTo>
                  <a:pt x="2234" y="0"/>
                </a:moveTo>
                <a:lnTo>
                  <a:pt x="2250" y="72"/>
                </a:lnTo>
                <a:lnTo>
                  <a:pt x="2235" y="165"/>
                </a:lnTo>
                <a:lnTo>
                  <a:pt x="2233" y="228"/>
                </a:lnTo>
                <a:lnTo>
                  <a:pt x="2243" y="298"/>
                </a:lnTo>
                <a:lnTo>
                  <a:pt x="2231" y="436"/>
                </a:lnTo>
                <a:lnTo>
                  <a:pt x="2222" y="567"/>
                </a:lnTo>
                <a:lnTo>
                  <a:pt x="2222" y="773"/>
                </a:lnTo>
                <a:lnTo>
                  <a:pt x="2224" y="893"/>
                </a:lnTo>
                <a:lnTo>
                  <a:pt x="2212" y="1063"/>
                </a:lnTo>
                <a:lnTo>
                  <a:pt x="2214" y="1132"/>
                </a:lnTo>
                <a:lnTo>
                  <a:pt x="2183" y="1132"/>
                </a:lnTo>
                <a:lnTo>
                  <a:pt x="2116" y="1156"/>
                </a:lnTo>
                <a:lnTo>
                  <a:pt x="2014" y="1132"/>
                </a:lnTo>
                <a:lnTo>
                  <a:pt x="1969" y="1128"/>
                </a:lnTo>
                <a:lnTo>
                  <a:pt x="1905" y="1124"/>
                </a:lnTo>
                <a:lnTo>
                  <a:pt x="1839" y="1138"/>
                </a:lnTo>
                <a:lnTo>
                  <a:pt x="1772" y="1134"/>
                </a:lnTo>
                <a:lnTo>
                  <a:pt x="1714" y="1105"/>
                </a:lnTo>
                <a:lnTo>
                  <a:pt x="1651" y="1093"/>
                </a:lnTo>
                <a:lnTo>
                  <a:pt x="1614" y="1118"/>
                </a:lnTo>
                <a:lnTo>
                  <a:pt x="1467" y="1114"/>
                </a:lnTo>
                <a:lnTo>
                  <a:pt x="1379" y="1112"/>
                </a:lnTo>
                <a:lnTo>
                  <a:pt x="1251" y="1122"/>
                </a:lnTo>
                <a:lnTo>
                  <a:pt x="1180" y="1142"/>
                </a:lnTo>
                <a:lnTo>
                  <a:pt x="1010" y="1134"/>
                </a:lnTo>
                <a:lnTo>
                  <a:pt x="994" y="1152"/>
                </a:lnTo>
                <a:lnTo>
                  <a:pt x="910" y="1156"/>
                </a:lnTo>
                <a:lnTo>
                  <a:pt x="906" y="1134"/>
                </a:lnTo>
                <a:lnTo>
                  <a:pt x="805" y="1148"/>
                </a:lnTo>
                <a:lnTo>
                  <a:pt x="762" y="1144"/>
                </a:lnTo>
                <a:lnTo>
                  <a:pt x="735" y="1183"/>
                </a:lnTo>
                <a:lnTo>
                  <a:pt x="674" y="1177"/>
                </a:lnTo>
                <a:lnTo>
                  <a:pt x="585" y="1161"/>
                </a:lnTo>
                <a:lnTo>
                  <a:pt x="555" y="1142"/>
                </a:lnTo>
                <a:lnTo>
                  <a:pt x="537" y="1128"/>
                </a:lnTo>
                <a:lnTo>
                  <a:pt x="510" y="1152"/>
                </a:lnTo>
                <a:lnTo>
                  <a:pt x="417" y="1167"/>
                </a:lnTo>
                <a:lnTo>
                  <a:pt x="410" y="1159"/>
                </a:lnTo>
                <a:lnTo>
                  <a:pt x="369" y="1105"/>
                </a:lnTo>
                <a:lnTo>
                  <a:pt x="316" y="1085"/>
                </a:lnTo>
                <a:lnTo>
                  <a:pt x="239" y="1077"/>
                </a:lnTo>
                <a:lnTo>
                  <a:pt x="162" y="1050"/>
                </a:lnTo>
                <a:lnTo>
                  <a:pt x="52" y="1065"/>
                </a:lnTo>
                <a:lnTo>
                  <a:pt x="1" y="1065"/>
                </a:lnTo>
                <a:lnTo>
                  <a:pt x="0" y="0"/>
                </a:lnTo>
                <a:lnTo>
                  <a:pt x="2234" y="0"/>
                </a:lnTo>
                <a:close/>
              </a:path>
            </a:pathLst>
          </a:custGeom>
          <a:solidFill>
            <a:schemeClr val="accent1">
              <a:lumMod val="20000"/>
              <a:lumOff val="80000"/>
            </a:schemeClr>
          </a:solidFill>
          <a:ln w="6350" cap="rnd" cmpd="sng">
            <a:noFill/>
            <a:prstDash val="solid"/>
            <a:round/>
            <a:headEnd type="none" w="med" len="med"/>
            <a:tailEnd type="none" w="med" len="med"/>
          </a:ln>
          <a:effectLst/>
        </p:spPr>
        <p:txBody>
          <a:bodyPr wrap="square">
            <a:spAutoFit/>
          </a:bodyPr>
          <a:lstStyle/>
          <a:p>
            <a:endParaRPr lang="en-SG"/>
          </a:p>
        </p:txBody>
      </p:sp>
      <p:sp>
        <p:nvSpPr>
          <p:cNvPr id="32" name="Text Placeholder 2">
            <a:extLst>
              <a:ext uri="{FF2B5EF4-FFF2-40B4-BE49-F238E27FC236}">
                <a16:creationId xmlns:a16="http://schemas.microsoft.com/office/drawing/2014/main" id="{30093CDC-F3DB-46F5-B20C-6A865EE29C02}"/>
              </a:ext>
            </a:extLst>
          </p:cNvPr>
          <p:cNvSpPr>
            <a:spLocks noGrp="1"/>
          </p:cNvSpPr>
          <p:nvPr>
            <p:ph type="body" sz="quarter" idx="19"/>
          </p:nvPr>
        </p:nvSpPr>
        <p:spPr>
          <a:xfrm>
            <a:off x="6471920" y="5088595"/>
            <a:ext cx="5163399" cy="73471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5" name="Text Placeholder 2">
            <a:extLst>
              <a:ext uri="{FF2B5EF4-FFF2-40B4-BE49-F238E27FC236}">
                <a16:creationId xmlns:a16="http://schemas.microsoft.com/office/drawing/2014/main" id="{B0C4DB8A-867A-483E-91C1-CD175F0AD6A6}"/>
              </a:ext>
            </a:extLst>
          </p:cNvPr>
          <p:cNvSpPr>
            <a:spLocks noGrp="1"/>
          </p:cNvSpPr>
          <p:nvPr>
            <p:ph type="body" sz="quarter" idx="20"/>
          </p:nvPr>
        </p:nvSpPr>
        <p:spPr>
          <a:xfrm>
            <a:off x="6471920" y="3377791"/>
            <a:ext cx="5163399" cy="73471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37" name="Isosceles Triangle 36">
            <a:extLst>
              <a:ext uri="{FF2B5EF4-FFF2-40B4-BE49-F238E27FC236}">
                <a16:creationId xmlns:a16="http://schemas.microsoft.com/office/drawing/2014/main" id="{92670C13-8B9F-496A-B80F-2FFF94C8B1B7}"/>
              </a:ext>
            </a:extLst>
          </p:cNvPr>
          <p:cNvSpPr/>
          <p:nvPr userDrawn="1"/>
        </p:nvSpPr>
        <p:spPr>
          <a:xfrm rot="5400000">
            <a:off x="6004560" y="3704934"/>
            <a:ext cx="239111" cy="230184"/>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8" name="Isosceles Triangle 37">
            <a:extLst>
              <a:ext uri="{FF2B5EF4-FFF2-40B4-BE49-F238E27FC236}">
                <a16:creationId xmlns:a16="http://schemas.microsoft.com/office/drawing/2014/main" id="{320BE4CB-6E3D-4514-818A-68C1BB1626A2}"/>
              </a:ext>
            </a:extLst>
          </p:cNvPr>
          <p:cNvSpPr/>
          <p:nvPr userDrawn="1"/>
        </p:nvSpPr>
        <p:spPr>
          <a:xfrm rot="5400000">
            <a:off x="6004560" y="5382210"/>
            <a:ext cx="239111" cy="230184"/>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3" name="Freeform 22">
            <a:extLst>
              <a:ext uri="{FF2B5EF4-FFF2-40B4-BE49-F238E27FC236}">
                <a16:creationId xmlns:a16="http://schemas.microsoft.com/office/drawing/2014/main" id="{98677873-86FF-40B6-83C9-D3B9D27B8272}"/>
              </a:ext>
            </a:extLst>
          </p:cNvPr>
          <p:cNvSpPr>
            <a:spLocks/>
          </p:cNvSpPr>
          <p:nvPr userDrawn="1"/>
        </p:nvSpPr>
        <p:spPr bwMode="auto">
          <a:xfrm>
            <a:off x="6283568" y="1576783"/>
            <a:ext cx="5580000" cy="1066800"/>
          </a:xfrm>
          <a:custGeom>
            <a:avLst/>
            <a:gdLst>
              <a:gd name="T0" fmla="*/ 2234 w 2250"/>
              <a:gd name="T1" fmla="*/ 0 h 1183"/>
              <a:gd name="T2" fmla="*/ 2250 w 2250"/>
              <a:gd name="T3" fmla="*/ 72 h 1183"/>
              <a:gd name="T4" fmla="*/ 2235 w 2250"/>
              <a:gd name="T5" fmla="*/ 165 h 1183"/>
              <a:gd name="T6" fmla="*/ 2233 w 2250"/>
              <a:gd name="T7" fmla="*/ 228 h 1183"/>
              <a:gd name="T8" fmla="*/ 2243 w 2250"/>
              <a:gd name="T9" fmla="*/ 298 h 1183"/>
              <a:gd name="T10" fmla="*/ 2231 w 2250"/>
              <a:gd name="T11" fmla="*/ 436 h 1183"/>
              <a:gd name="T12" fmla="*/ 2222 w 2250"/>
              <a:gd name="T13" fmla="*/ 567 h 1183"/>
              <a:gd name="T14" fmla="*/ 2222 w 2250"/>
              <a:gd name="T15" fmla="*/ 773 h 1183"/>
              <a:gd name="T16" fmla="*/ 2224 w 2250"/>
              <a:gd name="T17" fmla="*/ 893 h 1183"/>
              <a:gd name="T18" fmla="*/ 2212 w 2250"/>
              <a:gd name="T19" fmla="*/ 1063 h 1183"/>
              <a:gd name="T20" fmla="*/ 2214 w 2250"/>
              <a:gd name="T21" fmla="*/ 1132 h 1183"/>
              <a:gd name="T22" fmla="*/ 2183 w 2250"/>
              <a:gd name="T23" fmla="*/ 1132 h 1183"/>
              <a:gd name="T24" fmla="*/ 2116 w 2250"/>
              <a:gd name="T25" fmla="*/ 1156 h 1183"/>
              <a:gd name="T26" fmla="*/ 2014 w 2250"/>
              <a:gd name="T27" fmla="*/ 1132 h 1183"/>
              <a:gd name="T28" fmla="*/ 1969 w 2250"/>
              <a:gd name="T29" fmla="*/ 1128 h 1183"/>
              <a:gd name="T30" fmla="*/ 1905 w 2250"/>
              <a:gd name="T31" fmla="*/ 1124 h 1183"/>
              <a:gd name="T32" fmla="*/ 1839 w 2250"/>
              <a:gd name="T33" fmla="*/ 1138 h 1183"/>
              <a:gd name="T34" fmla="*/ 1772 w 2250"/>
              <a:gd name="T35" fmla="*/ 1134 h 1183"/>
              <a:gd name="T36" fmla="*/ 1714 w 2250"/>
              <a:gd name="T37" fmla="*/ 1105 h 1183"/>
              <a:gd name="T38" fmla="*/ 1651 w 2250"/>
              <a:gd name="T39" fmla="*/ 1093 h 1183"/>
              <a:gd name="T40" fmla="*/ 1614 w 2250"/>
              <a:gd name="T41" fmla="*/ 1118 h 1183"/>
              <a:gd name="T42" fmla="*/ 1467 w 2250"/>
              <a:gd name="T43" fmla="*/ 1114 h 1183"/>
              <a:gd name="T44" fmla="*/ 1379 w 2250"/>
              <a:gd name="T45" fmla="*/ 1112 h 1183"/>
              <a:gd name="T46" fmla="*/ 1251 w 2250"/>
              <a:gd name="T47" fmla="*/ 1122 h 1183"/>
              <a:gd name="T48" fmla="*/ 1180 w 2250"/>
              <a:gd name="T49" fmla="*/ 1142 h 1183"/>
              <a:gd name="T50" fmla="*/ 1010 w 2250"/>
              <a:gd name="T51" fmla="*/ 1134 h 1183"/>
              <a:gd name="T52" fmla="*/ 994 w 2250"/>
              <a:gd name="T53" fmla="*/ 1152 h 1183"/>
              <a:gd name="T54" fmla="*/ 910 w 2250"/>
              <a:gd name="T55" fmla="*/ 1156 h 1183"/>
              <a:gd name="T56" fmla="*/ 906 w 2250"/>
              <a:gd name="T57" fmla="*/ 1134 h 1183"/>
              <a:gd name="T58" fmla="*/ 805 w 2250"/>
              <a:gd name="T59" fmla="*/ 1148 h 1183"/>
              <a:gd name="T60" fmla="*/ 762 w 2250"/>
              <a:gd name="T61" fmla="*/ 1144 h 1183"/>
              <a:gd name="T62" fmla="*/ 735 w 2250"/>
              <a:gd name="T63" fmla="*/ 1183 h 1183"/>
              <a:gd name="T64" fmla="*/ 674 w 2250"/>
              <a:gd name="T65" fmla="*/ 1177 h 1183"/>
              <a:gd name="T66" fmla="*/ 585 w 2250"/>
              <a:gd name="T67" fmla="*/ 1161 h 1183"/>
              <a:gd name="T68" fmla="*/ 555 w 2250"/>
              <a:gd name="T69" fmla="*/ 1142 h 1183"/>
              <a:gd name="T70" fmla="*/ 537 w 2250"/>
              <a:gd name="T71" fmla="*/ 1128 h 1183"/>
              <a:gd name="T72" fmla="*/ 510 w 2250"/>
              <a:gd name="T73" fmla="*/ 1152 h 1183"/>
              <a:gd name="T74" fmla="*/ 417 w 2250"/>
              <a:gd name="T75" fmla="*/ 1167 h 1183"/>
              <a:gd name="T76" fmla="*/ 410 w 2250"/>
              <a:gd name="T77" fmla="*/ 1159 h 1183"/>
              <a:gd name="T78" fmla="*/ 369 w 2250"/>
              <a:gd name="T79" fmla="*/ 1105 h 1183"/>
              <a:gd name="T80" fmla="*/ 316 w 2250"/>
              <a:gd name="T81" fmla="*/ 1085 h 1183"/>
              <a:gd name="T82" fmla="*/ 239 w 2250"/>
              <a:gd name="T83" fmla="*/ 1077 h 1183"/>
              <a:gd name="T84" fmla="*/ 162 w 2250"/>
              <a:gd name="T85" fmla="*/ 1050 h 1183"/>
              <a:gd name="T86" fmla="*/ 52 w 2250"/>
              <a:gd name="T87" fmla="*/ 1065 h 1183"/>
              <a:gd name="T88" fmla="*/ 1 w 2250"/>
              <a:gd name="T89" fmla="*/ 1065 h 1183"/>
              <a:gd name="T90" fmla="*/ 0 w 2250"/>
              <a:gd name="T91" fmla="*/ 0 h 1183"/>
              <a:gd name="T92" fmla="*/ 2234 w 2250"/>
              <a:gd name="T93"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0" h="1183">
                <a:moveTo>
                  <a:pt x="2234" y="0"/>
                </a:moveTo>
                <a:lnTo>
                  <a:pt x="2250" y="72"/>
                </a:lnTo>
                <a:lnTo>
                  <a:pt x="2235" y="165"/>
                </a:lnTo>
                <a:lnTo>
                  <a:pt x="2233" y="228"/>
                </a:lnTo>
                <a:lnTo>
                  <a:pt x="2243" y="298"/>
                </a:lnTo>
                <a:lnTo>
                  <a:pt x="2231" y="436"/>
                </a:lnTo>
                <a:lnTo>
                  <a:pt x="2222" y="567"/>
                </a:lnTo>
                <a:lnTo>
                  <a:pt x="2222" y="773"/>
                </a:lnTo>
                <a:lnTo>
                  <a:pt x="2224" y="893"/>
                </a:lnTo>
                <a:lnTo>
                  <a:pt x="2212" y="1063"/>
                </a:lnTo>
                <a:lnTo>
                  <a:pt x="2214" y="1132"/>
                </a:lnTo>
                <a:lnTo>
                  <a:pt x="2183" y="1132"/>
                </a:lnTo>
                <a:lnTo>
                  <a:pt x="2116" y="1156"/>
                </a:lnTo>
                <a:lnTo>
                  <a:pt x="2014" y="1132"/>
                </a:lnTo>
                <a:lnTo>
                  <a:pt x="1969" y="1128"/>
                </a:lnTo>
                <a:lnTo>
                  <a:pt x="1905" y="1124"/>
                </a:lnTo>
                <a:lnTo>
                  <a:pt x="1839" y="1138"/>
                </a:lnTo>
                <a:lnTo>
                  <a:pt x="1772" y="1134"/>
                </a:lnTo>
                <a:lnTo>
                  <a:pt x="1714" y="1105"/>
                </a:lnTo>
                <a:lnTo>
                  <a:pt x="1651" y="1093"/>
                </a:lnTo>
                <a:lnTo>
                  <a:pt x="1614" y="1118"/>
                </a:lnTo>
                <a:lnTo>
                  <a:pt x="1467" y="1114"/>
                </a:lnTo>
                <a:lnTo>
                  <a:pt x="1379" y="1112"/>
                </a:lnTo>
                <a:lnTo>
                  <a:pt x="1251" y="1122"/>
                </a:lnTo>
                <a:lnTo>
                  <a:pt x="1180" y="1142"/>
                </a:lnTo>
                <a:lnTo>
                  <a:pt x="1010" y="1134"/>
                </a:lnTo>
                <a:lnTo>
                  <a:pt x="994" y="1152"/>
                </a:lnTo>
                <a:lnTo>
                  <a:pt x="910" y="1156"/>
                </a:lnTo>
                <a:lnTo>
                  <a:pt x="906" y="1134"/>
                </a:lnTo>
                <a:lnTo>
                  <a:pt x="805" y="1148"/>
                </a:lnTo>
                <a:lnTo>
                  <a:pt x="762" y="1144"/>
                </a:lnTo>
                <a:lnTo>
                  <a:pt x="735" y="1183"/>
                </a:lnTo>
                <a:lnTo>
                  <a:pt x="674" y="1177"/>
                </a:lnTo>
                <a:lnTo>
                  <a:pt x="585" y="1161"/>
                </a:lnTo>
                <a:lnTo>
                  <a:pt x="555" y="1142"/>
                </a:lnTo>
                <a:lnTo>
                  <a:pt x="537" y="1128"/>
                </a:lnTo>
                <a:lnTo>
                  <a:pt x="510" y="1152"/>
                </a:lnTo>
                <a:lnTo>
                  <a:pt x="417" y="1167"/>
                </a:lnTo>
                <a:lnTo>
                  <a:pt x="410" y="1159"/>
                </a:lnTo>
                <a:lnTo>
                  <a:pt x="369" y="1105"/>
                </a:lnTo>
                <a:lnTo>
                  <a:pt x="316" y="1085"/>
                </a:lnTo>
                <a:lnTo>
                  <a:pt x="239" y="1077"/>
                </a:lnTo>
                <a:lnTo>
                  <a:pt x="162" y="1050"/>
                </a:lnTo>
                <a:lnTo>
                  <a:pt x="52" y="1065"/>
                </a:lnTo>
                <a:lnTo>
                  <a:pt x="1" y="1065"/>
                </a:lnTo>
                <a:lnTo>
                  <a:pt x="0" y="0"/>
                </a:lnTo>
                <a:lnTo>
                  <a:pt x="2234" y="0"/>
                </a:lnTo>
                <a:close/>
              </a:path>
            </a:pathLst>
          </a:custGeom>
          <a:solidFill>
            <a:schemeClr val="accent1">
              <a:lumMod val="20000"/>
              <a:lumOff val="80000"/>
            </a:schemeClr>
          </a:solidFill>
          <a:ln w="6350" cap="rnd" cmpd="sng">
            <a:noFill/>
            <a:prstDash val="solid"/>
            <a:round/>
            <a:headEnd type="none" w="med" len="med"/>
            <a:tailEnd type="none" w="med" len="med"/>
          </a:ln>
          <a:effectLst/>
        </p:spPr>
        <p:txBody>
          <a:bodyPr wrap="square">
            <a:spAutoFit/>
          </a:bodyPr>
          <a:lstStyle/>
          <a:p>
            <a:endParaRPr lang="en-SG"/>
          </a:p>
        </p:txBody>
      </p:sp>
      <p:sp>
        <p:nvSpPr>
          <p:cNvPr id="34" name="Isosceles Triangle 33">
            <a:extLst>
              <a:ext uri="{FF2B5EF4-FFF2-40B4-BE49-F238E27FC236}">
                <a16:creationId xmlns:a16="http://schemas.microsoft.com/office/drawing/2014/main" id="{EA2C3F50-59C7-4189-A630-A4D093AC4438}"/>
              </a:ext>
            </a:extLst>
          </p:cNvPr>
          <p:cNvSpPr/>
          <p:nvPr userDrawn="1"/>
        </p:nvSpPr>
        <p:spPr>
          <a:xfrm rot="5400000">
            <a:off x="6004560" y="1995089"/>
            <a:ext cx="239111" cy="230184"/>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0" name="Text Placeholder 25">
            <a:extLst>
              <a:ext uri="{FF2B5EF4-FFF2-40B4-BE49-F238E27FC236}">
                <a16:creationId xmlns:a16="http://schemas.microsoft.com/office/drawing/2014/main" id="{4CA97E15-5AC5-4426-88F9-D0FBEF025987}"/>
              </a:ext>
            </a:extLst>
          </p:cNvPr>
          <p:cNvSpPr>
            <a:spLocks noGrp="1"/>
          </p:cNvSpPr>
          <p:nvPr>
            <p:ph type="body" sz="quarter" idx="11"/>
          </p:nvPr>
        </p:nvSpPr>
        <p:spPr>
          <a:xfrm>
            <a:off x="339725" y="1160837"/>
            <a:ext cx="5583238" cy="230187"/>
          </a:xfrm>
          <a:prstGeom prst="rect">
            <a:avLst/>
          </a:prstGeom>
          <a:solidFill>
            <a:schemeClr val="tx2"/>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42" name="Text Placeholder 25">
            <a:extLst>
              <a:ext uri="{FF2B5EF4-FFF2-40B4-BE49-F238E27FC236}">
                <a16:creationId xmlns:a16="http://schemas.microsoft.com/office/drawing/2014/main" id="{9CF615B5-DC93-4FB1-B344-2352C0BF859D}"/>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cxnSp>
        <p:nvCxnSpPr>
          <p:cNvPr id="43" name="Straight Connector 42">
            <a:extLst>
              <a:ext uri="{FF2B5EF4-FFF2-40B4-BE49-F238E27FC236}">
                <a16:creationId xmlns:a16="http://schemas.microsoft.com/office/drawing/2014/main" id="{82847149-7127-4EDA-8E86-4DE0904AB6E3}"/>
              </a:ext>
            </a:extLst>
          </p:cNvPr>
          <p:cNvCxnSpPr>
            <a:cxnSpLocks/>
          </p:cNvCxnSpPr>
          <p:nvPr userDrawn="1"/>
        </p:nvCxnSpPr>
        <p:spPr>
          <a:xfrm>
            <a:off x="-267126" y="1160837"/>
            <a:ext cx="12649200"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AA8A3BE4-1EE9-4571-A4C8-72516BF831EF}"/>
              </a:ext>
            </a:extLst>
          </p:cNvPr>
          <p:cNvSpPr>
            <a:spLocks noGrp="1"/>
          </p:cNvSpPr>
          <p:nvPr>
            <p:ph type="body" sz="quarter" idx="21"/>
          </p:nvPr>
        </p:nvSpPr>
        <p:spPr>
          <a:xfrm>
            <a:off x="6471920" y="1667298"/>
            <a:ext cx="5163399" cy="73471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Tree>
    <p:extLst>
      <p:ext uri="{BB962C8B-B14F-4D97-AF65-F5344CB8AC3E}">
        <p14:creationId xmlns:p14="http://schemas.microsoft.com/office/powerpoint/2010/main" val="840234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8" name="Subtitle 2">
            <a:extLst>
              <a:ext uri="{FF2B5EF4-FFF2-40B4-BE49-F238E27FC236}">
                <a16:creationId xmlns:a16="http://schemas.microsoft.com/office/drawing/2014/main" id="{6B826DFE-DC81-4277-8C94-1B8F7A94EDF8}"/>
              </a:ext>
            </a:extLst>
          </p:cNvPr>
          <p:cNvSpPr txBox="1">
            <a:spLocks/>
          </p:cNvSpPr>
          <p:nvPr userDrawn="1"/>
        </p:nvSpPr>
        <p:spPr>
          <a:xfrm>
            <a:off x="6283568" y="1906952"/>
            <a:ext cx="557894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a:p>
        </p:txBody>
      </p:sp>
      <p:sp>
        <p:nvSpPr>
          <p:cNvPr id="24" name="Slide Number Placeholder 2">
            <a:extLst>
              <a:ext uri="{FF2B5EF4-FFF2-40B4-BE49-F238E27FC236}">
                <a16:creationId xmlns:a16="http://schemas.microsoft.com/office/drawing/2014/main" id="{6BB332D9-4734-4655-85AD-734C96D47A1E}"/>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F5D0115F-629B-413B-A4C8-7182E324E1C4}" type="slidenum">
              <a:rPr lang="en-SG" smtClean="0"/>
              <a:pPr/>
              <a:t>‹#›</a:t>
            </a:fld>
            <a:endParaRPr lang="en-SG"/>
          </a:p>
        </p:txBody>
      </p:sp>
      <p:sp>
        <p:nvSpPr>
          <p:cNvPr id="25" name="Title 1">
            <a:extLst>
              <a:ext uri="{FF2B5EF4-FFF2-40B4-BE49-F238E27FC236}">
                <a16:creationId xmlns:a16="http://schemas.microsoft.com/office/drawing/2014/main" id="{5F4CDDE8-9888-43F3-9A68-BCE2F61916FD}"/>
              </a:ext>
            </a:extLst>
          </p:cNvPr>
          <p:cNvSpPr>
            <a:spLocks noGrp="1"/>
          </p:cNvSpPr>
          <p:nvPr>
            <p:ph type="title"/>
          </p:nvPr>
        </p:nvSpPr>
        <p:spPr>
          <a:xfrm>
            <a:off x="339539" y="157042"/>
            <a:ext cx="11518949" cy="335324"/>
          </a:xfrm>
          <a:prstGeom prst="rect">
            <a:avLst/>
          </a:prstGeom>
        </p:spPr>
        <p:txBody>
          <a:bodyPr/>
          <a:lstStyle>
            <a:lvl1pPr>
              <a:defRPr sz="2000"/>
            </a:lvl1pPr>
          </a:lstStyle>
          <a:p>
            <a:r>
              <a:rPr lang="en-US"/>
              <a:t>Click to edit Master title style</a:t>
            </a:r>
            <a:endParaRPr lang="en-SG"/>
          </a:p>
        </p:txBody>
      </p:sp>
      <p:sp>
        <p:nvSpPr>
          <p:cNvPr id="30" name="Line 34">
            <a:extLst>
              <a:ext uri="{FF2B5EF4-FFF2-40B4-BE49-F238E27FC236}">
                <a16:creationId xmlns:a16="http://schemas.microsoft.com/office/drawing/2014/main" id="{D605E068-EFFB-4E15-82D5-CB7F6887A1AB}"/>
              </a:ext>
            </a:extLst>
          </p:cNvPr>
          <p:cNvSpPr>
            <a:spLocks noChangeShapeType="1"/>
          </p:cNvSpPr>
          <p:nvPr userDrawn="1"/>
        </p:nvSpPr>
        <p:spPr bwMode="auto">
          <a:xfrm>
            <a:off x="340696" y="105354"/>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31" name="Line 35">
            <a:extLst>
              <a:ext uri="{FF2B5EF4-FFF2-40B4-BE49-F238E27FC236}">
                <a16:creationId xmlns:a16="http://schemas.microsoft.com/office/drawing/2014/main" id="{B2BF7238-F553-427C-9435-8299CC7AAC65}"/>
              </a:ext>
            </a:extLst>
          </p:cNvPr>
          <p:cNvSpPr>
            <a:spLocks noChangeShapeType="1"/>
          </p:cNvSpPr>
          <p:nvPr userDrawn="1"/>
        </p:nvSpPr>
        <p:spPr bwMode="auto">
          <a:xfrm>
            <a:off x="340696" y="546289"/>
            <a:ext cx="1151894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a:p>
        </p:txBody>
      </p:sp>
      <p:sp>
        <p:nvSpPr>
          <p:cNvPr id="46" name="Text Placeholder 2">
            <a:extLst>
              <a:ext uri="{FF2B5EF4-FFF2-40B4-BE49-F238E27FC236}">
                <a16:creationId xmlns:a16="http://schemas.microsoft.com/office/drawing/2014/main" id="{349D0D54-97D9-48B4-B022-B1D9CD64CDF5}"/>
              </a:ext>
            </a:extLst>
          </p:cNvPr>
          <p:cNvSpPr>
            <a:spLocks noGrp="1"/>
          </p:cNvSpPr>
          <p:nvPr>
            <p:ph type="body" sz="quarter" idx="21"/>
          </p:nvPr>
        </p:nvSpPr>
        <p:spPr>
          <a:xfrm>
            <a:off x="3754438" y="4415604"/>
            <a:ext cx="8105207"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48" name="Text Placeholder 2">
            <a:extLst>
              <a:ext uri="{FF2B5EF4-FFF2-40B4-BE49-F238E27FC236}">
                <a16:creationId xmlns:a16="http://schemas.microsoft.com/office/drawing/2014/main" id="{7861A009-94BF-48A8-9047-97067FF8A8B5}"/>
              </a:ext>
            </a:extLst>
          </p:cNvPr>
          <p:cNvSpPr>
            <a:spLocks noGrp="1"/>
          </p:cNvSpPr>
          <p:nvPr>
            <p:ph type="body" sz="quarter" idx="23"/>
          </p:nvPr>
        </p:nvSpPr>
        <p:spPr>
          <a:xfrm>
            <a:off x="339726" y="4415604"/>
            <a:ext cx="3236594" cy="117140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27" name="Text Placeholder 25">
            <a:extLst>
              <a:ext uri="{FF2B5EF4-FFF2-40B4-BE49-F238E27FC236}">
                <a16:creationId xmlns:a16="http://schemas.microsoft.com/office/drawing/2014/main" id="{0595405A-65D2-4D63-B1B7-F50D1067EF09}"/>
              </a:ext>
            </a:extLst>
          </p:cNvPr>
          <p:cNvSpPr>
            <a:spLocks noGrp="1"/>
          </p:cNvSpPr>
          <p:nvPr>
            <p:ph type="body" sz="quarter" idx="11"/>
          </p:nvPr>
        </p:nvSpPr>
        <p:spPr>
          <a:xfrm>
            <a:off x="339725" y="1160837"/>
            <a:ext cx="32436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latin typeface="+mn-lt"/>
              </a:defRPr>
            </a:lvl1pPr>
          </a:lstStyle>
          <a:p>
            <a:pPr lvl="0"/>
            <a:endParaRPr lang="en-SG"/>
          </a:p>
        </p:txBody>
      </p:sp>
      <p:sp>
        <p:nvSpPr>
          <p:cNvPr id="29" name="Text Placeholder 25">
            <a:extLst>
              <a:ext uri="{FF2B5EF4-FFF2-40B4-BE49-F238E27FC236}">
                <a16:creationId xmlns:a16="http://schemas.microsoft.com/office/drawing/2014/main" id="{F7DFFF8E-871B-4E01-842A-8BD1CC3447D5}"/>
              </a:ext>
            </a:extLst>
          </p:cNvPr>
          <p:cNvSpPr>
            <a:spLocks noGrp="1"/>
          </p:cNvSpPr>
          <p:nvPr>
            <p:ph type="body" sz="quarter" idx="15"/>
          </p:nvPr>
        </p:nvSpPr>
        <p:spPr>
          <a:xfrm>
            <a:off x="339725" y="738470"/>
            <a:ext cx="11512550" cy="230187"/>
          </a:xfrm>
          <a:prstGeom prst="rect">
            <a:avLst/>
          </a:prstGeom>
          <a:noFill/>
          <a:ln>
            <a:solidFill>
              <a:schemeClr val="tx1"/>
            </a:solidFill>
          </a:ln>
        </p:spPr>
        <p:txBody>
          <a:bodyPr anchor="ctr">
            <a:noAutofit/>
          </a:bodyPr>
          <a:lstStyle>
            <a:lvl1pPr marL="0" indent="0">
              <a:buNone/>
              <a:defRPr sz="1200">
                <a:solidFill>
                  <a:schemeClr val="tx1"/>
                </a:solidFill>
                <a:latin typeface="+mn-lt"/>
              </a:defRPr>
            </a:lvl1pPr>
          </a:lstStyle>
          <a:p>
            <a:pPr lvl="0"/>
            <a:endParaRPr lang="en-SG"/>
          </a:p>
        </p:txBody>
      </p:sp>
      <p:sp>
        <p:nvSpPr>
          <p:cNvPr id="22" name="Text Placeholder 25">
            <a:extLst>
              <a:ext uri="{FF2B5EF4-FFF2-40B4-BE49-F238E27FC236}">
                <a16:creationId xmlns:a16="http://schemas.microsoft.com/office/drawing/2014/main" id="{0595405A-65D2-4D63-B1B7-F50D1067EF09}"/>
              </a:ext>
            </a:extLst>
          </p:cNvPr>
          <p:cNvSpPr>
            <a:spLocks noGrp="1"/>
          </p:cNvSpPr>
          <p:nvPr>
            <p:ph type="body" sz="quarter" idx="17"/>
          </p:nvPr>
        </p:nvSpPr>
        <p:spPr>
          <a:xfrm>
            <a:off x="3754438" y="1160463"/>
            <a:ext cx="4481512" cy="227012"/>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defRPr>
            </a:lvl1pPr>
            <a:lvl2pPr marL="457200" indent="0">
              <a:buNone/>
              <a:defRPr/>
            </a:lvl2pPr>
          </a:lstStyle>
          <a:p>
            <a:pPr lvl="0"/>
            <a:endParaRPr lang="en-US"/>
          </a:p>
        </p:txBody>
      </p:sp>
      <p:sp>
        <p:nvSpPr>
          <p:cNvPr id="23" name="Text Placeholder 25">
            <a:extLst>
              <a:ext uri="{FF2B5EF4-FFF2-40B4-BE49-F238E27FC236}">
                <a16:creationId xmlns:a16="http://schemas.microsoft.com/office/drawing/2014/main" id="{0595405A-65D2-4D63-B1B7-F50D1067EF09}"/>
              </a:ext>
            </a:extLst>
          </p:cNvPr>
          <p:cNvSpPr>
            <a:spLocks noGrp="1"/>
          </p:cNvSpPr>
          <p:nvPr>
            <p:ph type="body" sz="quarter" idx="19"/>
          </p:nvPr>
        </p:nvSpPr>
        <p:spPr>
          <a:xfrm>
            <a:off x="8418513" y="1160463"/>
            <a:ext cx="3441700" cy="230187"/>
          </a:xfrm>
          <a:prstGeom prst="rect">
            <a:avLst/>
          </a:prstGeom>
          <a:solidFill>
            <a:schemeClr val="accent1"/>
          </a:solidFill>
          <a:ln w="6350">
            <a:solidFill>
              <a:schemeClr val="bg2">
                <a:lumMod val="90000"/>
              </a:schemeClr>
            </a:solidFill>
          </a:ln>
        </p:spPr>
        <p:txBody>
          <a:bodyPr anchor="ctr">
            <a:noAutofit/>
          </a:bodyPr>
          <a:lstStyle>
            <a:lvl1pPr marL="0" indent="0">
              <a:buNone/>
              <a:defRPr sz="1400">
                <a:solidFill>
                  <a:schemeClr val="bg1"/>
                </a:solidFill>
              </a:defRPr>
            </a:lvl1pPr>
          </a:lstStyle>
          <a:p>
            <a:pPr lvl="0"/>
            <a:endParaRPr lang="en-SG"/>
          </a:p>
        </p:txBody>
      </p:sp>
    </p:spTree>
    <p:extLst>
      <p:ext uri="{BB962C8B-B14F-4D97-AF65-F5344CB8AC3E}">
        <p14:creationId xmlns:p14="http://schemas.microsoft.com/office/powerpoint/2010/main" val="2638886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2">
            <a:extLst>
              <a:ext uri="{FF2B5EF4-FFF2-40B4-BE49-F238E27FC236}">
                <a16:creationId xmlns:a16="http://schemas.microsoft.com/office/drawing/2014/main" id="{8B1EDACC-3AF8-4D5D-A944-D93C67371E82}"/>
              </a:ext>
            </a:extLst>
          </p:cNvPr>
          <p:cNvSpPr>
            <a:spLocks noGrp="1"/>
          </p:cNvSpPr>
          <p:nvPr>
            <p:ph type="sldNum" sz="quarter" idx="4"/>
          </p:nvPr>
        </p:nvSpPr>
        <p:spPr>
          <a:xfrm>
            <a:off x="11635319" y="6418368"/>
            <a:ext cx="502915" cy="365125"/>
          </a:xfrm>
          <a:prstGeom prst="rect">
            <a:avLst/>
          </a:prstGeom>
        </p:spPr>
        <p:txBody>
          <a:bodyPr/>
          <a:lstStyle>
            <a:lvl1pPr algn="r">
              <a:defRPr sz="1200">
                <a:solidFill>
                  <a:schemeClr val="bg2">
                    <a:lumMod val="75000"/>
                  </a:schemeClr>
                </a:solidFill>
              </a:defRPr>
            </a:lvl1pPr>
          </a:lstStyle>
          <a:p>
            <a:fld id="{7B1F08B7-2281-4878-8DFB-7EF004C74B92}" type="slidenum">
              <a:rPr lang="en-SG" smtClean="0"/>
              <a:pPr/>
              <a:t>‹#›</a:t>
            </a:fld>
            <a:endParaRPr lang="en-SG"/>
          </a:p>
        </p:txBody>
      </p:sp>
      <p:pic>
        <p:nvPicPr>
          <p:cNvPr id="1028" name="Picture 4" descr="Orange And Blue Color Scheme - House Beautiful - House Beautiful | Orange  color palettes, Blue color schemes, Orange color schemes">
            <a:extLst>
              <a:ext uri="{FF2B5EF4-FFF2-40B4-BE49-F238E27FC236}">
                <a16:creationId xmlns:a16="http://schemas.microsoft.com/office/drawing/2014/main" id="{019F417A-FA40-4CD6-B575-DA28D5D1CE56}"/>
              </a:ext>
            </a:extLst>
          </p:cNvPr>
          <p:cNvPicPr>
            <a:picLocks noChangeAspect="1" noChangeArrowheads="1"/>
          </p:cNvPicPr>
          <p:nvPr userDrawn="1"/>
        </p:nvPicPr>
        <p:blipFill rotWithShape="1">
          <a:blip r:embed="rId20">
            <a:extLst>
              <a:ext uri="{28A0092B-C50C-407E-A947-70E740481C1C}">
                <a14:useLocalDpi xmlns:a14="http://schemas.microsoft.com/office/drawing/2010/main" val="0"/>
              </a:ext>
            </a:extLst>
          </a:blip>
          <a:srcRect t="65520"/>
          <a:stretch/>
        </p:blipFill>
        <p:spPr bwMode="auto">
          <a:xfrm>
            <a:off x="-1986114" y="0"/>
            <a:ext cx="1890251" cy="6517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7029069-57EE-4F89-93AD-76F169312421}"/>
              </a:ext>
            </a:extLst>
          </p:cNvPr>
          <p:cNvSpPr txBox="1"/>
          <p:nvPr userDrawn="1"/>
        </p:nvSpPr>
        <p:spPr>
          <a:xfrm>
            <a:off x="-1331090" y="2064821"/>
            <a:ext cx="729205" cy="738664"/>
          </a:xfrm>
          <a:prstGeom prst="rect">
            <a:avLst/>
          </a:prstGeom>
          <a:solidFill>
            <a:srgbClr val="F97304"/>
          </a:solidFill>
          <a:ln>
            <a:solidFill>
              <a:schemeClr val="tx1"/>
            </a:solidFill>
          </a:ln>
        </p:spPr>
        <p:txBody>
          <a:bodyPr wrap="square" rtlCol="0">
            <a:spAutoFit/>
          </a:bodyPr>
          <a:lstStyle/>
          <a:p>
            <a:r>
              <a:rPr lang="en-SG" sz="1400"/>
              <a:t>249</a:t>
            </a:r>
          </a:p>
          <a:p>
            <a:r>
              <a:rPr lang="en-SG" sz="1400"/>
              <a:t>115</a:t>
            </a:r>
          </a:p>
          <a:p>
            <a:r>
              <a:rPr lang="en-SG" sz="1400"/>
              <a:t>4</a:t>
            </a:r>
          </a:p>
        </p:txBody>
      </p:sp>
      <p:sp>
        <p:nvSpPr>
          <p:cNvPr id="4" name="TextBox 3">
            <a:extLst>
              <a:ext uri="{FF2B5EF4-FFF2-40B4-BE49-F238E27FC236}">
                <a16:creationId xmlns:a16="http://schemas.microsoft.com/office/drawing/2014/main" id="{33BA42C3-FE4F-486A-AEF8-9107A1D23C35}"/>
              </a:ext>
            </a:extLst>
          </p:cNvPr>
          <p:cNvSpPr txBox="1"/>
          <p:nvPr userDrawn="1"/>
        </p:nvSpPr>
        <p:spPr>
          <a:xfrm>
            <a:off x="-1331090" y="2948272"/>
            <a:ext cx="729205" cy="738664"/>
          </a:xfrm>
          <a:prstGeom prst="rect">
            <a:avLst/>
          </a:prstGeom>
          <a:solidFill>
            <a:srgbClr val="7399C6"/>
          </a:solidFill>
          <a:ln>
            <a:solidFill>
              <a:schemeClr val="tx1"/>
            </a:solidFill>
          </a:ln>
        </p:spPr>
        <p:txBody>
          <a:bodyPr wrap="square" rtlCol="0">
            <a:spAutoFit/>
          </a:bodyPr>
          <a:lstStyle/>
          <a:p>
            <a:r>
              <a:rPr lang="en-SG" sz="1400"/>
              <a:t>115</a:t>
            </a:r>
          </a:p>
          <a:p>
            <a:r>
              <a:rPr lang="en-SG" sz="1400"/>
              <a:t>153</a:t>
            </a:r>
          </a:p>
          <a:p>
            <a:r>
              <a:rPr lang="en-SG" sz="1400"/>
              <a:t>198</a:t>
            </a:r>
          </a:p>
        </p:txBody>
      </p:sp>
      <p:sp>
        <p:nvSpPr>
          <p:cNvPr id="6" name="TextBox 5">
            <a:extLst>
              <a:ext uri="{FF2B5EF4-FFF2-40B4-BE49-F238E27FC236}">
                <a16:creationId xmlns:a16="http://schemas.microsoft.com/office/drawing/2014/main" id="{E490513F-2C5B-4A10-B563-D0F93DDC17C2}"/>
              </a:ext>
            </a:extLst>
          </p:cNvPr>
          <p:cNvSpPr txBox="1"/>
          <p:nvPr userDrawn="1"/>
        </p:nvSpPr>
        <p:spPr>
          <a:xfrm>
            <a:off x="-1331090" y="1181370"/>
            <a:ext cx="729205" cy="738664"/>
          </a:xfrm>
          <a:prstGeom prst="rect">
            <a:avLst/>
          </a:prstGeom>
          <a:solidFill>
            <a:srgbClr val="5CD4EF"/>
          </a:solidFill>
          <a:ln>
            <a:solidFill>
              <a:schemeClr val="tx1"/>
            </a:solidFill>
          </a:ln>
        </p:spPr>
        <p:txBody>
          <a:bodyPr wrap="square" rtlCol="0">
            <a:spAutoFit/>
          </a:bodyPr>
          <a:lstStyle/>
          <a:p>
            <a:r>
              <a:rPr lang="en-SG" sz="1400">
                <a:solidFill>
                  <a:sysClr val="windowText" lastClr="000000"/>
                </a:solidFill>
              </a:rPr>
              <a:t>92</a:t>
            </a:r>
          </a:p>
          <a:p>
            <a:r>
              <a:rPr lang="en-SG" sz="1400">
                <a:solidFill>
                  <a:sysClr val="windowText" lastClr="000000"/>
                </a:solidFill>
              </a:rPr>
              <a:t>212</a:t>
            </a:r>
          </a:p>
          <a:p>
            <a:r>
              <a:rPr lang="en-SG" sz="1400">
                <a:solidFill>
                  <a:sysClr val="windowText" lastClr="000000"/>
                </a:solidFill>
              </a:rPr>
              <a:t>239</a:t>
            </a:r>
          </a:p>
        </p:txBody>
      </p:sp>
      <p:sp>
        <p:nvSpPr>
          <p:cNvPr id="10" name="TextBox 9">
            <a:extLst>
              <a:ext uri="{FF2B5EF4-FFF2-40B4-BE49-F238E27FC236}">
                <a16:creationId xmlns:a16="http://schemas.microsoft.com/office/drawing/2014/main" id="{C8CCC60A-1577-4C26-8D1F-E777C2DD1AE9}"/>
              </a:ext>
            </a:extLst>
          </p:cNvPr>
          <p:cNvSpPr txBox="1"/>
          <p:nvPr userDrawn="1"/>
        </p:nvSpPr>
        <p:spPr>
          <a:xfrm>
            <a:off x="-1331090" y="3831723"/>
            <a:ext cx="729205" cy="738664"/>
          </a:xfrm>
          <a:prstGeom prst="rect">
            <a:avLst/>
          </a:prstGeom>
          <a:solidFill>
            <a:srgbClr val="D44206"/>
          </a:solidFill>
          <a:ln>
            <a:solidFill>
              <a:schemeClr val="tx1"/>
            </a:solidFill>
          </a:ln>
        </p:spPr>
        <p:txBody>
          <a:bodyPr wrap="square" rtlCol="0">
            <a:spAutoFit/>
          </a:bodyPr>
          <a:lstStyle/>
          <a:p>
            <a:r>
              <a:rPr lang="en-SG" sz="1400"/>
              <a:t>212</a:t>
            </a:r>
          </a:p>
          <a:p>
            <a:r>
              <a:rPr lang="en-SG" sz="1400"/>
              <a:t>66</a:t>
            </a:r>
          </a:p>
          <a:p>
            <a:r>
              <a:rPr lang="en-SG" sz="1400"/>
              <a:t>6</a:t>
            </a:r>
          </a:p>
        </p:txBody>
      </p:sp>
    </p:spTree>
    <p:extLst>
      <p:ext uri="{BB962C8B-B14F-4D97-AF65-F5344CB8AC3E}">
        <p14:creationId xmlns:p14="http://schemas.microsoft.com/office/powerpoint/2010/main" val="2637152211"/>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0" r:id="rId3"/>
    <p:sldLayoutId id="2147483670" r:id="rId4"/>
    <p:sldLayoutId id="2147483667" r:id="rId5"/>
    <p:sldLayoutId id="2147483665" r:id="rId6"/>
    <p:sldLayoutId id="2147483668" r:id="rId7"/>
    <p:sldLayoutId id="2147483663" r:id="rId8"/>
    <p:sldLayoutId id="2147483666" r:id="rId9"/>
    <p:sldLayoutId id="2147483672" r:id="rId10"/>
    <p:sldLayoutId id="2147483653" r:id="rId11"/>
    <p:sldLayoutId id="2147483654" r:id="rId12"/>
    <p:sldLayoutId id="2147483655" r:id="rId13"/>
    <p:sldLayoutId id="2147483656" r:id="rId14"/>
    <p:sldLayoutId id="2147483657" r:id="rId15"/>
    <p:sldLayoutId id="2147483658" r:id="rId16"/>
    <p:sldLayoutId id="2147483659" r:id="rId17"/>
    <p:sldLayoutId id="2147483727" r:id="rId18"/>
  </p:sldLayoutIdLst>
  <p:hf hdr="0" ftr="0" dt="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tags" Target="../tags/tag56.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notesSlide" Target="../notesSlides/notesSlide2.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54" Type="http://schemas.openxmlformats.org/officeDocument/2006/relationships/tags" Target="../tags/tag55.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slideLayout" Target="../slideLayouts/slideLayout1.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chart" Target="../charts/chart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svg"/><Relationship Id="rId18" Type="http://schemas.openxmlformats.org/officeDocument/2006/relationships/image" Target="../media/image14.png"/><Relationship Id="rId3" Type="http://schemas.openxmlformats.org/officeDocument/2006/relationships/chart" Target="../charts/chart2.xml"/><Relationship Id="rId7" Type="http://schemas.openxmlformats.org/officeDocument/2006/relationships/chart" Target="../charts/chart6.xml"/><Relationship Id="rId12" Type="http://schemas.openxmlformats.org/officeDocument/2006/relationships/image" Target="../media/image8.png"/><Relationship Id="rId17" Type="http://schemas.openxmlformats.org/officeDocument/2006/relationships/image" Target="../media/image13.svg"/><Relationship Id="rId2" Type="http://schemas.openxmlformats.org/officeDocument/2006/relationships/notesSlide" Target="../notesSlides/notesSlide3.xml"/><Relationship Id="rId16"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chart" Target="../charts/chart5.xml"/><Relationship Id="rId11" Type="http://schemas.openxmlformats.org/officeDocument/2006/relationships/chart" Target="../charts/chart8.xml"/><Relationship Id="rId5" Type="http://schemas.openxmlformats.org/officeDocument/2006/relationships/chart" Target="../charts/chart4.xml"/><Relationship Id="rId15" Type="http://schemas.openxmlformats.org/officeDocument/2006/relationships/image" Target="../media/image11.svg"/><Relationship Id="rId10" Type="http://schemas.openxmlformats.org/officeDocument/2006/relationships/chart" Target="../charts/chart7.xml"/><Relationship Id="rId19" Type="http://schemas.openxmlformats.org/officeDocument/2006/relationships/image" Target="../media/image15.png"/><Relationship Id="rId4" Type="http://schemas.openxmlformats.org/officeDocument/2006/relationships/chart" Target="../charts/chart3.xml"/><Relationship Id="rId9" Type="http://schemas.openxmlformats.org/officeDocument/2006/relationships/image" Target="../media/image7.png"/><Relationship Id="rId1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chart" Target="../charts/chart9.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18" Type="http://schemas.openxmlformats.org/officeDocument/2006/relationships/image" Target="../media/image31.png"/><Relationship Id="rId3" Type="http://schemas.openxmlformats.org/officeDocument/2006/relationships/notesSlide" Target="../notesSlides/notesSlide5.xml"/><Relationship Id="rId21" Type="http://schemas.openxmlformats.org/officeDocument/2006/relationships/image" Target="../media/image34.sv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svg"/><Relationship Id="rId25" Type="http://schemas.openxmlformats.org/officeDocument/2006/relationships/image" Target="../media/image38.svg"/><Relationship Id="rId2" Type="http://schemas.openxmlformats.org/officeDocument/2006/relationships/slideLayout" Target="../slideLayouts/slideLayout1.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61.xml"/><Relationship Id="rId6" Type="http://schemas.openxmlformats.org/officeDocument/2006/relationships/image" Target="../media/image19.png"/><Relationship Id="rId11" Type="http://schemas.openxmlformats.org/officeDocument/2006/relationships/image" Target="../media/image24.svg"/><Relationship Id="rId24" Type="http://schemas.openxmlformats.org/officeDocument/2006/relationships/image" Target="../media/image37.png"/><Relationship Id="rId5" Type="http://schemas.openxmlformats.org/officeDocument/2006/relationships/image" Target="../media/image18.svg"/><Relationship Id="rId15" Type="http://schemas.openxmlformats.org/officeDocument/2006/relationships/image" Target="../media/image28.svg"/><Relationship Id="rId23" Type="http://schemas.openxmlformats.org/officeDocument/2006/relationships/image" Target="../media/image36.sv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png"/><Relationship Id="rId22" Type="http://schemas.openxmlformats.org/officeDocument/2006/relationships/image" Target="../media/image35.png"/></Relationships>
</file>

<file path=ppt/slides/_rels/slide6.xml.rels><?xml version="1.0" encoding="UTF-8" standalone="yes"?>
<Relationships xmlns="http://schemas.openxmlformats.org/package/2006/relationships"><Relationship Id="rId26" Type="http://schemas.openxmlformats.org/officeDocument/2006/relationships/tags" Target="../tags/tag87.xml"/><Relationship Id="rId21" Type="http://schemas.openxmlformats.org/officeDocument/2006/relationships/tags" Target="../tags/tag82.xml"/><Relationship Id="rId42" Type="http://schemas.openxmlformats.org/officeDocument/2006/relationships/tags" Target="../tags/tag103.xml"/><Relationship Id="rId47" Type="http://schemas.openxmlformats.org/officeDocument/2006/relationships/tags" Target="../tags/tag108.xml"/><Relationship Id="rId63" Type="http://schemas.openxmlformats.org/officeDocument/2006/relationships/tags" Target="../tags/tag124.xml"/><Relationship Id="rId68" Type="http://schemas.openxmlformats.org/officeDocument/2006/relationships/tags" Target="../tags/tag129.xml"/><Relationship Id="rId84" Type="http://schemas.openxmlformats.org/officeDocument/2006/relationships/tags" Target="../tags/tag145.xml"/><Relationship Id="rId89" Type="http://schemas.openxmlformats.org/officeDocument/2006/relationships/tags" Target="../tags/tag150.xml"/><Relationship Id="rId7" Type="http://schemas.openxmlformats.org/officeDocument/2006/relationships/tags" Target="../tags/tag68.xml"/><Relationship Id="rId71" Type="http://schemas.openxmlformats.org/officeDocument/2006/relationships/tags" Target="../tags/tag132.xml"/><Relationship Id="rId92" Type="http://schemas.openxmlformats.org/officeDocument/2006/relationships/notesSlide" Target="../notesSlides/notesSlide6.xml"/><Relationship Id="rId2" Type="http://schemas.openxmlformats.org/officeDocument/2006/relationships/tags" Target="../tags/tag63.xml"/><Relationship Id="rId16" Type="http://schemas.openxmlformats.org/officeDocument/2006/relationships/tags" Target="../tags/tag77.xml"/><Relationship Id="rId29" Type="http://schemas.openxmlformats.org/officeDocument/2006/relationships/tags" Target="../tags/tag90.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37" Type="http://schemas.openxmlformats.org/officeDocument/2006/relationships/tags" Target="../tags/tag98.xml"/><Relationship Id="rId40" Type="http://schemas.openxmlformats.org/officeDocument/2006/relationships/tags" Target="../tags/tag101.xml"/><Relationship Id="rId45" Type="http://schemas.openxmlformats.org/officeDocument/2006/relationships/tags" Target="../tags/tag106.xml"/><Relationship Id="rId53" Type="http://schemas.openxmlformats.org/officeDocument/2006/relationships/tags" Target="../tags/tag114.xml"/><Relationship Id="rId58" Type="http://schemas.openxmlformats.org/officeDocument/2006/relationships/tags" Target="../tags/tag119.xml"/><Relationship Id="rId66" Type="http://schemas.openxmlformats.org/officeDocument/2006/relationships/tags" Target="../tags/tag127.xml"/><Relationship Id="rId74" Type="http://schemas.openxmlformats.org/officeDocument/2006/relationships/tags" Target="../tags/tag135.xml"/><Relationship Id="rId79" Type="http://schemas.openxmlformats.org/officeDocument/2006/relationships/tags" Target="../tags/tag140.xml"/><Relationship Id="rId87" Type="http://schemas.openxmlformats.org/officeDocument/2006/relationships/tags" Target="../tags/tag148.xml"/><Relationship Id="rId102" Type="http://schemas.openxmlformats.org/officeDocument/2006/relationships/image" Target="../media/image46.svg"/><Relationship Id="rId5" Type="http://schemas.openxmlformats.org/officeDocument/2006/relationships/tags" Target="../tags/tag66.xml"/><Relationship Id="rId61" Type="http://schemas.openxmlformats.org/officeDocument/2006/relationships/tags" Target="../tags/tag122.xml"/><Relationship Id="rId82" Type="http://schemas.openxmlformats.org/officeDocument/2006/relationships/tags" Target="../tags/tag143.xml"/><Relationship Id="rId90" Type="http://schemas.openxmlformats.org/officeDocument/2006/relationships/tags" Target="../tags/tag151.xml"/><Relationship Id="rId95" Type="http://schemas.openxmlformats.org/officeDocument/2006/relationships/image" Target="../media/image39.png"/><Relationship Id="rId19" Type="http://schemas.openxmlformats.org/officeDocument/2006/relationships/tags" Target="../tags/tag8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tags" Target="../tags/tag96.xml"/><Relationship Id="rId43" Type="http://schemas.openxmlformats.org/officeDocument/2006/relationships/tags" Target="../tags/tag104.xml"/><Relationship Id="rId48" Type="http://schemas.openxmlformats.org/officeDocument/2006/relationships/tags" Target="../tags/tag109.xml"/><Relationship Id="rId56" Type="http://schemas.openxmlformats.org/officeDocument/2006/relationships/tags" Target="../tags/tag117.xml"/><Relationship Id="rId64" Type="http://schemas.openxmlformats.org/officeDocument/2006/relationships/tags" Target="../tags/tag125.xml"/><Relationship Id="rId69" Type="http://schemas.openxmlformats.org/officeDocument/2006/relationships/tags" Target="../tags/tag130.xml"/><Relationship Id="rId77" Type="http://schemas.openxmlformats.org/officeDocument/2006/relationships/tags" Target="../tags/tag138.xml"/><Relationship Id="rId100" Type="http://schemas.openxmlformats.org/officeDocument/2006/relationships/image" Target="../media/image44.svg"/><Relationship Id="rId105" Type="http://schemas.openxmlformats.org/officeDocument/2006/relationships/image" Target="../media/image49.png"/><Relationship Id="rId8" Type="http://schemas.openxmlformats.org/officeDocument/2006/relationships/tags" Target="../tags/tag69.xml"/><Relationship Id="rId51" Type="http://schemas.openxmlformats.org/officeDocument/2006/relationships/tags" Target="../tags/tag112.xml"/><Relationship Id="rId72" Type="http://schemas.openxmlformats.org/officeDocument/2006/relationships/tags" Target="../tags/tag133.xml"/><Relationship Id="rId80" Type="http://schemas.openxmlformats.org/officeDocument/2006/relationships/tags" Target="../tags/tag141.xml"/><Relationship Id="rId85" Type="http://schemas.openxmlformats.org/officeDocument/2006/relationships/tags" Target="../tags/tag146.xml"/><Relationship Id="rId93" Type="http://schemas.openxmlformats.org/officeDocument/2006/relationships/image" Target="../media/image6.png"/><Relationship Id="rId98" Type="http://schemas.openxmlformats.org/officeDocument/2006/relationships/image" Target="../media/image42.svg"/><Relationship Id="rId3" Type="http://schemas.openxmlformats.org/officeDocument/2006/relationships/tags" Target="../tags/tag64.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tags" Target="../tags/tag94.xml"/><Relationship Id="rId38" Type="http://schemas.openxmlformats.org/officeDocument/2006/relationships/tags" Target="../tags/tag99.xml"/><Relationship Id="rId46" Type="http://schemas.openxmlformats.org/officeDocument/2006/relationships/tags" Target="../tags/tag107.xml"/><Relationship Id="rId59" Type="http://schemas.openxmlformats.org/officeDocument/2006/relationships/tags" Target="../tags/tag120.xml"/><Relationship Id="rId67" Type="http://schemas.openxmlformats.org/officeDocument/2006/relationships/tags" Target="../tags/tag128.xml"/><Relationship Id="rId103" Type="http://schemas.openxmlformats.org/officeDocument/2006/relationships/image" Target="../media/image47.png"/><Relationship Id="rId20" Type="http://schemas.openxmlformats.org/officeDocument/2006/relationships/tags" Target="../tags/tag81.xml"/><Relationship Id="rId41" Type="http://schemas.openxmlformats.org/officeDocument/2006/relationships/tags" Target="../tags/tag102.xml"/><Relationship Id="rId54" Type="http://schemas.openxmlformats.org/officeDocument/2006/relationships/tags" Target="../tags/tag115.xml"/><Relationship Id="rId62" Type="http://schemas.openxmlformats.org/officeDocument/2006/relationships/tags" Target="../tags/tag123.xml"/><Relationship Id="rId70" Type="http://schemas.openxmlformats.org/officeDocument/2006/relationships/tags" Target="../tags/tag131.xml"/><Relationship Id="rId75" Type="http://schemas.openxmlformats.org/officeDocument/2006/relationships/tags" Target="../tags/tag136.xml"/><Relationship Id="rId83" Type="http://schemas.openxmlformats.org/officeDocument/2006/relationships/tags" Target="../tags/tag144.xml"/><Relationship Id="rId88" Type="http://schemas.openxmlformats.org/officeDocument/2006/relationships/tags" Target="../tags/tag149.xml"/><Relationship Id="rId91" Type="http://schemas.openxmlformats.org/officeDocument/2006/relationships/slideLayout" Target="../slideLayouts/slideLayout2.xml"/><Relationship Id="rId96" Type="http://schemas.openxmlformats.org/officeDocument/2006/relationships/image" Target="../media/image40.svg"/><Relationship Id="rId1" Type="http://schemas.openxmlformats.org/officeDocument/2006/relationships/tags" Target="../tags/tag62.xml"/><Relationship Id="rId6" Type="http://schemas.openxmlformats.org/officeDocument/2006/relationships/tags" Target="../tags/tag67.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36" Type="http://schemas.openxmlformats.org/officeDocument/2006/relationships/tags" Target="../tags/tag97.xml"/><Relationship Id="rId49" Type="http://schemas.openxmlformats.org/officeDocument/2006/relationships/tags" Target="../tags/tag110.xml"/><Relationship Id="rId57" Type="http://schemas.openxmlformats.org/officeDocument/2006/relationships/tags" Target="../tags/tag118.xml"/><Relationship Id="rId106" Type="http://schemas.openxmlformats.org/officeDocument/2006/relationships/image" Target="../media/image50.svg"/><Relationship Id="rId10" Type="http://schemas.openxmlformats.org/officeDocument/2006/relationships/tags" Target="../tags/tag71.xml"/><Relationship Id="rId31" Type="http://schemas.openxmlformats.org/officeDocument/2006/relationships/tags" Target="../tags/tag92.xml"/><Relationship Id="rId44" Type="http://schemas.openxmlformats.org/officeDocument/2006/relationships/tags" Target="../tags/tag105.xml"/><Relationship Id="rId52" Type="http://schemas.openxmlformats.org/officeDocument/2006/relationships/tags" Target="../tags/tag113.xml"/><Relationship Id="rId60" Type="http://schemas.openxmlformats.org/officeDocument/2006/relationships/tags" Target="../tags/tag121.xml"/><Relationship Id="rId65" Type="http://schemas.openxmlformats.org/officeDocument/2006/relationships/tags" Target="../tags/tag126.xml"/><Relationship Id="rId73" Type="http://schemas.openxmlformats.org/officeDocument/2006/relationships/tags" Target="../tags/tag134.xml"/><Relationship Id="rId78" Type="http://schemas.openxmlformats.org/officeDocument/2006/relationships/tags" Target="../tags/tag139.xml"/><Relationship Id="rId81" Type="http://schemas.openxmlformats.org/officeDocument/2006/relationships/tags" Target="../tags/tag142.xml"/><Relationship Id="rId86" Type="http://schemas.openxmlformats.org/officeDocument/2006/relationships/tags" Target="../tags/tag147.xml"/><Relationship Id="rId94" Type="http://schemas.openxmlformats.org/officeDocument/2006/relationships/image" Target="../media/image7.png"/><Relationship Id="rId99" Type="http://schemas.openxmlformats.org/officeDocument/2006/relationships/image" Target="../media/image43.png"/><Relationship Id="rId101" Type="http://schemas.openxmlformats.org/officeDocument/2006/relationships/image" Target="../media/image45.png"/><Relationship Id="rId4" Type="http://schemas.openxmlformats.org/officeDocument/2006/relationships/tags" Target="../tags/tag65.xml"/><Relationship Id="rId9" Type="http://schemas.openxmlformats.org/officeDocument/2006/relationships/tags" Target="../tags/tag70.xml"/><Relationship Id="rId13" Type="http://schemas.openxmlformats.org/officeDocument/2006/relationships/tags" Target="../tags/tag74.xml"/><Relationship Id="rId18" Type="http://schemas.openxmlformats.org/officeDocument/2006/relationships/tags" Target="../tags/tag79.xml"/><Relationship Id="rId39" Type="http://schemas.openxmlformats.org/officeDocument/2006/relationships/tags" Target="../tags/tag100.xml"/><Relationship Id="rId34" Type="http://schemas.openxmlformats.org/officeDocument/2006/relationships/tags" Target="../tags/tag95.xml"/><Relationship Id="rId50" Type="http://schemas.openxmlformats.org/officeDocument/2006/relationships/tags" Target="../tags/tag111.xml"/><Relationship Id="rId55" Type="http://schemas.openxmlformats.org/officeDocument/2006/relationships/tags" Target="../tags/tag116.xml"/><Relationship Id="rId76" Type="http://schemas.openxmlformats.org/officeDocument/2006/relationships/tags" Target="../tags/tag137.xml"/><Relationship Id="rId97" Type="http://schemas.openxmlformats.org/officeDocument/2006/relationships/image" Target="../media/image41.png"/><Relationship Id="rId104" Type="http://schemas.openxmlformats.org/officeDocument/2006/relationships/image" Target="../media/image48.sv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notesSlide" Target="../notesSlides/notesSlide7.xml"/><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slideLayout" Target="../slideLayouts/slideLayout1.xml"/><Relationship Id="rId16" Type="http://schemas.openxmlformats.org/officeDocument/2006/relationships/image" Target="../media/image63.png"/><Relationship Id="rId1" Type="http://schemas.openxmlformats.org/officeDocument/2006/relationships/tags" Target="../tags/tag15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8.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1.png"/><Relationship Id="rId3" Type="http://schemas.openxmlformats.org/officeDocument/2006/relationships/notesSlide" Target="../notesSlides/notesSlide8.xml"/><Relationship Id="rId7" Type="http://schemas.openxmlformats.org/officeDocument/2006/relationships/image" Target="../media/image59.svg"/><Relationship Id="rId12" Type="http://schemas.openxmlformats.org/officeDocument/2006/relationships/image" Target="../media/image60.png"/><Relationship Id="rId2" Type="http://schemas.openxmlformats.org/officeDocument/2006/relationships/slideLayout" Target="../slideLayouts/slideLayout1.xml"/><Relationship Id="rId1" Type="http://schemas.openxmlformats.org/officeDocument/2006/relationships/tags" Target="../tags/tag153.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65.png"/><Relationship Id="rId10" Type="http://schemas.openxmlformats.org/officeDocument/2006/relationships/image" Target="../media/image51.png"/><Relationship Id="rId4" Type="http://schemas.openxmlformats.org/officeDocument/2006/relationships/image" Target="../media/image64.png"/><Relationship Id="rId9" Type="http://schemas.openxmlformats.org/officeDocument/2006/relationships/image" Target="../media/image67.svg"/><Relationship Id="rId14" Type="http://schemas.openxmlformats.org/officeDocument/2006/relationships/image" Target="../media/image6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6000"/>
            <a:lum/>
          </a:blip>
          <a:srcRect/>
          <a:stretch>
            <a:fillRect t="-9000" b="-9000"/>
          </a:stretch>
        </a:blip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27BE286-E124-4C48-AC33-9533F4D45B5A}"/>
              </a:ext>
            </a:extLst>
          </p:cNvPr>
          <p:cNvSpPr>
            <a:spLocks noGrp="1"/>
          </p:cNvSpPr>
          <p:nvPr>
            <p:ph type="sldNum" sz="quarter" idx="12"/>
          </p:nvPr>
        </p:nvSpPr>
        <p:spPr/>
        <p:txBody>
          <a:bodyPr/>
          <a:lstStyle/>
          <a:p>
            <a:fld id="{F5D0115F-629B-413B-A4C8-7182E324E1C4}" type="slidenum">
              <a:rPr lang="en-SG" smtClean="0">
                <a:latin typeface="Neue Haas Grotesk Text Pro" panose="020B0504020202020204" pitchFamily="34" charset="0"/>
              </a:rPr>
              <a:pPr/>
              <a:t>0</a:t>
            </a:fld>
            <a:endParaRPr lang="en-SG">
              <a:latin typeface="Neue Haas Grotesk Text Pro" panose="020B0504020202020204" pitchFamily="34" charset="0"/>
            </a:endParaRPr>
          </a:p>
        </p:txBody>
      </p:sp>
      <p:cxnSp>
        <p:nvCxnSpPr>
          <p:cNvPr id="5" name="Straight Connector 4">
            <a:extLst>
              <a:ext uri="{FF2B5EF4-FFF2-40B4-BE49-F238E27FC236}">
                <a16:creationId xmlns:a16="http://schemas.microsoft.com/office/drawing/2014/main" id="{A2236266-F66B-4B22-A68D-E90B4D0C2B3E}"/>
              </a:ext>
            </a:extLst>
          </p:cNvPr>
          <p:cNvCxnSpPr>
            <a:cxnSpLocks/>
          </p:cNvCxnSpPr>
          <p:nvPr/>
        </p:nvCxnSpPr>
        <p:spPr>
          <a:xfrm>
            <a:off x="0" y="815182"/>
            <a:ext cx="1219200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AC220AB-517D-4320-83BE-25561937F17E}"/>
              </a:ext>
            </a:extLst>
          </p:cNvPr>
          <p:cNvPicPr>
            <a:picLocks noChangeAspect="1"/>
          </p:cNvPicPr>
          <p:nvPr/>
        </p:nvPicPr>
        <p:blipFill rotWithShape="1">
          <a:blip r:embed="rId4"/>
          <a:srcRect b="8932"/>
          <a:stretch/>
        </p:blipFill>
        <p:spPr>
          <a:xfrm>
            <a:off x="8051847" y="1742395"/>
            <a:ext cx="1923752" cy="1929750"/>
          </a:xfrm>
          <a:prstGeom prst="rect">
            <a:avLst/>
          </a:prstGeom>
          <a:effectLst>
            <a:outerShdw blurRad="50800" dist="38100" dir="2700000" algn="tl" rotWithShape="0">
              <a:prstClr val="black">
                <a:alpha val="40000"/>
              </a:prstClr>
            </a:outerShdw>
          </a:effectLst>
        </p:spPr>
      </p:pic>
      <p:sp>
        <p:nvSpPr>
          <p:cNvPr id="26" name="TextBox 25">
            <a:extLst>
              <a:ext uri="{FF2B5EF4-FFF2-40B4-BE49-F238E27FC236}">
                <a16:creationId xmlns:a16="http://schemas.microsoft.com/office/drawing/2014/main" id="{BC7DC0C6-621B-4F42-A084-D0627BB9A699}"/>
              </a:ext>
            </a:extLst>
          </p:cNvPr>
          <p:cNvSpPr txBox="1"/>
          <p:nvPr/>
        </p:nvSpPr>
        <p:spPr>
          <a:xfrm>
            <a:off x="9565550" y="4578775"/>
            <a:ext cx="2320968" cy="1569661"/>
          </a:xfrm>
          <a:prstGeom prst="rect">
            <a:avLst/>
          </a:prstGeom>
          <a:solidFill>
            <a:schemeClr val="bg1">
              <a:alpha val="80000"/>
            </a:schemeClr>
          </a:solidFill>
          <a:ln>
            <a:noFill/>
          </a:ln>
          <a:effectLst>
            <a:outerShdw blurRad="50800" dist="38100" dir="2700000" algn="tl" rotWithShape="0">
              <a:prstClr val="black">
                <a:alpha val="40000"/>
              </a:prstClr>
            </a:outerShdw>
          </a:effectLst>
        </p:spPr>
        <p:txBody>
          <a:bodyPr wrap="square" rtlCol="0" anchor="ctr">
            <a:noAutofit/>
          </a:bodyPr>
          <a:lstStyle/>
          <a:p>
            <a:pPr lvl="0" algn="ctr">
              <a:defRPr/>
            </a:pPr>
            <a:r>
              <a:rPr lang="en-US" sz="1600" b="1" kern="0">
                <a:solidFill>
                  <a:prstClr val="black"/>
                </a:solidFill>
                <a:latin typeface="Neue Haas Grotesk Text Pro" panose="020B0504020202020204" pitchFamily="34" charset="0"/>
              </a:rPr>
              <a:t>Date: </a:t>
            </a:r>
          </a:p>
          <a:p>
            <a:pPr lvl="0" algn="ctr">
              <a:defRPr/>
            </a:pPr>
            <a:r>
              <a:rPr lang="en-US" sz="1600" kern="0">
                <a:solidFill>
                  <a:prstClr val="black"/>
                </a:solidFill>
                <a:latin typeface="Neue Haas Grotesk Text Pro" panose="020B0504020202020204" pitchFamily="34" charset="0"/>
              </a:rPr>
              <a:t>7 September 2020</a:t>
            </a:r>
            <a:endParaRPr lang="en-US" sz="1600" b="1" kern="0">
              <a:solidFill>
                <a:prstClr val="black"/>
              </a:solidFill>
              <a:latin typeface="Neue Haas Grotesk Text Pro" panose="020B0504020202020204" pitchFamily="34" charset="0"/>
            </a:endParaRPr>
          </a:p>
          <a:p>
            <a:pPr lvl="0" algn="ctr">
              <a:defRPr/>
            </a:pPr>
            <a:r>
              <a:rPr kumimoji="0" lang="en-US" sz="1600" b="1" u="none" strike="noStrike" kern="0" cap="none" spc="0" normalizeH="0" baseline="0" noProof="0">
                <a:ln>
                  <a:noFill/>
                </a:ln>
                <a:solidFill>
                  <a:prstClr val="black"/>
                </a:solidFill>
                <a:effectLst/>
                <a:uLnTx/>
                <a:uFillTx/>
                <a:latin typeface="Neue Haas Grotesk Text Pro" panose="020B0504020202020204" pitchFamily="34" charset="0"/>
              </a:rPr>
              <a:t>School: </a:t>
            </a:r>
          </a:p>
          <a:p>
            <a:pPr lvl="0" algn="ctr">
              <a:defRPr/>
            </a:pPr>
            <a:r>
              <a:rPr kumimoji="0" lang="en-US" sz="1600" i="0" u="none" strike="noStrike" kern="0" cap="none" spc="0" normalizeH="0" baseline="0" noProof="0">
                <a:ln>
                  <a:noFill/>
                </a:ln>
                <a:solidFill>
                  <a:prstClr val="black"/>
                </a:solidFill>
                <a:effectLst/>
                <a:uLnTx/>
                <a:uFillTx/>
                <a:latin typeface="Neue Haas Grotesk Text Pro" panose="020B0504020202020204" pitchFamily="34" charset="0"/>
              </a:rPr>
              <a:t>Singapore Management University</a:t>
            </a:r>
          </a:p>
        </p:txBody>
      </p:sp>
      <p:sp>
        <p:nvSpPr>
          <p:cNvPr id="28" name="Rectangle 27">
            <a:extLst>
              <a:ext uri="{FF2B5EF4-FFF2-40B4-BE49-F238E27FC236}">
                <a16:creationId xmlns:a16="http://schemas.microsoft.com/office/drawing/2014/main" id="{4C24EE59-8CA6-49A3-8904-4BF3882A3CEB}"/>
              </a:ext>
            </a:extLst>
          </p:cNvPr>
          <p:cNvSpPr/>
          <p:nvPr/>
        </p:nvSpPr>
        <p:spPr>
          <a:xfrm>
            <a:off x="6513968" y="4578776"/>
            <a:ext cx="2320968" cy="1569660"/>
          </a:xfrm>
          <a:prstGeom prst="rect">
            <a:avLst/>
          </a:prstGeom>
          <a:solidFill>
            <a:schemeClr val="bg1">
              <a:alpha val="80000"/>
            </a:schemeClr>
          </a:solidFill>
          <a:ln>
            <a:noFill/>
          </a:ln>
          <a:effectLst>
            <a:outerShdw blurRad="50800" dist="38100" dir="2700000" algn="tl" rotWithShape="0">
              <a:prstClr val="black">
                <a:alpha val="40000"/>
              </a:prstClr>
            </a:outerShdw>
          </a:effectLst>
        </p:spPr>
        <p:txBody>
          <a:bodyPr wrap="square">
            <a:spAutoFit/>
          </a:bodyPr>
          <a:lstStyle/>
          <a:p>
            <a:pPr lvl="0" algn="ctr">
              <a:defRPr/>
            </a:pPr>
            <a:r>
              <a:rPr lang="en-US" sz="1600" b="1" kern="0">
                <a:solidFill>
                  <a:prstClr val="black"/>
                </a:solidFill>
                <a:latin typeface="Neue Haas Grotesk Text Pro" panose="020B0504020202020204" pitchFamily="34" charset="0"/>
              </a:rPr>
              <a:t>Team Members:</a:t>
            </a:r>
          </a:p>
          <a:p>
            <a:pPr lvl="0" algn="ctr">
              <a:defRPr/>
            </a:pPr>
            <a:r>
              <a:rPr lang="en-US" sz="1600" kern="0">
                <a:solidFill>
                  <a:prstClr val="black"/>
                </a:solidFill>
                <a:latin typeface="Neue Haas Grotesk Text Pro" panose="020B0504020202020204" pitchFamily="34" charset="0"/>
              </a:rPr>
              <a:t>Ong Kang Wei</a:t>
            </a:r>
          </a:p>
          <a:p>
            <a:pPr lvl="0" algn="ctr">
              <a:defRPr/>
            </a:pPr>
            <a:r>
              <a:rPr lang="en-US" sz="1600" kern="0">
                <a:solidFill>
                  <a:prstClr val="black"/>
                </a:solidFill>
                <a:latin typeface="Neue Haas Grotesk Text Pro" panose="020B0504020202020204" pitchFamily="34" charset="0"/>
              </a:rPr>
              <a:t>Kenny Pang</a:t>
            </a:r>
          </a:p>
          <a:p>
            <a:pPr lvl="0" algn="ctr">
              <a:defRPr/>
            </a:pPr>
            <a:r>
              <a:rPr lang="en-US" sz="1600" kern="0">
                <a:solidFill>
                  <a:prstClr val="black"/>
                </a:solidFill>
                <a:latin typeface="Neue Haas Grotesk Text Pro" panose="020B0504020202020204" pitchFamily="34" charset="0"/>
              </a:rPr>
              <a:t>Tammi </a:t>
            </a:r>
            <a:r>
              <a:rPr lang="en-US" sz="1600" kern="0" err="1">
                <a:solidFill>
                  <a:prstClr val="black"/>
                </a:solidFill>
                <a:latin typeface="Neue Haas Grotesk Text Pro" panose="020B0504020202020204" pitchFamily="34" charset="0"/>
              </a:rPr>
              <a:t>Chng</a:t>
            </a:r>
            <a:endParaRPr lang="en-US" sz="1600" kern="0">
              <a:solidFill>
                <a:prstClr val="black"/>
              </a:solidFill>
              <a:latin typeface="Neue Haas Grotesk Text Pro" panose="020B0504020202020204" pitchFamily="34" charset="0"/>
            </a:endParaRPr>
          </a:p>
          <a:p>
            <a:pPr lvl="0" algn="ctr">
              <a:defRPr/>
            </a:pPr>
            <a:r>
              <a:rPr lang="en-US" sz="1600" kern="0" err="1">
                <a:solidFill>
                  <a:prstClr val="black"/>
                </a:solidFill>
                <a:latin typeface="Neue Haas Grotesk Text Pro" panose="020B0504020202020204" pitchFamily="34" charset="0"/>
              </a:rPr>
              <a:t>Wa</a:t>
            </a:r>
            <a:r>
              <a:rPr lang="en-US" sz="1600" kern="0">
                <a:solidFill>
                  <a:prstClr val="black"/>
                </a:solidFill>
                <a:latin typeface="Neue Haas Grotesk Text Pro" panose="020B0504020202020204" pitchFamily="34" charset="0"/>
              </a:rPr>
              <a:t> Thone</a:t>
            </a:r>
          </a:p>
          <a:p>
            <a:pPr algn="ctr">
              <a:defRPr/>
            </a:pPr>
            <a:r>
              <a:rPr lang="en-US" sz="1600" kern="0">
                <a:solidFill>
                  <a:prstClr val="black"/>
                </a:solidFill>
                <a:latin typeface="Neue Haas Grotesk Text Pro" panose="020B0504020202020204" pitchFamily="34" charset="0"/>
              </a:rPr>
              <a:t>Yar </a:t>
            </a:r>
            <a:r>
              <a:rPr lang="en-US" sz="1600" kern="0" err="1">
                <a:solidFill>
                  <a:prstClr val="black"/>
                </a:solidFill>
                <a:latin typeface="Neue Haas Grotesk Text Pro" panose="020B0504020202020204" pitchFamily="34" charset="0"/>
              </a:rPr>
              <a:t>Khine</a:t>
            </a:r>
            <a:r>
              <a:rPr lang="en-US" sz="1600" kern="0">
                <a:solidFill>
                  <a:prstClr val="black"/>
                </a:solidFill>
                <a:latin typeface="Neue Haas Grotesk Text Pro" panose="020B0504020202020204" pitchFamily="34" charset="0"/>
              </a:rPr>
              <a:t> </a:t>
            </a:r>
            <a:r>
              <a:rPr lang="en-US" sz="1600" kern="0" err="1">
                <a:solidFill>
                  <a:prstClr val="black"/>
                </a:solidFill>
                <a:latin typeface="Neue Haas Grotesk Text Pro" panose="020B0504020202020204" pitchFamily="34" charset="0"/>
              </a:rPr>
              <a:t>Phyo</a:t>
            </a:r>
            <a:endParaRPr lang="en-US" sz="1600" kern="0">
              <a:solidFill>
                <a:prstClr val="black"/>
              </a:solidFill>
              <a:latin typeface="Neue Haas Grotesk Text Pro" panose="020B0504020202020204" pitchFamily="34" charset="0"/>
            </a:endParaRPr>
          </a:p>
        </p:txBody>
      </p:sp>
      <p:grpSp>
        <p:nvGrpSpPr>
          <p:cNvPr id="75" name="Group 74">
            <a:extLst>
              <a:ext uri="{FF2B5EF4-FFF2-40B4-BE49-F238E27FC236}">
                <a16:creationId xmlns:a16="http://schemas.microsoft.com/office/drawing/2014/main" id="{BBDF858B-DA1B-46D8-B708-31E66625FA35}"/>
              </a:ext>
            </a:extLst>
          </p:cNvPr>
          <p:cNvGrpSpPr/>
          <p:nvPr/>
        </p:nvGrpSpPr>
        <p:grpSpPr>
          <a:xfrm>
            <a:off x="312647" y="5200450"/>
            <a:ext cx="5470707" cy="947986"/>
            <a:chOff x="312647" y="5309197"/>
            <a:chExt cx="5470707" cy="947986"/>
          </a:xfrm>
        </p:grpSpPr>
        <p:cxnSp>
          <p:nvCxnSpPr>
            <p:cNvPr id="35" name="Straight Connector 34">
              <a:extLst>
                <a:ext uri="{FF2B5EF4-FFF2-40B4-BE49-F238E27FC236}">
                  <a16:creationId xmlns:a16="http://schemas.microsoft.com/office/drawing/2014/main" id="{D5BABC61-8233-477F-8EB2-17DE29D63473}"/>
                </a:ext>
              </a:extLst>
            </p:cNvPr>
            <p:cNvCxnSpPr>
              <a:cxnSpLocks/>
              <a:stCxn id="54" idx="6"/>
              <a:endCxn id="46" idx="6"/>
            </p:cNvCxnSpPr>
            <p:nvPr/>
          </p:nvCxnSpPr>
          <p:spPr>
            <a:xfrm flipV="1">
              <a:off x="1037010" y="5511159"/>
              <a:ext cx="4425903" cy="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150CD222-7DE2-4E65-B468-74F734A2DB31}"/>
                </a:ext>
              </a:extLst>
            </p:cNvPr>
            <p:cNvGrpSpPr/>
            <p:nvPr/>
          </p:nvGrpSpPr>
          <p:grpSpPr>
            <a:xfrm>
              <a:off x="633088" y="5309199"/>
              <a:ext cx="403922" cy="403923"/>
              <a:chOff x="626355" y="1997955"/>
              <a:chExt cx="831273" cy="831273"/>
            </a:xfrm>
          </p:grpSpPr>
          <p:sp>
            <p:nvSpPr>
              <p:cNvPr id="54" name="Oval 53">
                <a:extLst>
                  <a:ext uri="{FF2B5EF4-FFF2-40B4-BE49-F238E27FC236}">
                    <a16:creationId xmlns:a16="http://schemas.microsoft.com/office/drawing/2014/main" id="{52B61784-80D7-4BB8-9C6C-BB3DA45D15A1}"/>
                  </a:ext>
                </a:extLst>
              </p:cNvPr>
              <p:cNvSpPr>
                <a:spLocks noChangeAspect="1"/>
              </p:cNvSpPr>
              <p:nvPr/>
            </p:nvSpPr>
            <p:spPr>
              <a:xfrm>
                <a:off x="626355" y="1997955"/>
                <a:ext cx="831273" cy="83127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sp>
            <p:nvSpPr>
              <p:cNvPr id="55" name="Oval 54">
                <a:extLst>
                  <a:ext uri="{FF2B5EF4-FFF2-40B4-BE49-F238E27FC236}">
                    <a16:creationId xmlns:a16="http://schemas.microsoft.com/office/drawing/2014/main" id="{1C7BB74D-249B-46D9-9370-4A3DFB7F7D5F}"/>
                  </a:ext>
                </a:extLst>
              </p:cNvPr>
              <p:cNvSpPr>
                <a:spLocks noChangeAspect="1"/>
              </p:cNvSpPr>
              <p:nvPr/>
            </p:nvSpPr>
            <p:spPr>
              <a:xfrm>
                <a:off x="729717" y="2101317"/>
                <a:ext cx="624548" cy="62454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grpSp>
        <p:grpSp>
          <p:nvGrpSpPr>
            <p:cNvPr id="37" name="Group 36">
              <a:extLst>
                <a:ext uri="{FF2B5EF4-FFF2-40B4-BE49-F238E27FC236}">
                  <a16:creationId xmlns:a16="http://schemas.microsoft.com/office/drawing/2014/main" id="{D0E7E6AE-5565-4231-8B45-DC72EFEFF216}"/>
                </a:ext>
              </a:extLst>
            </p:cNvPr>
            <p:cNvGrpSpPr/>
            <p:nvPr/>
          </p:nvGrpSpPr>
          <p:grpSpPr>
            <a:xfrm>
              <a:off x="1739564" y="5309198"/>
              <a:ext cx="403922" cy="403923"/>
              <a:chOff x="626355" y="1997955"/>
              <a:chExt cx="831273" cy="831273"/>
            </a:xfrm>
          </p:grpSpPr>
          <p:sp>
            <p:nvSpPr>
              <p:cNvPr id="52" name="Oval 51">
                <a:extLst>
                  <a:ext uri="{FF2B5EF4-FFF2-40B4-BE49-F238E27FC236}">
                    <a16:creationId xmlns:a16="http://schemas.microsoft.com/office/drawing/2014/main" id="{B4BCF347-BDF9-4E4E-9FBE-588E56920E58}"/>
                  </a:ext>
                </a:extLst>
              </p:cNvPr>
              <p:cNvSpPr>
                <a:spLocks noChangeAspect="1"/>
              </p:cNvSpPr>
              <p:nvPr/>
            </p:nvSpPr>
            <p:spPr>
              <a:xfrm>
                <a:off x="626355" y="1997955"/>
                <a:ext cx="831273" cy="83127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sp>
            <p:nvSpPr>
              <p:cNvPr id="53" name="Oval 52">
                <a:extLst>
                  <a:ext uri="{FF2B5EF4-FFF2-40B4-BE49-F238E27FC236}">
                    <a16:creationId xmlns:a16="http://schemas.microsoft.com/office/drawing/2014/main" id="{2AFDD942-833C-4C31-9AC3-F8ECEE7679E3}"/>
                  </a:ext>
                </a:extLst>
              </p:cNvPr>
              <p:cNvSpPr>
                <a:spLocks noChangeAspect="1"/>
              </p:cNvSpPr>
              <p:nvPr/>
            </p:nvSpPr>
            <p:spPr>
              <a:xfrm>
                <a:off x="729717" y="2101317"/>
                <a:ext cx="624548" cy="62454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2</a:t>
                </a:r>
              </a:p>
            </p:txBody>
          </p:sp>
        </p:grpSp>
        <p:grpSp>
          <p:nvGrpSpPr>
            <p:cNvPr id="38" name="Group 37">
              <a:extLst>
                <a:ext uri="{FF2B5EF4-FFF2-40B4-BE49-F238E27FC236}">
                  <a16:creationId xmlns:a16="http://schemas.microsoft.com/office/drawing/2014/main" id="{F9A89789-6C00-4589-A5F6-776488827C3C}"/>
                </a:ext>
              </a:extLst>
            </p:cNvPr>
            <p:cNvGrpSpPr/>
            <p:nvPr/>
          </p:nvGrpSpPr>
          <p:grpSpPr>
            <a:xfrm>
              <a:off x="2846039" y="5309198"/>
              <a:ext cx="403922" cy="403923"/>
              <a:chOff x="626355" y="1997955"/>
              <a:chExt cx="831273" cy="831273"/>
            </a:xfrm>
          </p:grpSpPr>
          <p:sp>
            <p:nvSpPr>
              <p:cNvPr id="50" name="Oval 49">
                <a:extLst>
                  <a:ext uri="{FF2B5EF4-FFF2-40B4-BE49-F238E27FC236}">
                    <a16:creationId xmlns:a16="http://schemas.microsoft.com/office/drawing/2014/main" id="{4F9A08B8-A71B-4908-8F75-09BD76C22FB5}"/>
                  </a:ext>
                </a:extLst>
              </p:cNvPr>
              <p:cNvSpPr>
                <a:spLocks noChangeAspect="1"/>
              </p:cNvSpPr>
              <p:nvPr/>
            </p:nvSpPr>
            <p:spPr>
              <a:xfrm>
                <a:off x="626355" y="1997955"/>
                <a:ext cx="831273" cy="83127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sp>
            <p:nvSpPr>
              <p:cNvPr id="51" name="Oval 50">
                <a:extLst>
                  <a:ext uri="{FF2B5EF4-FFF2-40B4-BE49-F238E27FC236}">
                    <a16:creationId xmlns:a16="http://schemas.microsoft.com/office/drawing/2014/main" id="{692A1C13-C0B3-471C-84E0-6BC76C369168}"/>
                  </a:ext>
                </a:extLst>
              </p:cNvPr>
              <p:cNvSpPr>
                <a:spLocks noChangeAspect="1"/>
              </p:cNvSpPr>
              <p:nvPr/>
            </p:nvSpPr>
            <p:spPr>
              <a:xfrm>
                <a:off x="729717" y="2101317"/>
                <a:ext cx="624548" cy="62454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3</a:t>
                </a:r>
              </a:p>
            </p:txBody>
          </p:sp>
        </p:grpSp>
        <p:grpSp>
          <p:nvGrpSpPr>
            <p:cNvPr id="39" name="Group 38">
              <a:extLst>
                <a:ext uri="{FF2B5EF4-FFF2-40B4-BE49-F238E27FC236}">
                  <a16:creationId xmlns:a16="http://schemas.microsoft.com/office/drawing/2014/main" id="{2CCD720E-DBFB-439A-A7D2-2ED45E007B0B}"/>
                </a:ext>
              </a:extLst>
            </p:cNvPr>
            <p:cNvGrpSpPr/>
            <p:nvPr/>
          </p:nvGrpSpPr>
          <p:grpSpPr>
            <a:xfrm>
              <a:off x="3952515" y="5309197"/>
              <a:ext cx="403922" cy="403923"/>
              <a:chOff x="626355" y="1997955"/>
              <a:chExt cx="831273" cy="831273"/>
            </a:xfrm>
          </p:grpSpPr>
          <p:sp>
            <p:nvSpPr>
              <p:cNvPr id="48" name="Oval 47">
                <a:extLst>
                  <a:ext uri="{FF2B5EF4-FFF2-40B4-BE49-F238E27FC236}">
                    <a16:creationId xmlns:a16="http://schemas.microsoft.com/office/drawing/2014/main" id="{C73A3B4E-783A-4E53-A28E-B7AF4D37A24E}"/>
                  </a:ext>
                </a:extLst>
              </p:cNvPr>
              <p:cNvSpPr>
                <a:spLocks noChangeAspect="1"/>
              </p:cNvSpPr>
              <p:nvPr/>
            </p:nvSpPr>
            <p:spPr>
              <a:xfrm>
                <a:off x="626355" y="1997955"/>
                <a:ext cx="831273" cy="83127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sp>
            <p:nvSpPr>
              <p:cNvPr id="49" name="Oval 48">
                <a:extLst>
                  <a:ext uri="{FF2B5EF4-FFF2-40B4-BE49-F238E27FC236}">
                    <a16:creationId xmlns:a16="http://schemas.microsoft.com/office/drawing/2014/main" id="{E6AB2043-0E2B-429E-964C-D800F3EEC575}"/>
                  </a:ext>
                </a:extLst>
              </p:cNvPr>
              <p:cNvSpPr>
                <a:spLocks noChangeAspect="1"/>
              </p:cNvSpPr>
              <p:nvPr/>
            </p:nvSpPr>
            <p:spPr>
              <a:xfrm>
                <a:off x="729717" y="2101317"/>
                <a:ext cx="624548" cy="62454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4</a:t>
                </a:r>
              </a:p>
            </p:txBody>
          </p:sp>
        </p:grpSp>
        <p:grpSp>
          <p:nvGrpSpPr>
            <p:cNvPr id="40" name="Group 39">
              <a:extLst>
                <a:ext uri="{FF2B5EF4-FFF2-40B4-BE49-F238E27FC236}">
                  <a16:creationId xmlns:a16="http://schemas.microsoft.com/office/drawing/2014/main" id="{3B60C903-B274-4874-AD7D-C44CFC93A0BE}"/>
                </a:ext>
              </a:extLst>
            </p:cNvPr>
            <p:cNvGrpSpPr/>
            <p:nvPr/>
          </p:nvGrpSpPr>
          <p:grpSpPr>
            <a:xfrm>
              <a:off x="5058991" y="5309197"/>
              <a:ext cx="403922" cy="403923"/>
              <a:chOff x="626355" y="1997955"/>
              <a:chExt cx="831273" cy="831273"/>
            </a:xfrm>
          </p:grpSpPr>
          <p:sp>
            <p:nvSpPr>
              <p:cNvPr id="46" name="Oval 45">
                <a:extLst>
                  <a:ext uri="{FF2B5EF4-FFF2-40B4-BE49-F238E27FC236}">
                    <a16:creationId xmlns:a16="http://schemas.microsoft.com/office/drawing/2014/main" id="{BB1F2355-979F-4A41-A6B7-9EABC67E24EF}"/>
                  </a:ext>
                </a:extLst>
              </p:cNvPr>
              <p:cNvSpPr>
                <a:spLocks noChangeAspect="1"/>
              </p:cNvSpPr>
              <p:nvPr/>
            </p:nvSpPr>
            <p:spPr>
              <a:xfrm>
                <a:off x="626355" y="1997955"/>
                <a:ext cx="831273" cy="831273"/>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1</a:t>
                </a:r>
              </a:p>
            </p:txBody>
          </p:sp>
          <p:sp>
            <p:nvSpPr>
              <p:cNvPr id="47" name="Oval 46">
                <a:extLst>
                  <a:ext uri="{FF2B5EF4-FFF2-40B4-BE49-F238E27FC236}">
                    <a16:creationId xmlns:a16="http://schemas.microsoft.com/office/drawing/2014/main" id="{E9F2025B-AA30-4551-BA86-497C76B6FE30}"/>
                  </a:ext>
                </a:extLst>
              </p:cNvPr>
              <p:cNvSpPr>
                <a:spLocks noChangeAspect="1"/>
              </p:cNvSpPr>
              <p:nvPr/>
            </p:nvSpPr>
            <p:spPr>
              <a:xfrm>
                <a:off x="729717" y="2101317"/>
                <a:ext cx="624548" cy="62454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Neue Haas Grotesk Text Pro" panose="020B0504020202020204" pitchFamily="34" charset="0"/>
                  </a:rPr>
                  <a:t>5</a:t>
                </a:r>
              </a:p>
            </p:txBody>
          </p:sp>
        </p:grpSp>
        <p:sp>
          <p:nvSpPr>
            <p:cNvPr id="41" name="TextBox 40">
              <a:extLst>
                <a:ext uri="{FF2B5EF4-FFF2-40B4-BE49-F238E27FC236}">
                  <a16:creationId xmlns:a16="http://schemas.microsoft.com/office/drawing/2014/main" id="{F67A7BF7-DBF5-4891-A2E6-859D81DA2C30}"/>
                </a:ext>
              </a:extLst>
            </p:cNvPr>
            <p:cNvSpPr txBox="1"/>
            <p:nvPr/>
          </p:nvSpPr>
          <p:spPr>
            <a:xfrm>
              <a:off x="312647" y="5826296"/>
              <a:ext cx="1044804" cy="430887"/>
            </a:xfrm>
            <a:prstGeom prst="rect">
              <a:avLst/>
            </a:prstGeom>
            <a:solidFill>
              <a:schemeClr val="bg1">
                <a:alpha val="80000"/>
              </a:schemeClr>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Neue Haas Grotesk Text Pro" panose="020B0504020202020204" pitchFamily="34" charset="0"/>
                </a:rPr>
                <a:t>Proposed Solution</a:t>
              </a:r>
            </a:p>
          </p:txBody>
        </p:sp>
        <p:sp>
          <p:nvSpPr>
            <p:cNvPr id="42" name="TextBox 41">
              <a:extLst>
                <a:ext uri="{FF2B5EF4-FFF2-40B4-BE49-F238E27FC236}">
                  <a16:creationId xmlns:a16="http://schemas.microsoft.com/office/drawing/2014/main" id="{083C63F5-AEF1-4BAF-A559-024647DB91FB}"/>
                </a:ext>
              </a:extLst>
            </p:cNvPr>
            <p:cNvSpPr txBox="1"/>
            <p:nvPr/>
          </p:nvSpPr>
          <p:spPr>
            <a:xfrm>
              <a:off x="1419123" y="5826296"/>
              <a:ext cx="1044804" cy="430887"/>
            </a:xfrm>
            <a:prstGeom prst="rect">
              <a:avLst/>
            </a:prstGeom>
            <a:solidFill>
              <a:schemeClr val="bg1">
                <a:alpha val="80000"/>
              </a:schemeClr>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Neue Haas Grotesk Text Pro" panose="020B0504020202020204" pitchFamily="34" charset="0"/>
                </a:rPr>
                <a:t>Business Case</a:t>
              </a:r>
            </a:p>
          </p:txBody>
        </p:sp>
        <p:sp>
          <p:nvSpPr>
            <p:cNvPr id="43" name="TextBox 42">
              <a:extLst>
                <a:ext uri="{FF2B5EF4-FFF2-40B4-BE49-F238E27FC236}">
                  <a16:creationId xmlns:a16="http://schemas.microsoft.com/office/drawing/2014/main" id="{82E52394-7D1E-4489-85CD-9321E88FF782}"/>
                </a:ext>
              </a:extLst>
            </p:cNvPr>
            <p:cNvSpPr txBox="1"/>
            <p:nvPr/>
          </p:nvSpPr>
          <p:spPr>
            <a:xfrm>
              <a:off x="2525599" y="5826296"/>
              <a:ext cx="1044804" cy="430887"/>
            </a:xfrm>
            <a:prstGeom prst="rect">
              <a:avLst/>
            </a:prstGeom>
            <a:solidFill>
              <a:schemeClr val="bg1">
                <a:alpha val="80000"/>
              </a:schemeClr>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Neue Haas Grotesk Text Pro" panose="020B0504020202020204" pitchFamily="34" charset="0"/>
                </a:rPr>
                <a:t>Solution Architecture</a:t>
              </a:r>
            </a:p>
          </p:txBody>
        </p:sp>
        <p:sp>
          <p:nvSpPr>
            <p:cNvPr id="44" name="TextBox 43">
              <a:extLst>
                <a:ext uri="{FF2B5EF4-FFF2-40B4-BE49-F238E27FC236}">
                  <a16:creationId xmlns:a16="http://schemas.microsoft.com/office/drawing/2014/main" id="{AF523DFB-34E5-4B76-9AAD-2CF8C1EBF375}"/>
                </a:ext>
              </a:extLst>
            </p:cNvPr>
            <p:cNvSpPr txBox="1"/>
            <p:nvPr/>
          </p:nvSpPr>
          <p:spPr>
            <a:xfrm>
              <a:off x="3632075" y="5826296"/>
              <a:ext cx="1044804" cy="430887"/>
            </a:xfrm>
            <a:prstGeom prst="rect">
              <a:avLst/>
            </a:prstGeom>
            <a:solidFill>
              <a:schemeClr val="bg1">
                <a:alpha val="80000"/>
              </a:schemeClr>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Neue Haas Grotesk Text Pro" panose="020B0504020202020204" pitchFamily="34" charset="0"/>
                </a:rPr>
                <a:t>Technology/Framework</a:t>
              </a:r>
            </a:p>
          </p:txBody>
        </p:sp>
        <p:sp>
          <p:nvSpPr>
            <p:cNvPr id="45" name="TextBox 44">
              <a:extLst>
                <a:ext uri="{FF2B5EF4-FFF2-40B4-BE49-F238E27FC236}">
                  <a16:creationId xmlns:a16="http://schemas.microsoft.com/office/drawing/2014/main" id="{E69E1C2A-8F6D-4F21-8CA9-C4ED060C1561}"/>
                </a:ext>
              </a:extLst>
            </p:cNvPr>
            <p:cNvSpPr txBox="1"/>
            <p:nvPr/>
          </p:nvSpPr>
          <p:spPr>
            <a:xfrm>
              <a:off x="4738550" y="5826296"/>
              <a:ext cx="1044804" cy="430887"/>
            </a:xfrm>
            <a:prstGeom prst="rect">
              <a:avLst/>
            </a:prstGeom>
            <a:solidFill>
              <a:schemeClr val="bg1">
                <a:alpha val="80000"/>
              </a:schemeClr>
            </a:solid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Neue Haas Grotesk Text Pro" panose="020B0504020202020204" pitchFamily="34" charset="0"/>
                </a:rPr>
                <a:t>Solution Demo</a:t>
              </a:r>
            </a:p>
          </p:txBody>
        </p:sp>
      </p:grpSp>
      <p:sp>
        <p:nvSpPr>
          <p:cNvPr id="72" name="Rectangle 71">
            <a:extLst>
              <a:ext uri="{FF2B5EF4-FFF2-40B4-BE49-F238E27FC236}">
                <a16:creationId xmlns:a16="http://schemas.microsoft.com/office/drawing/2014/main" id="{600B5537-92D8-440D-A34B-4FAC91B0A45B}"/>
              </a:ext>
            </a:extLst>
          </p:cNvPr>
          <p:cNvSpPr/>
          <p:nvPr/>
        </p:nvSpPr>
        <p:spPr>
          <a:xfrm>
            <a:off x="334964" y="973626"/>
            <a:ext cx="7939241" cy="746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720000" bIns="45707" rtlCol="0" anchor="t"/>
          <a:lstStyle/>
          <a:p>
            <a:pPr marL="0" marR="0" lvl="0" indent="0" algn="just" defTabSz="91417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Neue Haas Grotesk Text Pro" panose="020B0504020202020204" pitchFamily="34" charset="0"/>
              </a:rPr>
              <a:t>StockOverflow: Building a Financial Future for Youths </a:t>
            </a:r>
            <a:endParaRPr lang="en-US" sz="2000" b="1">
              <a:solidFill>
                <a:schemeClr val="tx1"/>
              </a:solidFill>
              <a:latin typeface="Neue Haas Grotesk Text Pro" panose="020B0504020202020204" pitchFamily="34" charset="0"/>
            </a:endParaRPr>
          </a:p>
          <a:p>
            <a:pPr marL="0" marR="0" lvl="0" indent="0" algn="just" defTabSz="914172" rtl="0" eaLnBrk="1" fontAlgn="auto" latinLnBrk="0" hangingPunct="1">
              <a:lnSpc>
                <a:spcPct val="100000"/>
              </a:lnSpc>
              <a:spcBef>
                <a:spcPts val="0"/>
              </a:spcBef>
              <a:spcAft>
                <a:spcPts val="0"/>
              </a:spcAft>
              <a:buClrTx/>
              <a:buSzTx/>
              <a:buFontTx/>
              <a:buNone/>
              <a:tabLst/>
              <a:defRPr/>
            </a:pPr>
            <a:r>
              <a:rPr lang="en-US" sz="1600" b="1" i="1">
                <a:solidFill>
                  <a:schemeClr val="tx1"/>
                </a:solidFill>
                <a:latin typeface="Neue Haas Grotesk Text Pro" panose="020B0504020202020204" pitchFamily="34" charset="0"/>
              </a:rPr>
              <a:t>F</a:t>
            </a:r>
            <a:r>
              <a:rPr kumimoji="0" lang="en-US" sz="1600" b="1" i="1" u="none" strike="noStrike" kern="1200" cap="none" spc="0" normalizeH="0" baseline="0" noProof="0" err="1">
                <a:ln>
                  <a:noFill/>
                </a:ln>
                <a:solidFill>
                  <a:schemeClr val="tx1"/>
                </a:solidFill>
                <a:effectLst/>
                <a:uLnTx/>
                <a:uFillTx/>
                <a:latin typeface="Neue Haas Grotesk Text Pro" panose="020B0504020202020204" pitchFamily="34" charset="0"/>
              </a:rPr>
              <a:t>irst</a:t>
            </a:r>
            <a:r>
              <a:rPr kumimoji="0" lang="en-US" sz="1600" b="1" i="1" u="none" strike="noStrike" kern="1200" cap="none" spc="0" normalizeH="0" baseline="0" noProof="0">
                <a:ln>
                  <a:noFill/>
                </a:ln>
                <a:solidFill>
                  <a:schemeClr val="tx1"/>
                </a:solidFill>
                <a:effectLst/>
                <a:uLnTx/>
                <a:uFillTx/>
                <a:latin typeface="Neue Haas Grotesk Text Pro" panose="020B0504020202020204" pitchFamily="34" charset="0"/>
              </a:rPr>
              <a:t> steps to a sustainable investment process</a:t>
            </a:r>
            <a:endParaRPr kumimoji="0" lang="en-US" sz="1600" b="0" i="1" u="none" strike="noStrike" kern="1200" cap="none" spc="0" normalizeH="0" baseline="0" noProof="0">
              <a:ln>
                <a:noFill/>
              </a:ln>
              <a:solidFill>
                <a:schemeClr val="tx1"/>
              </a:solidFill>
              <a:effectLst/>
              <a:uLnTx/>
              <a:uFillTx/>
              <a:latin typeface="Neue Haas Grotesk Text Pro" panose="020B0504020202020204" pitchFamily="34" charset="0"/>
            </a:endParaRPr>
          </a:p>
        </p:txBody>
      </p:sp>
      <p:pic>
        <p:nvPicPr>
          <p:cNvPr id="76" name="Picture 75">
            <a:extLst>
              <a:ext uri="{FF2B5EF4-FFF2-40B4-BE49-F238E27FC236}">
                <a16:creationId xmlns:a16="http://schemas.microsoft.com/office/drawing/2014/main" id="{10F59D17-C108-4714-B4BB-88480861FF51}"/>
              </a:ext>
            </a:extLst>
          </p:cNvPr>
          <p:cNvPicPr>
            <a:picLocks noChangeAspect="1"/>
          </p:cNvPicPr>
          <p:nvPr/>
        </p:nvPicPr>
        <p:blipFill>
          <a:blip r:embed="rId5"/>
          <a:stretch>
            <a:fillRect/>
          </a:stretch>
        </p:blipFill>
        <p:spPr>
          <a:xfrm>
            <a:off x="6412580" y="2047780"/>
            <a:ext cx="1187921" cy="1183621"/>
          </a:xfrm>
          <a:prstGeom prst="rect">
            <a:avLst/>
          </a:prstGeom>
          <a:ln>
            <a:noFill/>
          </a:ln>
        </p:spPr>
      </p:pic>
      <p:sp>
        <p:nvSpPr>
          <p:cNvPr id="84" name="Rectangle 83">
            <a:extLst>
              <a:ext uri="{FF2B5EF4-FFF2-40B4-BE49-F238E27FC236}">
                <a16:creationId xmlns:a16="http://schemas.microsoft.com/office/drawing/2014/main" id="{765B624F-ADD6-445B-A655-F01D9876D606}"/>
              </a:ext>
            </a:extLst>
          </p:cNvPr>
          <p:cNvSpPr/>
          <p:nvPr/>
        </p:nvSpPr>
        <p:spPr>
          <a:xfrm>
            <a:off x="334962" y="2040101"/>
            <a:ext cx="2676151" cy="289543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432000" bIns="72000" rtlCol="0" anchor="t"/>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Neue Haas Grotesk Text Pro" panose="020B0504020202020204" pitchFamily="34" charset="0"/>
              </a:rPr>
              <a:t>Before</a:t>
            </a:r>
            <a:endParaRPr kumimoji="0" lang="en-US" sz="1300" b="1" i="0" u="none" strike="noStrike" kern="1200" cap="none" spc="0" normalizeH="0" baseline="0" noProof="0">
              <a:ln>
                <a:noFill/>
              </a:ln>
              <a:solidFill>
                <a:schemeClr val="tx1"/>
              </a:solidFill>
              <a:effectLst/>
              <a:uLnTx/>
              <a:uFillTx/>
              <a:latin typeface="Neue Haas Grotesk Text Pro" panose="020B0504020202020204" pitchFamily="34" charset="0"/>
            </a:endParaRPr>
          </a:p>
          <a:p>
            <a:pPr marL="0" marR="0" lvl="0" indent="0" defTabSz="914172" rtl="0" eaLnBrk="1" fontAlgn="auto" latinLnBrk="0" hangingPunct="1">
              <a:lnSpc>
                <a:spcPct val="100000"/>
              </a:lnSpc>
              <a:spcBef>
                <a:spcPts val="0"/>
              </a:spcBef>
              <a:spcAft>
                <a:spcPts val="0"/>
              </a:spcAft>
              <a:buClrTx/>
              <a:buSzTx/>
              <a:buFontTx/>
              <a:buNone/>
              <a:tabLst/>
              <a:defRPr/>
            </a:pPr>
            <a:endParaRPr lang="en-US" sz="1300" b="1">
              <a:solidFill>
                <a:schemeClr val="tx1"/>
              </a:solidFill>
              <a:latin typeface="Neue Haas Grotesk Text Pro" panose="020B0504020202020204" pitchFamily="34" charset="0"/>
            </a:endParaRPr>
          </a:p>
          <a:p>
            <a:pPr marL="0" marR="0" lvl="0" indent="0" defTabSz="914172" rtl="0" eaLnBrk="1" fontAlgn="auto" latinLnBrk="0" hangingPunct="1">
              <a:lnSpc>
                <a:spcPct val="100000"/>
              </a:lnSpc>
              <a:spcBef>
                <a:spcPts val="0"/>
              </a:spcBef>
              <a:spcAft>
                <a:spcPts val="0"/>
              </a:spcAft>
              <a:buClrTx/>
              <a:buSzTx/>
              <a:buFontTx/>
              <a:buNone/>
              <a:tabLst/>
              <a:defRPr/>
            </a:pPr>
            <a:endParaRPr lang="en-US" sz="1300" b="1">
              <a:solidFill>
                <a:schemeClr val="tx1"/>
              </a:solidFill>
              <a:latin typeface="Neue Haas Grotesk Text Pro" panose="020B0504020202020204" pitchFamily="34" charset="0"/>
            </a:endParaRPr>
          </a:p>
          <a:p>
            <a:pPr marL="285750" indent="-285750" defTabSz="914172">
              <a:buFont typeface="Arial" panose="020B0604020202020204" pitchFamily="34" charset="0"/>
              <a:buChar char="•"/>
              <a:defRPr/>
            </a:pPr>
            <a:r>
              <a:rPr kumimoji="0" lang="en-US" sz="1300" i="0" u="none" strike="noStrike" kern="1200" cap="none" spc="0" normalizeH="0" baseline="0" noProof="0">
                <a:ln>
                  <a:noFill/>
                </a:ln>
                <a:solidFill>
                  <a:schemeClr val="tx1"/>
                </a:solidFill>
                <a:effectLst/>
                <a:uLnTx/>
                <a:uFillTx/>
                <a:latin typeface="Neue Haas Grotesk Text Pro" panose="020B0504020202020204" pitchFamily="34" charset="0"/>
              </a:rPr>
              <a:t>Lack appreciation of long-term </a:t>
            </a:r>
            <a:r>
              <a:rPr kumimoji="0" lang="en-US" sz="1300" b="1" i="0" u="none" strike="noStrike" kern="1200" cap="none" spc="0" normalizeH="0" baseline="0" noProof="0">
                <a:ln>
                  <a:noFill/>
                </a:ln>
                <a:solidFill>
                  <a:schemeClr val="tx1"/>
                </a:solidFill>
                <a:effectLst/>
                <a:uLnTx/>
                <a:uFillTx/>
                <a:latin typeface="Neue Haas Grotesk Text Pro" panose="020B0504020202020204" pitchFamily="34" charset="0"/>
              </a:rPr>
              <a:t>financial goals</a:t>
            </a:r>
            <a:endParaRPr lang="en-US" sz="1300">
              <a:solidFill>
                <a:schemeClr val="tx1"/>
              </a:solidFill>
              <a:latin typeface="Neue Haas Grotesk Text Pro" panose="020B0504020202020204" pitchFamily="34" charset="0"/>
            </a:endParaRPr>
          </a:p>
          <a:p>
            <a:pPr marL="285750" marR="0" lvl="0" indent="-285750" defTabSz="9141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solidFill>
                  <a:schemeClr val="tx1"/>
                </a:solidFill>
                <a:latin typeface="Neue Haas Grotesk Text Pro" panose="020B0504020202020204" pitchFamily="34" charset="0"/>
              </a:rPr>
              <a:t>Lack awareness of personal </a:t>
            </a:r>
            <a:r>
              <a:rPr lang="en-US" sz="1300" b="1">
                <a:solidFill>
                  <a:schemeClr val="tx1"/>
                </a:solidFill>
                <a:latin typeface="Neue Haas Grotesk Text Pro" panose="020B0504020202020204" pitchFamily="34" charset="0"/>
              </a:rPr>
              <a:t>risk profile</a:t>
            </a:r>
          </a:p>
          <a:p>
            <a:pPr marL="285750" indent="-285750" defTabSz="914172">
              <a:buFont typeface="Arial" panose="020B0604020202020204" pitchFamily="34" charset="0"/>
              <a:buChar char="•"/>
              <a:defRPr/>
            </a:pPr>
            <a:r>
              <a:rPr lang="en-US" sz="1300">
                <a:solidFill>
                  <a:schemeClr val="tx1"/>
                </a:solidFill>
                <a:latin typeface="Neue Haas Grotesk Text Pro" panose="020B0504020202020204" pitchFamily="34" charset="0"/>
              </a:rPr>
              <a:t>Lack </a:t>
            </a:r>
            <a:r>
              <a:rPr lang="en-US" sz="1300" b="1">
                <a:solidFill>
                  <a:schemeClr val="tx1"/>
                </a:solidFill>
                <a:latin typeface="Neue Haas Grotesk Text Pro" panose="020B0504020202020204" pitchFamily="34" charset="0"/>
              </a:rPr>
              <a:t>information</a:t>
            </a:r>
            <a:r>
              <a:rPr lang="en-US" sz="1300">
                <a:solidFill>
                  <a:schemeClr val="tx1"/>
                </a:solidFill>
                <a:latin typeface="Neue Haas Grotesk Text Pro" panose="020B0504020202020204" pitchFamily="34" charset="0"/>
              </a:rPr>
              <a:t> on asset allocation</a:t>
            </a:r>
          </a:p>
          <a:p>
            <a:pPr marL="285750" marR="0" lvl="0" indent="-285750" defTabSz="9141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i="0" u="none" strike="noStrike" kern="1200" cap="none" spc="0" normalizeH="0" baseline="0" noProof="0">
              <a:ln>
                <a:noFill/>
              </a:ln>
              <a:solidFill>
                <a:schemeClr val="tx1"/>
              </a:solidFill>
              <a:effectLst/>
              <a:uLnTx/>
              <a:uFillTx/>
              <a:latin typeface="Neue Haas Grotesk Text Pro" panose="020B0504020202020204" pitchFamily="34" charset="0"/>
            </a:endParaRPr>
          </a:p>
        </p:txBody>
      </p:sp>
      <p:sp>
        <p:nvSpPr>
          <p:cNvPr id="93" name="Rectangle 92">
            <a:extLst>
              <a:ext uri="{FF2B5EF4-FFF2-40B4-BE49-F238E27FC236}">
                <a16:creationId xmlns:a16="http://schemas.microsoft.com/office/drawing/2014/main" id="{BBFAC7A6-D69F-4736-B709-876A670F90DF}"/>
              </a:ext>
            </a:extLst>
          </p:cNvPr>
          <p:cNvSpPr/>
          <p:nvPr/>
        </p:nvSpPr>
        <p:spPr>
          <a:xfrm>
            <a:off x="3004154" y="2040101"/>
            <a:ext cx="2676151" cy="28954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432000" bIns="72000" rtlCol="0" anchor="t"/>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Neue Haas Grotesk Text Pro" panose="020B0504020202020204" pitchFamily="34" charset="0"/>
              </a:rPr>
              <a:t>After</a:t>
            </a:r>
            <a:endParaRPr lang="en-US" sz="1400" b="1">
              <a:solidFill>
                <a:schemeClr val="tx1"/>
              </a:solidFill>
              <a:latin typeface="Neue Haas Grotesk Text Pro" panose="020B0504020202020204" pitchFamily="34" charset="0"/>
            </a:endParaRPr>
          </a:p>
          <a:p>
            <a:pPr marL="0" marR="0" lvl="0" indent="0" algn="ctr" defTabSz="914172" rtl="0" eaLnBrk="1" fontAlgn="auto" latinLnBrk="0" hangingPunct="1">
              <a:lnSpc>
                <a:spcPct val="100000"/>
              </a:lnSpc>
              <a:spcBef>
                <a:spcPts val="0"/>
              </a:spcBef>
              <a:spcAft>
                <a:spcPts val="0"/>
              </a:spcAft>
              <a:buClrTx/>
              <a:buSzTx/>
              <a:buFontTx/>
              <a:buNone/>
              <a:tabLst/>
              <a:defRPr/>
            </a:pPr>
            <a:endParaRPr lang="en-US" sz="1400" b="1">
              <a:solidFill>
                <a:schemeClr val="tx1"/>
              </a:solidFill>
              <a:latin typeface="Neue Haas Grotesk Text Pro" panose="020B0504020202020204" pitchFamily="34" charset="0"/>
            </a:endParaRPr>
          </a:p>
          <a:p>
            <a:pPr marL="285750" indent="-285750" defTabSz="914172">
              <a:buFont typeface="Arial" panose="020B0604020202020204" pitchFamily="34" charset="0"/>
              <a:buChar char="•"/>
              <a:defRPr/>
            </a:pPr>
            <a:r>
              <a:rPr lang="en-US" sz="1300">
                <a:solidFill>
                  <a:schemeClr val="tx1"/>
                </a:solidFill>
                <a:latin typeface="Neue Haas Grotesk Text Pro" panose="020B0504020202020204" pitchFamily="34" charset="0"/>
              </a:rPr>
              <a:t>Track</a:t>
            </a:r>
            <a:r>
              <a:rPr kumimoji="0" lang="en-US" sz="1300" i="0" u="none" strike="noStrike" kern="1200" cap="none" spc="0" normalizeH="0" baseline="0" noProof="0">
                <a:ln>
                  <a:noFill/>
                </a:ln>
                <a:solidFill>
                  <a:schemeClr val="tx1"/>
                </a:solidFill>
                <a:effectLst/>
                <a:uLnTx/>
                <a:uFillTx/>
                <a:latin typeface="Neue Haas Grotesk Text Pro" panose="020B0504020202020204" pitchFamily="34" charset="0"/>
              </a:rPr>
              <a:t> key </a:t>
            </a:r>
            <a:r>
              <a:rPr kumimoji="0" lang="en-US" sz="1300" b="1" i="0" u="none" strike="noStrike" kern="1200" cap="none" spc="0" normalizeH="0" baseline="0" noProof="0">
                <a:ln>
                  <a:noFill/>
                </a:ln>
                <a:solidFill>
                  <a:schemeClr val="tx1"/>
                </a:solidFill>
                <a:effectLst/>
                <a:uLnTx/>
                <a:uFillTx/>
                <a:latin typeface="Neue Haas Grotesk Text Pro" panose="020B0504020202020204" pitchFamily="34" charset="0"/>
              </a:rPr>
              <a:t>financial milestones</a:t>
            </a:r>
            <a:endParaRPr lang="en-US" sz="1300" b="1">
              <a:solidFill>
                <a:schemeClr val="tx1"/>
              </a:solidFill>
              <a:latin typeface="Neue Haas Grotesk Text Pro" panose="020B0504020202020204" pitchFamily="34" charset="0"/>
            </a:endParaRPr>
          </a:p>
          <a:p>
            <a:pPr marL="285750" marR="0" lvl="0" indent="-285750" defTabSz="9141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solidFill>
                  <a:schemeClr val="tx1"/>
                </a:solidFill>
                <a:latin typeface="Neue Haas Grotesk Text Pro" panose="020B0504020202020204" pitchFamily="34" charset="0"/>
              </a:rPr>
              <a:t>Understand personal </a:t>
            </a:r>
            <a:r>
              <a:rPr lang="en-US" sz="1300" b="1">
                <a:solidFill>
                  <a:schemeClr val="tx1"/>
                </a:solidFill>
                <a:latin typeface="Neue Haas Grotesk Text Pro" panose="020B0504020202020204" pitchFamily="34" charset="0"/>
              </a:rPr>
              <a:t>risk profile</a:t>
            </a:r>
          </a:p>
          <a:p>
            <a:pPr marL="285750" marR="0" lvl="0" indent="-285750" defTabSz="9141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i="0" u="none" strike="noStrike" kern="1200" cap="none" spc="0" normalizeH="0" baseline="0" noProof="0">
                <a:ln>
                  <a:noFill/>
                </a:ln>
                <a:solidFill>
                  <a:schemeClr val="tx1"/>
                </a:solidFill>
                <a:effectLst/>
                <a:uLnTx/>
                <a:uFillTx/>
                <a:latin typeface="Neue Haas Grotesk Text Pro" panose="020B0504020202020204" pitchFamily="34" charset="0"/>
              </a:rPr>
              <a:t>Provide recommended asset allocation</a:t>
            </a:r>
          </a:p>
          <a:p>
            <a:pPr marL="285750" marR="0" lvl="0" indent="-285750" defTabSz="9141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solidFill>
                  <a:schemeClr val="tx1"/>
                </a:solidFill>
                <a:latin typeface="Neue Haas Grotesk Text Pro" panose="020B0504020202020204" pitchFamily="34" charset="0"/>
              </a:rPr>
              <a:t>Aid in </a:t>
            </a:r>
            <a:r>
              <a:rPr lang="en-US" sz="1300" b="1">
                <a:solidFill>
                  <a:schemeClr val="tx1"/>
                </a:solidFill>
                <a:latin typeface="Neue Haas Grotesk Text Pro" panose="020B0504020202020204" pitchFamily="34" charset="0"/>
              </a:rPr>
              <a:t>research and execution </a:t>
            </a:r>
            <a:r>
              <a:rPr lang="en-US" sz="1300">
                <a:solidFill>
                  <a:schemeClr val="tx1"/>
                </a:solidFill>
                <a:latin typeface="Neue Haas Grotesk Text Pro" panose="020B0504020202020204" pitchFamily="34" charset="0"/>
              </a:rPr>
              <a:t>of investment plans</a:t>
            </a:r>
            <a:endParaRPr kumimoji="0" lang="en-US" sz="1300" i="0" u="none" strike="noStrike" kern="1200" cap="none" spc="0" normalizeH="0" baseline="0" noProof="0">
              <a:ln>
                <a:noFill/>
              </a:ln>
              <a:solidFill>
                <a:schemeClr val="tx1"/>
              </a:solidFill>
              <a:effectLst/>
              <a:uLnTx/>
              <a:uFillTx/>
              <a:latin typeface="Neue Haas Grotesk Text Pro" panose="020B0504020202020204" pitchFamily="34" charset="0"/>
            </a:endParaRPr>
          </a:p>
        </p:txBody>
      </p:sp>
      <p:grpSp>
        <p:nvGrpSpPr>
          <p:cNvPr id="86" name="Group 85">
            <a:extLst>
              <a:ext uri="{FF2B5EF4-FFF2-40B4-BE49-F238E27FC236}">
                <a16:creationId xmlns:a16="http://schemas.microsoft.com/office/drawing/2014/main" id="{610CB911-9E66-42E7-9ACE-F92A146D6273}"/>
              </a:ext>
            </a:extLst>
          </p:cNvPr>
          <p:cNvGrpSpPr/>
          <p:nvPr/>
        </p:nvGrpSpPr>
        <p:grpSpPr>
          <a:xfrm>
            <a:off x="2649008" y="3061817"/>
            <a:ext cx="731084" cy="731084"/>
            <a:chOff x="5350150" y="3030425"/>
            <a:chExt cx="1472650" cy="1472650"/>
          </a:xfrm>
        </p:grpSpPr>
        <p:sp>
          <p:nvSpPr>
            <p:cNvPr id="87" name="Oval 86">
              <a:extLst>
                <a:ext uri="{FF2B5EF4-FFF2-40B4-BE49-F238E27FC236}">
                  <a16:creationId xmlns:a16="http://schemas.microsoft.com/office/drawing/2014/main" id="{64D8E574-2B4D-4835-B4E8-87E8A45FA70F}"/>
                </a:ext>
              </a:extLst>
            </p:cNvPr>
            <p:cNvSpPr>
              <a:spLocks noChangeAspect="1"/>
            </p:cNvSpPr>
            <p:nvPr/>
          </p:nvSpPr>
          <p:spPr>
            <a:xfrm>
              <a:off x="5350150" y="3030425"/>
              <a:ext cx="1472650" cy="14726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grpSp>
          <p:nvGrpSpPr>
            <p:cNvPr id="88" name="Group 87">
              <a:extLst>
                <a:ext uri="{FF2B5EF4-FFF2-40B4-BE49-F238E27FC236}">
                  <a16:creationId xmlns:a16="http://schemas.microsoft.com/office/drawing/2014/main" id="{78DD9D85-CD57-4F78-B4D6-4A7FC5A817A6}"/>
                </a:ext>
              </a:extLst>
            </p:cNvPr>
            <p:cNvGrpSpPr>
              <a:grpSpLocks noChangeAspect="1"/>
            </p:cNvGrpSpPr>
            <p:nvPr/>
          </p:nvGrpSpPr>
          <p:grpSpPr>
            <a:xfrm>
              <a:off x="5637062" y="3342709"/>
              <a:ext cx="925400" cy="672716"/>
              <a:chOff x="5803885" y="3432674"/>
              <a:chExt cx="695267" cy="505422"/>
            </a:xfrm>
          </p:grpSpPr>
          <p:sp>
            <p:nvSpPr>
              <p:cNvPr id="89" name="Rounded Rectangle 8">
                <a:extLst>
                  <a:ext uri="{FF2B5EF4-FFF2-40B4-BE49-F238E27FC236}">
                    <a16:creationId xmlns:a16="http://schemas.microsoft.com/office/drawing/2014/main" id="{89923366-B7DD-4DFD-B964-9AB82654F477}"/>
                  </a:ext>
                </a:extLst>
              </p:cNvPr>
              <p:cNvSpPr/>
              <p:nvPr/>
            </p:nvSpPr>
            <p:spPr>
              <a:xfrm>
                <a:off x="5803885" y="3701589"/>
                <a:ext cx="540000" cy="11807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90" name="Rounded Rectangle 9">
                <a:extLst>
                  <a:ext uri="{FF2B5EF4-FFF2-40B4-BE49-F238E27FC236}">
                    <a16:creationId xmlns:a16="http://schemas.microsoft.com/office/drawing/2014/main" id="{D7B1E50E-B45B-4DDC-B2CD-12D44A65A915}"/>
                  </a:ext>
                </a:extLst>
              </p:cNvPr>
              <p:cNvSpPr/>
              <p:nvPr/>
            </p:nvSpPr>
            <p:spPr>
              <a:xfrm rot="2700000">
                <a:off x="6063692" y="3591365"/>
                <a:ext cx="435461" cy="11808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91" name="Rounded Rectangle 10">
                <a:extLst>
                  <a:ext uri="{FF2B5EF4-FFF2-40B4-BE49-F238E27FC236}">
                    <a16:creationId xmlns:a16="http://schemas.microsoft.com/office/drawing/2014/main" id="{FE426489-DE75-4AAD-A36F-0153CC5BEA85}"/>
                  </a:ext>
                </a:extLst>
              </p:cNvPr>
              <p:cNvSpPr/>
              <p:nvPr/>
            </p:nvSpPr>
            <p:spPr>
              <a:xfrm rot="18900000">
                <a:off x="6063691" y="3820018"/>
                <a:ext cx="435461" cy="11807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grpSp>
      </p:grpSp>
      <p:pic>
        <p:nvPicPr>
          <p:cNvPr id="2" name="Picture 2" descr="Amazon Web Services - Wikipedia">
            <a:extLst>
              <a:ext uri="{FF2B5EF4-FFF2-40B4-BE49-F238E27FC236}">
                <a16:creationId xmlns:a16="http://schemas.microsoft.com/office/drawing/2014/main" id="{53979C12-227E-480D-B726-40A509B812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26946" y="2283356"/>
            <a:ext cx="1190753" cy="712468"/>
          </a:xfrm>
          <a:prstGeom prst="rect">
            <a:avLst/>
          </a:prstGeom>
          <a:noFill/>
        </p:spPr>
      </p:pic>
      <p:sp>
        <p:nvSpPr>
          <p:cNvPr id="3" name="Text Placeholder 2">
            <a:extLst>
              <a:ext uri="{FF2B5EF4-FFF2-40B4-BE49-F238E27FC236}">
                <a16:creationId xmlns:a16="http://schemas.microsoft.com/office/drawing/2014/main" id="{B54E0B06-E564-488B-AB25-0B81AB58A388}"/>
              </a:ext>
            </a:extLst>
          </p:cNvPr>
          <p:cNvSpPr>
            <a:spLocks noGrp="1"/>
          </p:cNvSpPr>
          <p:nvPr>
            <p:ph type="body" sz="quarter" idx="4294967295"/>
          </p:nvPr>
        </p:nvSpPr>
        <p:spPr>
          <a:xfrm>
            <a:off x="334962" y="337633"/>
            <a:ext cx="11177587" cy="446376"/>
          </a:xfrm>
          <a:prstGeom prst="rect">
            <a:avLst/>
          </a:prstGeom>
          <a:noFill/>
        </p:spPr>
        <p:txBody>
          <a:bodyPr/>
          <a:lstStyle/>
          <a:p>
            <a:pPr marL="0" indent="0">
              <a:buNone/>
            </a:pPr>
            <a:r>
              <a:rPr lang="en-SG" b="1" i="0">
                <a:effectLst/>
                <a:latin typeface="Neue Haas Grotesk Text Pro" panose="020B0504020202020204" pitchFamily="34" charset="0"/>
              </a:rPr>
              <a:t>Ellipsis Tech Series Hackathon </a:t>
            </a:r>
            <a:endParaRPr lang="en-SG">
              <a:latin typeface="Neue Haas Grotesk Text Pro" panose="020B0504020202020204" pitchFamily="34" charset="0"/>
            </a:endParaRPr>
          </a:p>
        </p:txBody>
      </p:sp>
    </p:spTree>
    <p:extLst>
      <p:ext uri="{BB962C8B-B14F-4D97-AF65-F5344CB8AC3E}">
        <p14:creationId xmlns:p14="http://schemas.microsoft.com/office/powerpoint/2010/main" val="1633417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Rounded Corners 171">
            <a:extLst>
              <a:ext uri="{FF2B5EF4-FFF2-40B4-BE49-F238E27FC236}">
                <a16:creationId xmlns:a16="http://schemas.microsoft.com/office/drawing/2014/main" id="{65E46ECA-04AA-4F7A-9773-048620571D85}"/>
              </a:ext>
            </a:extLst>
          </p:cNvPr>
          <p:cNvSpPr/>
          <p:nvPr/>
        </p:nvSpPr>
        <p:spPr>
          <a:xfrm rot="16200000" flipV="1">
            <a:off x="10123523" y="3546855"/>
            <a:ext cx="1186027" cy="46797"/>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181" name="TextBox 180">
            <a:extLst>
              <a:ext uri="{FF2B5EF4-FFF2-40B4-BE49-F238E27FC236}">
                <a16:creationId xmlns:a16="http://schemas.microsoft.com/office/drawing/2014/main" id="{1759A2E7-5623-40E3-85E4-22F677B3C971}"/>
              </a:ext>
            </a:extLst>
          </p:cNvPr>
          <p:cNvSpPr txBox="1"/>
          <p:nvPr/>
        </p:nvSpPr>
        <p:spPr>
          <a:xfrm>
            <a:off x="3738515" y="1196568"/>
            <a:ext cx="4741010" cy="584775"/>
          </a:xfrm>
          <a:prstGeom prst="rect">
            <a:avLst/>
          </a:prstGeom>
          <a:solidFill>
            <a:srgbClr val="132E5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Recommend</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Portfolio Mix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based</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on Risk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Assessment</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Results</a:t>
            </a:r>
            <a:endPar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graphicFrame>
        <p:nvGraphicFramePr>
          <p:cNvPr id="16" name="Chart 15">
            <a:extLst>
              <a:ext uri="{FF2B5EF4-FFF2-40B4-BE49-F238E27FC236}">
                <a16:creationId xmlns:a16="http://schemas.microsoft.com/office/drawing/2014/main" id="{9D7C3512-43CE-47F1-9AF1-B269BB33C343}"/>
              </a:ext>
            </a:extLst>
          </p:cNvPr>
          <p:cNvGraphicFramePr/>
          <p:nvPr>
            <p:extLst>
              <p:ext uri="{D42A27DB-BD31-4B8C-83A1-F6EECF244321}">
                <p14:modId xmlns:p14="http://schemas.microsoft.com/office/powerpoint/2010/main" val="3408339146"/>
              </p:ext>
            </p:extLst>
          </p:nvPr>
        </p:nvGraphicFramePr>
        <p:xfrm>
          <a:off x="5187841" y="2358415"/>
          <a:ext cx="1848347" cy="1515938"/>
        </p:xfrm>
        <a:graphic>
          <a:graphicData uri="http://schemas.openxmlformats.org/drawingml/2006/chart">
            <c:chart xmlns:c="http://schemas.openxmlformats.org/drawingml/2006/chart" xmlns:r="http://schemas.openxmlformats.org/officeDocument/2006/relationships" r:id="rId60"/>
          </a:graphicData>
        </a:graphic>
      </p:graphicFrame>
      <p:grpSp>
        <p:nvGrpSpPr>
          <p:cNvPr id="84" name="Google Shape;1800;p41">
            <a:extLst>
              <a:ext uri="{FF2B5EF4-FFF2-40B4-BE49-F238E27FC236}">
                <a16:creationId xmlns:a16="http://schemas.microsoft.com/office/drawing/2014/main" id="{19BA3A79-A1D9-49D3-BD14-6C4E99069474}"/>
              </a:ext>
            </a:extLst>
          </p:cNvPr>
          <p:cNvGrpSpPr/>
          <p:nvPr/>
        </p:nvGrpSpPr>
        <p:grpSpPr>
          <a:xfrm>
            <a:off x="3727222" y="1831386"/>
            <a:ext cx="1478501" cy="679955"/>
            <a:chOff x="1230287" y="1398309"/>
            <a:chExt cx="3184550" cy="1464559"/>
          </a:xfrm>
        </p:grpSpPr>
        <p:grpSp>
          <p:nvGrpSpPr>
            <p:cNvPr id="85" name="Google Shape;1801;p41">
              <a:extLst>
                <a:ext uri="{FF2B5EF4-FFF2-40B4-BE49-F238E27FC236}">
                  <a16:creationId xmlns:a16="http://schemas.microsoft.com/office/drawing/2014/main" id="{920AE0B2-7CEC-4B98-8F1E-91370C64C658}"/>
                </a:ext>
              </a:extLst>
            </p:cNvPr>
            <p:cNvGrpSpPr/>
            <p:nvPr/>
          </p:nvGrpSpPr>
          <p:grpSpPr>
            <a:xfrm>
              <a:off x="1230287" y="1398309"/>
              <a:ext cx="3184550" cy="1464559"/>
              <a:chOff x="1230287" y="1398309"/>
              <a:chExt cx="3184550" cy="1464559"/>
            </a:xfrm>
          </p:grpSpPr>
          <p:sp>
            <p:nvSpPr>
              <p:cNvPr id="92" name="Google Shape;1802;p41">
                <a:extLst>
                  <a:ext uri="{FF2B5EF4-FFF2-40B4-BE49-F238E27FC236}">
                    <a16:creationId xmlns:a16="http://schemas.microsoft.com/office/drawing/2014/main" id="{6B27CF7B-3215-47AD-BEC6-B23BE697CAC7}"/>
                  </a:ext>
                </a:extLst>
              </p:cNvPr>
              <p:cNvSpPr/>
              <p:nvPr/>
            </p:nvSpPr>
            <p:spPr>
              <a:xfrm>
                <a:off x="1277791" y="1437832"/>
                <a:ext cx="3137046" cy="1425036"/>
              </a:xfrm>
              <a:custGeom>
                <a:avLst/>
                <a:gdLst/>
                <a:ahLst/>
                <a:cxnLst/>
                <a:rect l="l" t="t" r="r" b="b"/>
                <a:pathLst>
                  <a:path w="98263" h="44637" extrusionOk="0">
                    <a:moveTo>
                      <a:pt x="9454" y="0"/>
                    </a:moveTo>
                    <a:lnTo>
                      <a:pt x="7156" y="1917"/>
                    </a:lnTo>
                    <a:lnTo>
                      <a:pt x="2310" y="1917"/>
                    </a:lnTo>
                    <a:lnTo>
                      <a:pt x="2310" y="5942"/>
                    </a:lnTo>
                    <a:lnTo>
                      <a:pt x="0" y="7870"/>
                    </a:lnTo>
                    <a:lnTo>
                      <a:pt x="0" y="30087"/>
                    </a:lnTo>
                    <a:lnTo>
                      <a:pt x="2310" y="28182"/>
                    </a:lnTo>
                    <a:lnTo>
                      <a:pt x="2310" y="42696"/>
                    </a:lnTo>
                    <a:lnTo>
                      <a:pt x="4644" y="42696"/>
                    </a:lnTo>
                    <a:lnTo>
                      <a:pt x="4644" y="44637"/>
                    </a:lnTo>
                    <a:lnTo>
                      <a:pt x="98263" y="44637"/>
                    </a:lnTo>
                    <a:lnTo>
                      <a:pt x="98263" y="3858"/>
                    </a:lnTo>
                    <a:lnTo>
                      <a:pt x="95917" y="3858"/>
                    </a:lnTo>
                    <a:lnTo>
                      <a:pt x="95917" y="1917"/>
                    </a:lnTo>
                    <a:lnTo>
                      <a:pt x="33862" y="1917"/>
                    </a:lnTo>
                    <a:lnTo>
                      <a:pt x="36172" y="0"/>
                    </a:lnTo>
                    <a:close/>
                  </a:path>
                </a:pathLst>
              </a:custGeom>
              <a:solidFill>
                <a:schemeClr val="dk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93" name="Google Shape;1803;p41">
                <a:extLst>
                  <a:ext uri="{FF2B5EF4-FFF2-40B4-BE49-F238E27FC236}">
                    <a16:creationId xmlns:a16="http://schemas.microsoft.com/office/drawing/2014/main" id="{ADA312E0-61CE-47DC-93A9-FFEEE475F39A}"/>
                  </a:ext>
                </a:extLst>
              </p:cNvPr>
              <p:cNvSpPr/>
              <p:nvPr/>
            </p:nvSpPr>
            <p:spPr>
              <a:xfrm>
                <a:off x="1378132" y="1521061"/>
                <a:ext cx="2988818" cy="1301902"/>
              </a:xfrm>
              <a:custGeom>
                <a:avLst/>
                <a:gdLst/>
                <a:ahLst/>
                <a:cxnLst/>
                <a:rect l="l" t="t" r="r" b="b"/>
                <a:pathLst>
                  <a:path w="93620" h="40780" extrusionOk="0">
                    <a:moveTo>
                      <a:pt x="1" y="1"/>
                    </a:moveTo>
                    <a:lnTo>
                      <a:pt x="1" y="40780"/>
                    </a:lnTo>
                    <a:lnTo>
                      <a:pt x="93620" y="40780"/>
                    </a:lnTo>
                    <a:lnTo>
                      <a:pt x="93620" y="1"/>
                    </a:lnTo>
                    <a:close/>
                  </a:path>
                </a:pathLst>
              </a:custGeom>
              <a:solidFill>
                <a:srgbClr val="7399C6"/>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94" name="Google Shape;1804;p41">
                <a:extLst>
                  <a:ext uri="{FF2B5EF4-FFF2-40B4-BE49-F238E27FC236}">
                    <a16:creationId xmlns:a16="http://schemas.microsoft.com/office/drawing/2014/main" id="{D773D60B-EB1D-487C-AB94-1FC3288D176E}"/>
                  </a:ext>
                </a:extLst>
              </p:cNvPr>
              <p:cNvSpPr/>
              <p:nvPr/>
            </p:nvSpPr>
            <p:spPr>
              <a:xfrm>
                <a:off x="1303268" y="1458743"/>
                <a:ext cx="2989170" cy="1301870"/>
              </a:xfrm>
              <a:custGeom>
                <a:avLst/>
                <a:gdLst/>
                <a:ahLst/>
                <a:cxnLst/>
                <a:rect l="l" t="t" r="r" b="b"/>
                <a:pathLst>
                  <a:path w="93631" h="40779" extrusionOk="0">
                    <a:moveTo>
                      <a:pt x="0" y="0"/>
                    </a:moveTo>
                    <a:lnTo>
                      <a:pt x="0" y="40779"/>
                    </a:lnTo>
                    <a:lnTo>
                      <a:pt x="93631" y="40779"/>
                    </a:lnTo>
                    <a:lnTo>
                      <a:pt x="93631" y="0"/>
                    </a:lnTo>
                    <a:close/>
                  </a:path>
                </a:pathLst>
              </a:custGeom>
              <a:solidFill>
                <a:schemeClr val="lt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95" name="Google Shape;1805;p41">
                <a:extLst>
                  <a:ext uri="{FF2B5EF4-FFF2-40B4-BE49-F238E27FC236}">
                    <a16:creationId xmlns:a16="http://schemas.microsoft.com/office/drawing/2014/main" id="{6D030D58-0B27-489B-AFE2-8AE674BD7AAA}"/>
                  </a:ext>
                </a:extLst>
              </p:cNvPr>
              <p:cNvSpPr/>
              <p:nvPr/>
            </p:nvSpPr>
            <p:spPr>
              <a:xfrm>
                <a:off x="1230287" y="1398309"/>
                <a:ext cx="1154025" cy="960176"/>
              </a:xfrm>
              <a:custGeom>
                <a:avLst/>
                <a:gdLst/>
                <a:ahLst/>
                <a:cxnLst/>
                <a:rect l="l" t="t" r="r" b="b"/>
                <a:pathLst>
                  <a:path w="36148" h="30076" extrusionOk="0">
                    <a:moveTo>
                      <a:pt x="9442" y="0"/>
                    </a:moveTo>
                    <a:lnTo>
                      <a:pt x="0" y="7858"/>
                    </a:lnTo>
                    <a:lnTo>
                      <a:pt x="0" y="30075"/>
                    </a:lnTo>
                    <a:lnTo>
                      <a:pt x="36148" y="0"/>
                    </a:lnTo>
                    <a:close/>
                  </a:path>
                </a:pathLst>
              </a:custGeom>
              <a:solidFill>
                <a:schemeClr val="tx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nvGrpSpPr>
            <p:cNvPr id="86" name="Google Shape;1806;p41">
              <a:extLst>
                <a:ext uri="{FF2B5EF4-FFF2-40B4-BE49-F238E27FC236}">
                  <a16:creationId xmlns:a16="http://schemas.microsoft.com/office/drawing/2014/main" id="{C9508655-2847-4734-B71C-C38A8FBFEF76}"/>
                </a:ext>
              </a:extLst>
            </p:cNvPr>
            <p:cNvGrpSpPr/>
            <p:nvPr/>
          </p:nvGrpSpPr>
          <p:grpSpPr>
            <a:xfrm>
              <a:off x="1812094" y="1582001"/>
              <a:ext cx="2350423" cy="1209600"/>
              <a:chOff x="1812094" y="1582001"/>
              <a:chExt cx="2350423" cy="1209600"/>
            </a:xfrm>
          </p:grpSpPr>
          <p:sp>
            <p:nvSpPr>
              <p:cNvPr id="90" name="Google Shape;1807;p41">
                <a:extLst>
                  <a:ext uri="{FF2B5EF4-FFF2-40B4-BE49-F238E27FC236}">
                    <a16:creationId xmlns:a16="http://schemas.microsoft.com/office/drawing/2014/main" id="{25C40B4A-2B45-4262-86A7-2CF4CB068509}"/>
                  </a:ext>
                </a:extLst>
              </p:cNvPr>
              <p:cNvSpPr txBox="1"/>
              <p:nvPr/>
            </p:nvSpPr>
            <p:spPr>
              <a:xfrm>
                <a:off x="2190934" y="1582001"/>
                <a:ext cx="1948575" cy="411900"/>
              </a:xfrm>
              <a:prstGeom prst="rect">
                <a:avLst/>
              </a:prstGeom>
              <a:noFill/>
              <a:ln>
                <a:noFill/>
              </a:ln>
            </p:spPr>
            <p:txBody>
              <a:bodyPr spcFirstLastPara="1" wrap="square" lIns="0" tIns="121900" rIns="121900" bIns="121900" anchor="ctr" anchorCtr="0">
                <a:noAutofit/>
              </a:bodyPr>
              <a:lstStyle/>
              <a:p>
                <a:pPr algn="ctr"/>
                <a:r>
                  <a:rPr lang="en" sz="1200" b="1">
                    <a:solidFill>
                      <a:schemeClr val="dk1"/>
                    </a:solidFill>
                    <a:latin typeface="Neue Haas Grotesk Text Pro" panose="020B0504020202020204" pitchFamily="34" charset="0"/>
                    <a:ea typeface="Fira Sans"/>
                    <a:cs typeface="Fira Sans"/>
                    <a:sym typeface="Fira Sans"/>
                  </a:rPr>
                  <a:t>Low Risk</a:t>
                </a:r>
                <a:endParaRPr sz="1200" b="1">
                  <a:solidFill>
                    <a:schemeClr val="dk1"/>
                  </a:solidFill>
                  <a:latin typeface="Neue Haas Grotesk Text Pro" panose="020B0504020202020204" pitchFamily="34" charset="0"/>
                  <a:ea typeface="Fira Sans"/>
                  <a:cs typeface="Fira Sans"/>
                  <a:sym typeface="Fira Sans"/>
                </a:endParaRPr>
              </a:p>
            </p:txBody>
          </p:sp>
          <p:sp>
            <p:nvSpPr>
              <p:cNvPr id="91" name="Google Shape;1808;p41">
                <a:extLst>
                  <a:ext uri="{FF2B5EF4-FFF2-40B4-BE49-F238E27FC236}">
                    <a16:creationId xmlns:a16="http://schemas.microsoft.com/office/drawing/2014/main" id="{11571D31-FE4C-4DF1-A158-3A845640A760}"/>
                  </a:ext>
                </a:extLst>
              </p:cNvPr>
              <p:cNvSpPr txBox="1"/>
              <p:nvPr/>
            </p:nvSpPr>
            <p:spPr>
              <a:xfrm>
                <a:off x="1812094" y="1892222"/>
                <a:ext cx="2350423" cy="899379"/>
              </a:xfrm>
              <a:prstGeom prst="rect">
                <a:avLst/>
              </a:prstGeom>
              <a:noFill/>
              <a:ln>
                <a:noFill/>
              </a:ln>
            </p:spPr>
            <p:txBody>
              <a:bodyPr spcFirstLastPara="1" wrap="square" lIns="0" tIns="121900" rIns="0" bIns="121900" anchor="b" anchorCtr="0">
                <a:noAutofit/>
              </a:bodyPr>
              <a:lstStyle/>
              <a:p>
                <a:pPr algn="ctr"/>
                <a:r>
                  <a:rPr lang="en" sz="1200">
                    <a:solidFill>
                      <a:schemeClr val="dk1"/>
                    </a:solidFill>
                    <a:latin typeface="Neue Haas Grotesk Text Pro" panose="020B0504020202020204" pitchFamily="34" charset="0"/>
                    <a:ea typeface="Fira Sans"/>
                    <a:cs typeface="Fira Sans"/>
                    <a:sym typeface="Fira Sans"/>
                  </a:rPr>
                  <a:t>Conservative</a:t>
                </a:r>
                <a:endParaRPr sz="1200">
                  <a:solidFill>
                    <a:schemeClr val="dk1"/>
                  </a:solidFill>
                  <a:latin typeface="Neue Haas Grotesk Text Pro" panose="020B0504020202020204" pitchFamily="34" charset="0"/>
                  <a:ea typeface="Fira Sans"/>
                  <a:cs typeface="Fira Sans"/>
                  <a:sym typeface="Fira Sans"/>
                </a:endParaRPr>
              </a:p>
            </p:txBody>
          </p:sp>
        </p:grpSp>
        <p:grpSp>
          <p:nvGrpSpPr>
            <p:cNvPr id="87" name="Google Shape;1809;p41">
              <a:extLst>
                <a:ext uri="{FF2B5EF4-FFF2-40B4-BE49-F238E27FC236}">
                  <a16:creationId xmlns:a16="http://schemas.microsoft.com/office/drawing/2014/main" id="{C2E27992-3D9C-4BD1-9A13-97C57D73844E}"/>
                </a:ext>
              </a:extLst>
            </p:cNvPr>
            <p:cNvGrpSpPr/>
            <p:nvPr/>
          </p:nvGrpSpPr>
          <p:grpSpPr>
            <a:xfrm>
              <a:off x="1401017" y="1640492"/>
              <a:ext cx="284478" cy="268416"/>
              <a:chOff x="-46422300" y="3936925"/>
              <a:chExt cx="320575" cy="302475"/>
            </a:xfrm>
          </p:grpSpPr>
          <p:sp>
            <p:nvSpPr>
              <p:cNvPr id="88" name="Google Shape;1810;p41">
                <a:extLst>
                  <a:ext uri="{FF2B5EF4-FFF2-40B4-BE49-F238E27FC236}">
                    <a16:creationId xmlns:a16="http://schemas.microsoft.com/office/drawing/2014/main" id="{6B4494F2-3310-437C-B31A-86A657346679}"/>
                  </a:ext>
                </a:extLst>
              </p:cNvPr>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89" name="Google Shape;1811;p41">
                <a:extLst>
                  <a:ext uri="{FF2B5EF4-FFF2-40B4-BE49-F238E27FC236}">
                    <a16:creationId xmlns:a16="http://schemas.microsoft.com/office/drawing/2014/main" id="{9A6B2A56-5E2A-499C-8842-05F9522E265F}"/>
                  </a:ext>
                </a:extLst>
              </p:cNvPr>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grpSp>
        <p:nvGrpSpPr>
          <p:cNvPr id="96" name="Google Shape;1800;p41">
            <a:extLst>
              <a:ext uri="{FF2B5EF4-FFF2-40B4-BE49-F238E27FC236}">
                <a16:creationId xmlns:a16="http://schemas.microsoft.com/office/drawing/2014/main" id="{53801F18-17F5-418A-9E96-F8B5BA8D0174}"/>
              </a:ext>
            </a:extLst>
          </p:cNvPr>
          <p:cNvGrpSpPr/>
          <p:nvPr/>
        </p:nvGrpSpPr>
        <p:grpSpPr>
          <a:xfrm>
            <a:off x="5372090" y="1831386"/>
            <a:ext cx="1478501" cy="679955"/>
            <a:chOff x="1230287" y="1398309"/>
            <a:chExt cx="3184550" cy="1464559"/>
          </a:xfrm>
        </p:grpSpPr>
        <p:grpSp>
          <p:nvGrpSpPr>
            <p:cNvPr id="97" name="Google Shape;1801;p41">
              <a:extLst>
                <a:ext uri="{FF2B5EF4-FFF2-40B4-BE49-F238E27FC236}">
                  <a16:creationId xmlns:a16="http://schemas.microsoft.com/office/drawing/2014/main" id="{D93252A8-3E75-4E90-9F8B-725EF5CC77F6}"/>
                </a:ext>
              </a:extLst>
            </p:cNvPr>
            <p:cNvGrpSpPr/>
            <p:nvPr/>
          </p:nvGrpSpPr>
          <p:grpSpPr>
            <a:xfrm>
              <a:off x="1230287" y="1398309"/>
              <a:ext cx="3184550" cy="1464559"/>
              <a:chOff x="1230287" y="1398309"/>
              <a:chExt cx="3184550" cy="1464559"/>
            </a:xfrm>
          </p:grpSpPr>
          <p:sp>
            <p:nvSpPr>
              <p:cNvPr id="104" name="Google Shape;1802;p41">
                <a:extLst>
                  <a:ext uri="{FF2B5EF4-FFF2-40B4-BE49-F238E27FC236}">
                    <a16:creationId xmlns:a16="http://schemas.microsoft.com/office/drawing/2014/main" id="{010B594A-38BB-480B-9A7A-518FB1D2A234}"/>
                  </a:ext>
                </a:extLst>
              </p:cNvPr>
              <p:cNvSpPr/>
              <p:nvPr/>
            </p:nvSpPr>
            <p:spPr>
              <a:xfrm>
                <a:off x="1277791" y="1437832"/>
                <a:ext cx="3137046" cy="1425036"/>
              </a:xfrm>
              <a:custGeom>
                <a:avLst/>
                <a:gdLst/>
                <a:ahLst/>
                <a:cxnLst/>
                <a:rect l="l" t="t" r="r" b="b"/>
                <a:pathLst>
                  <a:path w="98263" h="44637" extrusionOk="0">
                    <a:moveTo>
                      <a:pt x="9454" y="0"/>
                    </a:moveTo>
                    <a:lnTo>
                      <a:pt x="7156" y="1917"/>
                    </a:lnTo>
                    <a:lnTo>
                      <a:pt x="2310" y="1917"/>
                    </a:lnTo>
                    <a:lnTo>
                      <a:pt x="2310" y="5942"/>
                    </a:lnTo>
                    <a:lnTo>
                      <a:pt x="0" y="7870"/>
                    </a:lnTo>
                    <a:lnTo>
                      <a:pt x="0" y="30087"/>
                    </a:lnTo>
                    <a:lnTo>
                      <a:pt x="2310" y="28182"/>
                    </a:lnTo>
                    <a:lnTo>
                      <a:pt x="2310" y="42696"/>
                    </a:lnTo>
                    <a:lnTo>
                      <a:pt x="4644" y="42696"/>
                    </a:lnTo>
                    <a:lnTo>
                      <a:pt x="4644" y="44637"/>
                    </a:lnTo>
                    <a:lnTo>
                      <a:pt x="98263" y="44637"/>
                    </a:lnTo>
                    <a:lnTo>
                      <a:pt x="98263" y="3858"/>
                    </a:lnTo>
                    <a:lnTo>
                      <a:pt x="95917" y="3858"/>
                    </a:lnTo>
                    <a:lnTo>
                      <a:pt x="95917" y="1917"/>
                    </a:lnTo>
                    <a:lnTo>
                      <a:pt x="33862" y="1917"/>
                    </a:lnTo>
                    <a:lnTo>
                      <a:pt x="36172" y="0"/>
                    </a:lnTo>
                    <a:close/>
                  </a:path>
                </a:pathLst>
              </a:custGeom>
              <a:solidFill>
                <a:schemeClr val="dk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05" name="Google Shape;1803;p41">
                <a:extLst>
                  <a:ext uri="{FF2B5EF4-FFF2-40B4-BE49-F238E27FC236}">
                    <a16:creationId xmlns:a16="http://schemas.microsoft.com/office/drawing/2014/main" id="{BB3B6DC7-AC1A-4B4F-A821-DB5D69810D11}"/>
                  </a:ext>
                </a:extLst>
              </p:cNvPr>
              <p:cNvSpPr/>
              <p:nvPr/>
            </p:nvSpPr>
            <p:spPr>
              <a:xfrm>
                <a:off x="1378132" y="1521061"/>
                <a:ext cx="2988818" cy="1301902"/>
              </a:xfrm>
              <a:custGeom>
                <a:avLst/>
                <a:gdLst/>
                <a:ahLst/>
                <a:cxnLst/>
                <a:rect l="l" t="t" r="r" b="b"/>
                <a:pathLst>
                  <a:path w="93620" h="40780" extrusionOk="0">
                    <a:moveTo>
                      <a:pt x="1" y="1"/>
                    </a:moveTo>
                    <a:lnTo>
                      <a:pt x="1" y="40780"/>
                    </a:lnTo>
                    <a:lnTo>
                      <a:pt x="93620" y="40780"/>
                    </a:lnTo>
                    <a:lnTo>
                      <a:pt x="93620" y="1"/>
                    </a:lnTo>
                    <a:close/>
                  </a:path>
                </a:pathLst>
              </a:custGeom>
              <a:solidFill>
                <a:srgbClr val="7399C6"/>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06" name="Google Shape;1804;p41">
                <a:extLst>
                  <a:ext uri="{FF2B5EF4-FFF2-40B4-BE49-F238E27FC236}">
                    <a16:creationId xmlns:a16="http://schemas.microsoft.com/office/drawing/2014/main" id="{DFDB3376-3913-43EC-9875-EE88FB7C917E}"/>
                  </a:ext>
                </a:extLst>
              </p:cNvPr>
              <p:cNvSpPr/>
              <p:nvPr/>
            </p:nvSpPr>
            <p:spPr>
              <a:xfrm>
                <a:off x="1303268" y="1458743"/>
                <a:ext cx="2989170" cy="1301870"/>
              </a:xfrm>
              <a:custGeom>
                <a:avLst/>
                <a:gdLst/>
                <a:ahLst/>
                <a:cxnLst/>
                <a:rect l="l" t="t" r="r" b="b"/>
                <a:pathLst>
                  <a:path w="93631" h="40779" extrusionOk="0">
                    <a:moveTo>
                      <a:pt x="0" y="0"/>
                    </a:moveTo>
                    <a:lnTo>
                      <a:pt x="0" y="40779"/>
                    </a:lnTo>
                    <a:lnTo>
                      <a:pt x="93631" y="40779"/>
                    </a:lnTo>
                    <a:lnTo>
                      <a:pt x="93631" y="0"/>
                    </a:lnTo>
                    <a:close/>
                  </a:path>
                </a:pathLst>
              </a:custGeom>
              <a:solidFill>
                <a:schemeClr val="lt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07" name="Google Shape;1805;p41">
                <a:extLst>
                  <a:ext uri="{FF2B5EF4-FFF2-40B4-BE49-F238E27FC236}">
                    <a16:creationId xmlns:a16="http://schemas.microsoft.com/office/drawing/2014/main" id="{1F6FA54F-56AB-4519-909C-2802A7C1E095}"/>
                  </a:ext>
                </a:extLst>
              </p:cNvPr>
              <p:cNvSpPr/>
              <p:nvPr/>
            </p:nvSpPr>
            <p:spPr>
              <a:xfrm>
                <a:off x="1230287" y="1398309"/>
                <a:ext cx="1154025" cy="960176"/>
              </a:xfrm>
              <a:custGeom>
                <a:avLst/>
                <a:gdLst/>
                <a:ahLst/>
                <a:cxnLst/>
                <a:rect l="l" t="t" r="r" b="b"/>
                <a:pathLst>
                  <a:path w="36148" h="30076" extrusionOk="0">
                    <a:moveTo>
                      <a:pt x="9442" y="0"/>
                    </a:moveTo>
                    <a:lnTo>
                      <a:pt x="0" y="7858"/>
                    </a:lnTo>
                    <a:lnTo>
                      <a:pt x="0" y="30075"/>
                    </a:lnTo>
                    <a:lnTo>
                      <a:pt x="36148" y="0"/>
                    </a:lnTo>
                    <a:close/>
                  </a:path>
                </a:pathLst>
              </a:custGeom>
              <a:solidFill>
                <a:schemeClr val="tx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nvGrpSpPr>
            <p:cNvPr id="98" name="Google Shape;1806;p41">
              <a:extLst>
                <a:ext uri="{FF2B5EF4-FFF2-40B4-BE49-F238E27FC236}">
                  <a16:creationId xmlns:a16="http://schemas.microsoft.com/office/drawing/2014/main" id="{9BDAC1D8-874B-4AA9-BC03-631BE7D34C01}"/>
                </a:ext>
              </a:extLst>
            </p:cNvPr>
            <p:cNvGrpSpPr/>
            <p:nvPr/>
          </p:nvGrpSpPr>
          <p:grpSpPr>
            <a:xfrm>
              <a:off x="1812094" y="1582001"/>
              <a:ext cx="2601551" cy="1209600"/>
              <a:chOff x="1812094" y="1582001"/>
              <a:chExt cx="2601551" cy="1209600"/>
            </a:xfrm>
          </p:grpSpPr>
          <p:sp>
            <p:nvSpPr>
              <p:cNvPr id="102" name="Google Shape;1807;p41">
                <a:extLst>
                  <a:ext uri="{FF2B5EF4-FFF2-40B4-BE49-F238E27FC236}">
                    <a16:creationId xmlns:a16="http://schemas.microsoft.com/office/drawing/2014/main" id="{5DD543AC-0E31-49CD-9D0A-2348EBA9005D}"/>
                  </a:ext>
                </a:extLst>
              </p:cNvPr>
              <p:cNvSpPr txBox="1"/>
              <p:nvPr/>
            </p:nvSpPr>
            <p:spPr>
              <a:xfrm>
                <a:off x="2077140" y="1582001"/>
                <a:ext cx="2336505" cy="411900"/>
              </a:xfrm>
              <a:prstGeom prst="rect">
                <a:avLst/>
              </a:prstGeom>
              <a:noFill/>
              <a:ln>
                <a:noFill/>
              </a:ln>
            </p:spPr>
            <p:txBody>
              <a:bodyPr spcFirstLastPara="1" wrap="square" lIns="0" tIns="121900" rIns="121900" bIns="121900" anchor="ctr" anchorCtr="0">
                <a:noAutofit/>
              </a:bodyPr>
              <a:lstStyle/>
              <a:p>
                <a:pPr algn="r"/>
                <a:r>
                  <a:rPr lang="en" sz="1200" b="1">
                    <a:solidFill>
                      <a:schemeClr val="dk1"/>
                    </a:solidFill>
                    <a:latin typeface="Neue Haas Grotesk Text Pro" panose="020B0504020202020204" pitchFamily="34" charset="0"/>
                    <a:ea typeface="Fira Sans"/>
                    <a:cs typeface="Fira Sans"/>
                    <a:sym typeface="Fira Sans"/>
                  </a:rPr>
                  <a:t>Medium Risk</a:t>
                </a:r>
                <a:endParaRPr sz="1200" b="1">
                  <a:solidFill>
                    <a:schemeClr val="dk1"/>
                  </a:solidFill>
                  <a:latin typeface="Neue Haas Grotesk Text Pro" panose="020B0504020202020204" pitchFamily="34" charset="0"/>
                  <a:ea typeface="Fira Sans"/>
                  <a:cs typeface="Fira Sans"/>
                  <a:sym typeface="Fira Sans"/>
                </a:endParaRPr>
              </a:p>
            </p:txBody>
          </p:sp>
          <p:sp>
            <p:nvSpPr>
              <p:cNvPr id="103" name="Google Shape;1808;p41">
                <a:extLst>
                  <a:ext uri="{FF2B5EF4-FFF2-40B4-BE49-F238E27FC236}">
                    <a16:creationId xmlns:a16="http://schemas.microsoft.com/office/drawing/2014/main" id="{0FA7A94A-6368-4A20-BA5D-2C150477D90E}"/>
                  </a:ext>
                </a:extLst>
              </p:cNvPr>
              <p:cNvSpPr txBox="1"/>
              <p:nvPr/>
            </p:nvSpPr>
            <p:spPr>
              <a:xfrm>
                <a:off x="1812094" y="1892222"/>
                <a:ext cx="2350423" cy="899379"/>
              </a:xfrm>
              <a:prstGeom prst="rect">
                <a:avLst/>
              </a:prstGeom>
              <a:noFill/>
              <a:ln>
                <a:noFill/>
              </a:ln>
            </p:spPr>
            <p:txBody>
              <a:bodyPr spcFirstLastPara="1" wrap="square" lIns="0" tIns="121900" rIns="0" bIns="121900" anchor="b" anchorCtr="0">
                <a:noAutofit/>
              </a:bodyPr>
              <a:lstStyle/>
              <a:p>
                <a:pPr algn="ctr"/>
                <a:r>
                  <a:rPr lang="en" sz="1200">
                    <a:solidFill>
                      <a:schemeClr val="dk1"/>
                    </a:solidFill>
                    <a:latin typeface="Neue Haas Grotesk Text Pro" panose="020B0504020202020204" pitchFamily="34" charset="0"/>
                    <a:ea typeface="Fira Sans"/>
                    <a:cs typeface="Fira Sans"/>
                    <a:sym typeface="Fira Sans"/>
                  </a:rPr>
                  <a:t>Moderate</a:t>
                </a:r>
                <a:endParaRPr sz="1100">
                  <a:solidFill>
                    <a:schemeClr val="dk1"/>
                  </a:solidFill>
                  <a:latin typeface="Neue Haas Grotesk Text Pro" panose="020B0504020202020204" pitchFamily="34" charset="0"/>
                  <a:ea typeface="Fira Sans"/>
                  <a:cs typeface="Fira Sans"/>
                  <a:sym typeface="Fira Sans"/>
                </a:endParaRPr>
              </a:p>
            </p:txBody>
          </p:sp>
        </p:grpSp>
        <p:grpSp>
          <p:nvGrpSpPr>
            <p:cNvPr id="99" name="Google Shape;1809;p41">
              <a:extLst>
                <a:ext uri="{FF2B5EF4-FFF2-40B4-BE49-F238E27FC236}">
                  <a16:creationId xmlns:a16="http://schemas.microsoft.com/office/drawing/2014/main" id="{C9275F51-C190-4DFD-8415-221F2EB51EE3}"/>
                </a:ext>
              </a:extLst>
            </p:cNvPr>
            <p:cNvGrpSpPr/>
            <p:nvPr/>
          </p:nvGrpSpPr>
          <p:grpSpPr>
            <a:xfrm>
              <a:off x="1401017" y="1640492"/>
              <a:ext cx="284478" cy="268416"/>
              <a:chOff x="-46422300" y="3936925"/>
              <a:chExt cx="320575" cy="302475"/>
            </a:xfrm>
          </p:grpSpPr>
          <p:sp>
            <p:nvSpPr>
              <p:cNvPr id="100" name="Google Shape;1810;p41">
                <a:extLst>
                  <a:ext uri="{FF2B5EF4-FFF2-40B4-BE49-F238E27FC236}">
                    <a16:creationId xmlns:a16="http://schemas.microsoft.com/office/drawing/2014/main" id="{B89258DC-019C-4F31-9064-090F271A749F}"/>
                  </a:ext>
                </a:extLst>
              </p:cNvPr>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01" name="Google Shape;1811;p41">
                <a:extLst>
                  <a:ext uri="{FF2B5EF4-FFF2-40B4-BE49-F238E27FC236}">
                    <a16:creationId xmlns:a16="http://schemas.microsoft.com/office/drawing/2014/main" id="{DCF95B06-71FA-4552-84A1-A95E308BD5C1}"/>
                  </a:ext>
                </a:extLst>
              </p:cNvPr>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grpSp>
        <p:nvGrpSpPr>
          <p:cNvPr id="108" name="Google Shape;1800;p41">
            <a:extLst>
              <a:ext uri="{FF2B5EF4-FFF2-40B4-BE49-F238E27FC236}">
                <a16:creationId xmlns:a16="http://schemas.microsoft.com/office/drawing/2014/main" id="{5B704081-848F-4C5C-95E8-EF461DB0EF68}"/>
              </a:ext>
            </a:extLst>
          </p:cNvPr>
          <p:cNvGrpSpPr/>
          <p:nvPr/>
        </p:nvGrpSpPr>
        <p:grpSpPr>
          <a:xfrm>
            <a:off x="7023256" y="1831386"/>
            <a:ext cx="1478501" cy="679955"/>
            <a:chOff x="1230287" y="1398309"/>
            <a:chExt cx="3184550" cy="1464559"/>
          </a:xfrm>
        </p:grpSpPr>
        <p:grpSp>
          <p:nvGrpSpPr>
            <p:cNvPr id="109" name="Google Shape;1801;p41">
              <a:extLst>
                <a:ext uri="{FF2B5EF4-FFF2-40B4-BE49-F238E27FC236}">
                  <a16:creationId xmlns:a16="http://schemas.microsoft.com/office/drawing/2014/main" id="{84BA655F-C508-41D4-9F8F-62432F98B6BA}"/>
                </a:ext>
              </a:extLst>
            </p:cNvPr>
            <p:cNvGrpSpPr/>
            <p:nvPr/>
          </p:nvGrpSpPr>
          <p:grpSpPr>
            <a:xfrm>
              <a:off x="1230287" y="1398309"/>
              <a:ext cx="3184550" cy="1464559"/>
              <a:chOff x="1230287" y="1398309"/>
              <a:chExt cx="3184550" cy="1464559"/>
            </a:xfrm>
          </p:grpSpPr>
          <p:sp>
            <p:nvSpPr>
              <p:cNvPr id="116" name="Google Shape;1802;p41">
                <a:extLst>
                  <a:ext uri="{FF2B5EF4-FFF2-40B4-BE49-F238E27FC236}">
                    <a16:creationId xmlns:a16="http://schemas.microsoft.com/office/drawing/2014/main" id="{29E74FD5-7465-454A-AC3A-E2881BBE7A81}"/>
                  </a:ext>
                </a:extLst>
              </p:cNvPr>
              <p:cNvSpPr/>
              <p:nvPr/>
            </p:nvSpPr>
            <p:spPr>
              <a:xfrm>
                <a:off x="1277791" y="1437832"/>
                <a:ext cx="3137046" cy="1425036"/>
              </a:xfrm>
              <a:custGeom>
                <a:avLst/>
                <a:gdLst/>
                <a:ahLst/>
                <a:cxnLst/>
                <a:rect l="l" t="t" r="r" b="b"/>
                <a:pathLst>
                  <a:path w="98263" h="44637" extrusionOk="0">
                    <a:moveTo>
                      <a:pt x="9454" y="0"/>
                    </a:moveTo>
                    <a:lnTo>
                      <a:pt x="7156" y="1917"/>
                    </a:lnTo>
                    <a:lnTo>
                      <a:pt x="2310" y="1917"/>
                    </a:lnTo>
                    <a:lnTo>
                      <a:pt x="2310" y="5942"/>
                    </a:lnTo>
                    <a:lnTo>
                      <a:pt x="0" y="7870"/>
                    </a:lnTo>
                    <a:lnTo>
                      <a:pt x="0" y="30087"/>
                    </a:lnTo>
                    <a:lnTo>
                      <a:pt x="2310" y="28182"/>
                    </a:lnTo>
                    <a:lnTo>
                      <a:pt x="2310" y="42696"/>
                    </a:lnTo>
                    <a:lnTo>
                      <a:pt x="4644" y="42696"/>
                    </a:lnTo>
                    <a:lnTo>
                      <a:pt x="4644" y="44637"/>
                    </a:lnTo>
                    <a:lnTo>
                      <a:pt x="98263" y="44637"/>
                    </a:lnTo>
                    <a:lnTo>
                      <a:pt x="98263" y="3858"/>
                    </a:lnTo>
                    <a:lnTo>
                      <a:pt x="95917" y="3858"/>
                    </a:lnTo>
                    <a:lnTo>
                      <a:pt x="95917" y="1917"/>
                    </a:lnTo>
                    <a:lnTo>
                      <a:pt x="33862" y="1917"/>
                    </a:lnTo>
                    <a:lnTo>
                      <a:pt x="36172" y="0"/>
                    </a:lnTo>
                    <a:close/>
                  </a:path>
                </a:pathLst>
              </a:custGeom>
              <a:solidFill>
                <a:schemeClr val="dk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17" name="Google Shape;1803;p41">
                <a:extLst>
                  <a:ext uri="{FF2B5EF4-FFF2-40B4-BE49-F238E27FC236}">
                    <a16:creationId xmlns:a16="http://schemas.microsoft.com/office/drawing/2014/main" id="{36192C07-7F25-49D3-A115-D959854D724A}"/>
                  </a:ext>
                </a:extLst>
              </p:cNvPr>
              <p:cNvSpPr/>
              <p:nvPr/>
            </p:nvSpPr>
            <p:spPr>
              <a:xfrm>
                <a:off x="1378132" y="1521061"/>
                <a:ext cx="2988818" cy="1301902"/>
              </a:xfrm>
              <a:custGeom>
                <a:avLst/>
                <a:gdLst/>
                <a:ahLst/>
                <a:cxnLst/>
                <a:rect l="l" t="t" r="r" b="b"/>
                <a:pathLst>
                  <a:path w="93620" h="40780" extrusionOk="0">
                    <a:moveTo>
                      <a:pt x="1" y="1"/>
                    </a:moveTo>
                    <a:lnTo>
                      <a:pt x="1" y="40780"/>
                    </a:lnTo>
                    <a:lnTo>
                      <a:pt x="93620" y="40780"/>
                    </a:lnTo>
                    <a:lnTo>
                      <a:pt x="93620" y="1"/>
                    </a:lnTo>
                    <a:close/>
                  </a:path>
                </a:pathLst>
              </a:custGeom>
              <a:solidFill>
                <a:srgbClr val="7399C6"/>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18" name="Google Shape;1804;p41">
                <a:extLst>
                  <a:ext uri="{FF2B5EF4-FFF2-40B4-BE49-F238E27FC236}">
                    <a16:creationId xmlns:a16="http://schemas.microsoft.com/office/drawing/2014/main" id="{99AFE447-1B5F-4DF4-A570-08F289E8707D}"/>
                  </a:ext>
                </a:extLst>
              </p:cNvPr>
              <p:cNvSpPr/>
              <p:nvPr/>
            </p:nvSpPr>
            <p:spPr>
              <a:xfrm>
                <a:off x="1303268" y="1458743"/>
                <a:ext cx="2989170" cy="1301870"/>
              </a:xfrm>
              <a:custGeom>
                <a:avLst/>
                <a:gdLst/>
                <a:ahLst/>
                <a:cxnLst/>
                <a:rect l="l" t="t" r="r" b="b"/>
                <a:pathLst>
                  <a:path w="93631" h="40779" extrusionOk="0">
                    <a:moveTo>
                      <a:pt x="0" y="0"/>
                    </a:moveTo>
                    <a:lnTo>
                      <a:pt x="0" y="40779"/>
                    </a:lnTo>
                    <a:lnTo>
                      <a:pt x="93631" y="40779"/>
                    </a:lnTo>
                    <a:lnTo>
                      <a:pt x="93631" y="0"/>
                    </a:lnTo>
                    <a:close/>
                  </a:path>
                </a:pathLst>
              </a:custGeom>
              <a:solidFill>
                <a:schemeClr val="lt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19" name="Google Shape;1805;p41">
                <a:extLst>
                  <a:ext uri="{FF2B5EF4-FFF2-40B4-BE49-F238E27FC236}">
                    <a16:creationId xmlns:a16="http://schemas.microsoft.com/office/drawing/2014/main" id="{AA4646C8-7A97-4D59-9AFA-8A4CBD0EEC14}"/>
                  </a:ext>
                </a:extLst>
              </p:cNvPr>
              <p:cNvSpPr/>
              <p:nvPr/>
            </p:nvSpPr>
            <p:spPr>
              <a:xfrm>
                <a:off x="1230287" y="1398309"/>
                <a:ext cx="1154025" cy="960176"/>
              </a:xfrm>
              <a:custGeom>
                <a:avLst/>
                <a:gdLst/>
                <a:ahLst/>
                <a:cxnLst/>
                <a:rect l="l" t="t" r="r" b="b"/>
                <a:pathLst>
                  <a:path w="36148" h="30076" extrusionOk="0">
                    <a:moveTo>
                      <a:pt x="9442" y="0"/>
                    </a:moveTo>
                    <a:lnTo>
                      <a:pt x="0" y="7858"/>
                    </a:lnTo>
                    <a:lnTo>
                      <a:pt x="0" y="30075"/>
                    </a:lnTo>
                    <a:lnTo>
                      <a:pt x="36148" y="0"/>
                    </a:lnTo>
                    <a:close/>
                  </a:path>
                </a:pathLst>
              </a:custGeom>
              <a:solidFill>
                <a:schemeClr val="tx2"/>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nvGrpSpPr>
            <p:cNvPr id="110" name="Google Shape;1806;p41">
              <a:extLst>
                <a:ext uri="{FF2B5EF4-FFF2-40B4-BE49-F238E27FC236}">
                  <a16:creationId xmlns:a16="http://schemas.microsoft.com/office/drawing/2014/main" id="{35CF43CF-E762-4BF7-BC42-9DA3495B5B57}"/>
                </a:ext>
              </a:extLst>
            </p:cNvPr>
            <p:cNvGrpSpPr/>
            <p:nvPr/>
          </p:nvGrpSpPr>
          <p:grpSpPr>
            <a:xfrm>
              <a:off x="1812094" y="1582001"/>
              <a:ext cx="2350423" cy="1209598"/>
              <a:chOff x="1812094" y="1582001"/>
              <a:chExt cx="2350423" cy="1209598"/>
            </a:xfrm>
          </p:grpSpPr>
          <p:sp>
            <p:nvSpPr>
              <p:cNvPr id="114" name="Google Shape;1807;p41">
                <a:extLst>
                  <a:ext uri="{FF2B5EF4-FFF2-40B4-BE49-F238E27FC236}">
                    <a16:creationId xmlns:a16="http://schemas.microsoft.com/office/drawing/2014/main" id="{CB103C6F-A8B4-4374-80DF-76722E4BEC62}"/>
                  </a:ext>
                </a:extLst>
              </p:cNvPr>
              <p:cNvSpPr txBox="1"/>
              <p:nvPr/>
            </p:nvSpPr>
            <p:spPr>
              <a:xfrm>
                <a:off x="2244568" y="1582001"/>
                <a:ext cx="1787689" cy="411900"/>
              </a:xfrm>
              <a:prstGeom prst="rect">
                <a:avLst/>
              </a:prstGeom>
              <a:noFill/>
              <a:ln>
                <a:noFill/>
              </a:ln>
            </p:spPr>
            <p:txBody>
              <a:bodyPr spcFirstLastPara="1" wrap="square" lIns="0" tIns="121900" rIns="121900" bIns="121900" anchor="ctr" anchorCtr="0">
                <a:noAutofit/>
              </a:bodyPr>
              <a:lstStyle/>
              <a:p>
                <a:pPr algn="ctr"/>
                <a:r>
                  <a:rPr lang="en" sz="1200" b="1">
                    <a:solidFill>
                      <a:schemeClr val="dk1"/>
                    </a:solidFill>
                    <a:latin typeface="Neue Haas Grotesk Text Pro" panose="020B0504020202020204" pitchFamily="34" charset="0"/>
                    <a:ea typeface="Fira Sans"/>
                    <a:cs typeface="Fira Sans"/>
                    <a:sym typeface="Fira Sans"/>
                  </a:rPr>
                  <a:t>High Risk</a:t>
                </a:r>
                <a:endParaRPr sz="1200" b="1">
                  <a:solidFill>
                    <a:schemeClr val="dk1"/>
                  </a:solidFill>
                  <a:latin typeface="Neue Haas Grotesk Text Pro" panose="020B0504020202020204" pitchFamily="34" charset="0"/>
                  <a:ea typeface="Fira Sans"/>
                  <a:cs typeface="Fira Sans"/>
                  <a:sym typeface="Fira Sans"/>
                </a:endParaRPr>
              </a:p>
            </p:txBody>
          </p:sp>
          <p:sp>
            <p:nvSpPr>
              <p:cNvPr id="115" name="Google Shape;1808;p41">
                <a:extLst>
                  <a:ext uri="{FF2B5EF4-FFF2-40B4-BE49-F238E27FC236}">
                    <a16:creationId xmlns:a16="http://schemas.microsoft.com/office/drawing/2014/main" id="{AE21ED09-AF9E-41AA-A3C7-6B647743C30C}"/>
                  </a:ext>
                </a:extLst>
              </p:cNvPr>
              <p:cNvSpPr txBox="1"/>
              <p:nvPr/>
            </p:nvSpPr>
            <p:spPr>
              <a:xfrm>
                <a:off x="1812094" y="1892219"/>
                <a:ext cx="2350423" cy="899380"/>
              </a:xfrm>
              <a:prstGeom prst="rect">
                <a:avLst/>
              </a:prstGeom>
              <a:noFill/>
              <a:ln>
                <a:noFill/>
              </a:ln>
            </p:spPr>
            <p:txBody>
              <a:bodyPr spcFirstLastPara="1" wrap="square" lIns="0" tIns="121900" rIns="0" bIns="121900" anchor="b" anchorCtr="0">
                <a:noAutofit/>
              </a:bodyPr>
              <a:lstStyle/>
              <a:p>
                <a:pPr algn="ctr"/>
                <a:r>
                  <a:rPr lang="en" sz="1200">
                    <a:solidFill>
                      <a:schemeClr val="dk1"/>
                    </a:solidFill>
                    <a:latin typeface="Neue Haas Grotesk Text Pro" panose="020B0504020202020204" pitchFamily="34" charset="0"/>
                    <a:ea typeface="Fira Sans"/>
                    <a:cs typeface="Fira Sans"/>
                    <a:sym typeface="Fira Sans"/>
                  </a:rPr>
                  <a:t>Aggressive</a:t>
                </a:r>
                <a:endParaRPr sz="1200">
                  <a:solidFill>
                    <a:schemeClr val="dk1"/>
                  </a:solidFill>
                  <a:latin typeface="Neue Haas Grotesk Text Pro" panose="020B0504020202020204" pitchFamily="34" charset="0"/>
                  <a:ea typeface="Fira Sans"/>
                  <a:cs typeface="Fira Sans"/>
                  <a:sym typeface="Fira Sans"/>
                </a:endParaRPr>
              </a:p>
            </p:txBody>
          </p:sp>
        </p:grpSp>
        <p:grpSp>
          <p:nvGrpSpPr>
            <p:cNvPr id="111" name="Google Shape;1809;p41">
              <a:extLst>
                <a:ext uri="{FF2B5EF4-FFF2-40B4-BE49-F238E27FC236}">
                  <a16:creationId xmlns:a16="http://schemas.microsoft.com/office/drawing/2014/main" id="{3DA14422-4E2A-4227-BE1F-6036613A29F7}"/>
                </a:ext>
              </a:extLst>
            </p:cNvPr>
            <p:cNvGrpSpPr/>
            <p:nvPr/>
          </p:nvGrpSpPr>
          <p:grpSpPr>
            <a:xfrm>
              <a:off x="1401017" y="1640492"/>
              <a:ext cx="284478" cy="268416"/>
              <a:chOff x="-46422300" y="3936925"/>
              <a:chExt cx="320575" cy="302475"/>
            </a:xfrm>
          </p:grpSpPr>
          <p:sp>
            <p:nvSpPr>
              <p:cNvPr id="112" name="Google Shape;1810;p41">
                <a:extLst>
                  <a:ext uri="{FF2B5EF4-FFF2-40B4-BE49-F238E27FC236}">
                    <a16:creationId xmlns:a16="http://schemas.microsoft.com/office/drawing/2014/main" id="{F54D6E94-4FCE-4716-808B-57286CFB756B}"/>
                  </a:ext>
                </a:extLst>
              </p:cNvPr>
              <p:cNvSpPr/>
              <p:nvPr/>
            </p:nvSpPr>
            <p:spPr>
              <a:xfrm>
                <a:off x="-46254550" y="3936925"/>
                <a:ext cx="152825" cy="300900"/>
              </a:xfrm>
              <a:custGeom>
                <a:avLst/>
                <a:gdLst/>
                <a:ahLst/>
                <a:cxnLst/>
                <a:rect l="l" t="t" r="r" b="b"/>
                <a:pathLst>
                  <a:path w="6113" h="12036" extrusionOk="0">
                    <a:moveTo>
                      <a:pt x="1418" y="0"/>
                    </a:moveTo>
                    <a:cubicBezTo>
                      <a:pt x="631" y="0"/>
                      <a:pt x="1" y="630"/>
                      <a:pt x="1" y="1418"/>
                    </a:cubicBezTo>
                    <a:lnTo>
                      <a:pt x="1" y="10617"/>
                    </a:lnTo>
                    <a:cubicBezTo>
                      <a:pt x="1" y="11405"/>
                      <a:pt x="631" y="12035"/>
                      <a:pt x="1418" y="12035"/>
                    </a:cubicBezTo>
                    <a:cubicBezTo>
                      <a:pt x="2332" y="12035"/>
                      <a:pt x="3120" y="11405"/>
                      <a:pt x="3403" y="10554"/>
                    </a:cubicBezTo>
                    <a:lnTo>
                      <a:pt x="3403" y="10554"/>
                    </a:lnTo>
                    <a:cubicBezTo>
                      <a:pt x="3309" y="10554"/>
                      <a:pt x="3246" y="10617"/>
                      <a:pt x="3151" y="10617"/>
                    </a:cubicBezTo>
                    <a:cubicBezTo>
                      <a:pt x="2332" y="10617"/>
                      <a:pt x="1513" y="10302"/>
                      <a:pt x="914" y="9672"/>
                    </a:cubicBezTo>
                    <a:cubicBezTo>
                      <a:pt x="788" y="9546"/>
                      <a:pt x="788" y="9294"/>
                      <a:pt x="914" y="9137"/>
                    </a:cubicBezTo>
                    <a:cubicBezTo>
                      <a:pt x="1024" y="9095"/>
                      <a:pt x="1128" y="9072"/>
                      <a:pt x="1221" y="9072"/>
                    </a:cubicBezTo>
                    <a:cubicBezTo>
                      <a:pt x="1341" y="9072"/>
                      <a:pt x="1442" y="9111"/>
                      <a:pt x="1513" y="9200"/>
                    </a:cubicBezTo>
                    <a:cubicBezTo>
                      <a:pt x="1998" y="9685"/>
                      <a:pt x="2614" y="9906"/>
                      <a:pt x="3224" y="9906"/>
                    </a:cubicBezTo>
                    <a:cubicBezTo>
                      <a:pt x="4477" y="9906"/>
                      <a:pt x="5703" y="8971"/>
                      <a:pt x="5703" y="7467"/>
                    </a:cubicBezTo>
                    <a:cubicBezTo>
                      <a:pt x="5703" y="7215"/>
                      <a:pt x="5672" y="6994"/>
                      <a:pt x="5609" y="6742"/>
                    </a:cubicBezTo>
                    <a:cubicBezTo>
                      <a:pt x="5010" y="7372"/>
                      <a:pt x="4191" y="7814"/>
                      <a:pt x="3246" y="7814"/>
                    </a:cubicBezTo>
                    <a:cubicBezTo>
                      <a:pt x="3025" y="7814"/>
                      <a:pt x="2868" y="7656"/>
                      <a:pt x="2868" y="7467"/>
                    </a:cubicBezTo>
                    <a:cubicBezTo>
                      <a:pt x="2868" y="7246"/>
                      <a:pt x="3025" y="7089"/>
                      <a:pt x="3246" y="7089"/>
                    </a:cubicBezTo>
                    <a:cubicBezTo>
                      <a:pt x="4065" y="7089"/>
                      <a:pt x="4821" y="6679"/>
                      <a:pt x="5231" y="6049"/>
                    </a:cubicBezTo>
                    <a:cubicBezTo>
                      <a:pt x="6113" y="4789"/>
                      <a:pt x="5640" y="3088"/>
                      <a:pt x="4254" y="2426"/>
                    </a:cubicBezTo>
                    <a:cubicBezTo>
                      <a:pt x="4128" y="3844"/>
                      <a:pt x="2931" y="4978"/>
                      <a:pt x="1450" y="4978"/>
                    </a:cubicBezTo>
                    <a:cubicBezTo>
                      <a:pt x="1261" y="4978"/>
                      <a:pt x="1103" y="4821"/>
                      <a:pt x="1103" y="4632"/>
                    </a:cubicBezTo>
                    <a:cubicBezTo>
                      <a:pt x="1103" y="4411"/>
                      <a:pt x="1261" y="4253"/>
                      <a:pt x="1450" y="4253"/>
                    </a:cubicBezTo>
                    <a:cubicBezTo>
                      <a:pt x="2616" y="4253"/>
                      <a:pt x="3561" y="3308"/>
                      <a:pt x="3561" y="2174"/>
                    </a:cubicBezTo>
                    <a:lnTo>
                      <a:pt x="3561" y="2143"/>
                    </a:lnTo>
                    <a:cubicBezTo>
                      <a:pt x="3561" y="945"/>
                      <a:pt x="2616" y="0"/>
                      <a:pt x="1418"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sp>
            <p:nvSpPr>
              <p:cNvPr id="113" name="Google Shape;1811;p41">
                <a:extLst>
                  <a:ext uri="{FF2B5EF4-FFF2-40B4-BE49-F238E27FC236}">
                    <a16:creationId xmlns:a16="http://schemas.microsoft.com/office/drawing/2014/main" id="{141816E7-F18A-48E1-9074-AE14C7D53FE2}"/>
                  </a:ext>
                </a:extLst>
              </p:cNvPr>
              <p:cNvSpPr/>
              <p:nvPr/>
            </p:nvSpPr>
            <p:spPr>
              <a:xfrm>
                <a:off x="-46422300" y="3938500"/>
                <a:ext cx="152025" cy="300900"/>
              </a:xfrm>
              <a:custGeom>
                <a:avLst/>
                <a:gdLst/>
                <a:ahLst/>
                <a:cxnLst/>
                <a:rect l="l" t="t" r="r" b="b"/>
                <a:pathLst>
                  <a:path w="6081" h="12036" extrusionOk="0">
                    <a:moveTo>
                      <a:pt x="4726" y="0"/>
                    </a:moveTo>
                    <a:cubicBezTo>
                      <a:pt x="3529" y="0"/>
                      <a:pt x="2584" y="977"/>
                      <a:pt x="2584" y="2111"/>
                    </a:cubicBezTo>
                    <a:lnTo>
                      <a:pt x="2584" y="2143"/>
                    </a:lnTo>
                    <a:cubicBezTo>
                      <a:pt x="2584" y="3308"/>
                      <a:pt x="3529" y="4253"/>
                      <a:pt x="4663" y="4253"/>
                    </a:cubicBezTo>
                    <a:cubicBezTo>
                      <a:pt x="4883" y="4253"/>
                      <a:pt x="5041" y="4411"/>
                      <a:pt x="5041" y="4600"/>
                    </a:cubicBezTo>
                    <a:cubicBezTo>
                      <a:pt x="5041" y="4789"/>
                      <a:pt x="4883" y="4947"/>
                      <a:pt x="4663" y="4947"/>
                    </a:cubicBezTo>
                    <a:cubicBezTo>
                      <a:pt x="3214" y="4947"/>
                      <a:pt x="2048" y="3812"/>
                      <a:pt x="1890" y="2395"/>
                    </a:cubicBezTo>
                    <a:cubicBezTo>
                      <a:pt x="441" y="3056"/>
                      <a:pt x="0" y="4758"/>
                      <a:pt x="882" y="6018"/>
                    </a:cubicBezTo>
                    <a:cubicBezTo>
                      <a:pt x="1323" y="6648"/>
                      <a:pt x="2111" y="7057"/>
                      <a:pt x="2930" y="7057"/>
                    </a:cubicBezTo>
                    <a:cubicBezTo>
                      <a:pt x="3151" y="7057"/>
                      <a:pt x="3277" y="7215"/>
                      <a:pt x="3277" y="7435"/>
                    </a:cubicBezTo>
                    <a:cubicBezTo>
                      <a:pt x="3277" y="7625"/>
                      <a:pt x="3151" y="7782"/>
                      <a:pt x="2930" y="7782"/>
                    </a:cubicBezTo>
                    <a:cubicBezTo>
                      <a:pt x="1985" y="7782"/>
                      <a:pt x="1166" y="7341"/>
                      <a:pt x="567" y="6711"/>
                    </a:cubicBezTo>
                    <a:cubicBezTo>
                      <a:pt x="504" y="6963"/>
                      <a:pt x="441" y="7183"/>
                      <a:pt x="441" y="7435"/>
                    </a:cubicBezTo>
                    <a:cubicBezTo>
                      <a:pt x="441" y="8940"/>
                      <a:pt x="1695" y="9874"/>
                      <a:pt x="2958" y="9874"/>
                    </a:cubicBezTo>
                    <a:cubicBezTo>
                      <a:pt x="3572" y="9874"/>
                      <a:pt x="4188" y="9653"/>
                      <a:pt x="4663" y="9168"/>
                    </a:cubicBezTo>
                    <a:cubicBezTo>
                      <a:pt x="4726" y="9105"/>
                      <a:pt x="4813" y="9074"/>
                      <a:pt x="4903" y="9074"/>
                    </a:cubicBezTo>
                    <a:cubicBezTo>
                      <a:pt x="4994" y="9074"/>
                      <a:pt x="5088" y="9105"/>
                      <a:pt x="5167" y="9168"/>
                    </a:cubicBezTo>
                    <a:cubicBezTo>
                      <a:pt x="5293" y="9263"/>
                      <a:pt x="5293" y="9515"/>
                      <a:pt x="5167" y="9672"/>
                    </a:cubicBezTo>
                    <a:cubicBezTo>
                      <a:pt x="4600" y="10271"/>
                      <a:pt x="3812" y="10617"/>
                      <a:pt x="2930" y="10617"/>
                    </a:cubicBezTo>
                    <a:cubicBezTo>
                      <a:pt x="2867" y="10617"/>
                      <a:pt x="2773" y="10617"/>
                      <a:pt x="2710" y="10586"/>
                    </a:cubicBezTo>
                    <a:lnTo>
                      <a:pt x="2710" y="10586"/>
                    </a:lnTo>
                    <a:cubicBezTo>
                      <a:pt x="2962" y="11405"/>
                      <a:pt x="3749" y="12035"/>
                      <a:pt x="4663" y="12035"/>
                    </a:cubicBezTo>
                    <a:cubicBezTo>
                      <a:pt x="5450" y="12035"/>
                      <a:pt x="6081" y="11405"/>
                      <a:pt x="6081" y="10617"/>
                    </a:cubicBezTo>
                    <a:lnTo>
                      <a:pt x="6081" y="1450"/>
                    </a:lnTo>
                    <a:cubicBezTo>
                      <a:pt x="6081" y="599"/>
                      <a:pt x="5450" y="0"/>
                      <a:pt x="4726" y="0"/>
                    </a:cubicBezTo>
                    <a:close/>
                  </a:path>
                </a:pathLst>
              </a:custGeom>
              <a:solidFill>
                <a:schemeClr val="bg1"/>
              </a:solidFill>
              <a:ln>
                <a:noFill/>
              </a:ln>
            </p:spPr>
            <p:txBody>
              <a:bodyPr spcFirstLastPara="1" wrap="square" lIns="121900" tIns="121900" rIns="121900" bIns="121900" anchor="ctr" anchorCtr="0">
                <a:noAutofit/>
              </a:bodyPr>
              <a:lstStyle/>
              <a:p>
                <a:endParaRPr sz="2400">
                  <a:latin typeface="Neue Haas Grotesk Text Pro" panose="020B0504020202020204" pitchFamily="34" charset="0"/>
                </a:endParaRPr>
              </a:p>
            </p:txBody>
          </p:sp>
        </p:grpSp>
      </p:grpSp>
      <p:cxnSp>
        <p:nvCxnSpPr>
          <p:cNvPr id="131" name="Straight Connector 130">
            <a:extLst>
              <a:ext uri="{FF2B5EF4-FFF2-40B4-BE49-F238E27FC236}">
                <a16:creationId xmlns:a16="http://schemas.microsoft.com/office/drawing/2014/main" id="{19F890BF-CA03-4981-88D5-3DD44CEB7BD3}"/>
              </a:ext>
            </a:extLst>
          </p:cNvPr>
          <p:cNvCxnSpPr>
            <a:cxnSpLocks/>
            <a:stCxn id="132" idx="7"/>
          </p:cNvCxnSpPr>
          <p:nvPr>
            <p:custDataLst>
              <p:tags r:id="rId1"/>
            </p:custDataLst>
          </p:nvPr>
        </p:nvCxnSpPr>
        <p:spPr>
          <a:xfrm flipV="1">
            <a:off x="4778103" y="3116384"/>
            <a:ext cx="409738" cy="1012"/>
          </a:xfrm>
          <a:prstGeom prst="line">
            <a:avLst/>
          </a:prstGeom>
          <a:ln w="1270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76ACC28-0DFD-406D-9E28-24D983ECE168}"/>
              </a:ext>
            </a:extLst>
          </p:cNvPr>
          <p:cNvCxnSpPr>
            <a:cxnSpLocks/>
            <a:stCxn id="356" idx="3"/>
          </p:cNvCxnSpPr>
          <p:nvPr>
            <p:custDataLst>
              <p:tags r:id="rId2"/>
            </p:custDataLst>
          </p:nvPr>
        </p:nvCxnSpPr>
        <p:spPr>
          <a:xfrm flipH="1">
            <a:off x="7036188" y="3109575"/>
            <a:ext cx="414687" cy="6809"/>
          </a:xfrm>
          <a:prstGeom prst="line">
            <a:avLst/>
          </a:prstGeom>
          <a:ln w="1270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A40B27F8-3C52-4E1F-9EC4-2637A6240413}"/>
              </a:ext>
            </a:extLst>
          </p:cNvPr>
          <p:cNvSpPr>
            <a:spLocks noChangeAspect="1"/>
          </p:cNvSpPr>
          <p:nvPr>
            <p:custDataLst>
              <p:tags r:id="rId3"/>
            </p:custDataLst>
          </p:nvPr>
        </p:nvSpPr>
        <p:spPr>
          <a:xfrm rot="2743144">
            <a:off x="4154816" y="2801829"/>
            <a:ext cx="623312" cy="623312"/>
          </a:xfrm>
          <a:prstGeom prst="ellipse">
            <a:avLst/>
          </a:prstGeom>
          <a:solidFill>
            <a:schemeClr val="accent2"/>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Neue Haas Grotesk Text Pro" panose="020B0504020202020204" pitchFamily="34" charset="0"/>
            </a:endParaRPr>
          </a:p>
        </p:txBody>
      </p:sp>
      <p:sp>
        <p:nvSpPr>
          <p:cNvPr id="356" name="Oval 355">
            <a:extLst>
              <a:ext uri="{FF2B5EF4-FFF2-40B4-BE49-F238E27FC236}">
                <a16:creationId xmlns:a16="http://schemas.microsoft.com/office/drawing/2014/main" id="{F0E5B484-22F0-4A3E-B708-F351460FB437}"/>
              </a:ext>
            </a:extLst>
          </p:cNvPr>
          <p:cNvSpPr>
            <a:spLocks noChangeAspect="1"/>
          </p:cNvSpPr>
          <p:nvPr>
            <p:custDataLst>
              <p:tags r:id="rId4"/>
            </p:custDataLst>
          </p:nvPr>
        </p:nvSpPr>
        <p:spPr>
          <a:xfrm rot="2743144">
            <a:off x="7450850" y="2801830"/>
            <a:ext cx="623312" cy="623312"/>
          </a:xfrm>
          <a:prstGeom prst="ellipse">
            <a:avLst/>
          </a:prstGeom>
          <a:solidFill>
            <a:schemeClr val="accent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Neue Haas Grotesk Text Pro" panose="020B0504020202020204" pitchFamily="34" charset="0"/>
            </a:endParaRPr>
          </a:p>
        </p:txBody>
      </p:sp>
      <p:sp>
        <p:nvSpPr>
          <p:cNvPr id="25" name="Rectangle: Rounded Corners 24">
            <a:extLst>
              <a:ext uri="{FF2B5EF4-FFF2-40B4-BE49-F238E27FC236}">
                <a16:creationId xmlns:a16="http://schemas.microsoft.com/office/drawing/2014/main" id="{89699B72-B458-49AE-A7B4-69946581CFFE}"/>
              </a:ext>
            </a:extLst>
          </p:cNvPr>
          <p:cNvSpPr/>
          <p:nvPr/>
        </p:nvSpPr>
        <p:spPr>
          <a:xfrm rot="16200000" flipV="1">
            <a:off x="8073023" y="4372569"/>
            <a:ext cx="720000" cy="45719"/>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24" name="Rectangle: Rounded Corners 23">
            <a:extLst>
              <a:ext uri="{FF2B5EF4-FFF2-40B4-BE49-F238E27FC236}">
                <a16:creationId xmlns:a16="http://schemas.microsoft.com/office/drawing/2014/main" id="{7E92D741-E637-44DE-925E-DE53C82521DA}"/>
              </a:ext>
            </a:extLst>
          </p:cNvPr>
          <p:cNvSpPr/>
          <p:nvPr/>
        </p:nvSpPr>
        <p:spPr>
          <a:xfrm rot="16200000" flipV="1">
            <a:off x="5764423" y="3967600"/>
            <a:ext cx="691702" cy="45719"/>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23" name="Rectangle: Rounded Corners 22">
            <a:extLst>
              <a:ext uri="{FF2B5EF4-FFF2-40B4-BE49-F238E27FC236}">
                <a16:creationId xmlns:a16="http://schemas.microsoft.com/office/drawing/2014/main" id="{F568C41D-D964-4041-A7F3-8C100CD755A9}"/>
              </a:ext>
            </a:extLst>
          </p:cNvPr>
          <p:cNvSpPr/>
          <p:nvPr/>
        </p:nvSpPr>
        <p:spPr>
          <a:xfrm rot="16200000">
            <a:off x="3363233" y="4394943"/>
            <a:ext cx="644459" cy="45719"/>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22" name="Rectangle: Rounded Corners 21">
            <a:extLst>
              <a:ext uri="{FF2B5EF4-FFF2-40B4-BE49-F238E27FC236}">
                <a16:creationId xmlns:a16="http://schemas.microsoft.com/office/drawing/2014/main" id="{5EE674CF-B085-49C0-9450-F6E469C11CCF}"/>
              </a:ext>
            </a:extLst>
          </p:cNvPr>
          <p:cNvSpPr/>
          <p:nvPr/>
        </p:nvSpPr>
        <p:spPr>
          <a:xfrm rot="16200000" flipV="1">
            <a:off x="769789" y="3546855"/>
            <a:ext cx="1186027" cy="46797"/>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13" name="Title 12">
            <a:extLst>
              <a:ext uri="{FF2B5EF4-FFF2-40B4-BE49-F238E27FC236}">
                <a16:creationId xmlns:a16="http://schemas.microsoft.com/office/drawing/2014/main" id="{470D8CCA-D731-4852-AD38-A5C31F46290A}"/>
              </a:ext>
            </a:extLst>
          </p:cNvPr>
          <p:cNvSpPr>
            <a:spLocks noGrp="1"/>
          </p:cNvSpPr>
          <p:nvPr>
            <p:ph type="title"/>
          </p:nvPr>
        </p:nvSpPr>
        <p:spPr/>
        <p:txBody>
          <a:bodyPr/>
          <a:lstStyle/>
          <a:p>
            <a:r>
              <a:rPr lang="en-SG">
                <a:latin typeface="Neue Haas Grotesk Text Pro" panose="020B0504020202020204" pitchFamily="34" charset="0"/>
              </a:rPr>
              <a:t>Overview of Proposed Solution</a:t>
            </a:r>
          </a:p>
        </p:txBody>
      </p:sp>
      <p:sp>
        <p:nvSpPr>
          <p:cNvPr id="71" name="TextBox 70">
            <a:extLst>
              <a:ext uri="{FF2B5EF4-FFF2-40B4-BE49-F238E27FC236}">
                <a16:creationId xmlns:a16="http://schemas.microsoft.com/office/drawing/2014/main" id="{C8D6A85E-423D-43C9-B19D-2189C52DAB0C}"/>
              </a:ext>
            </a:extLst>
          </p:cNvPr>
          <p:cNvSpPr txBox="1"/>
          <p:nvPr/>
        </p:nvSpPr>
        <p:spPr>
          <a:xfrm>
            <a:off x="334963" y="1201049"/>
            <a:ext cx="3173874" cy="584775"/>
          </a:xfrm>
          <a:prstGeom prst="rect">
            <a:avLst/>
          </a:prstGeom>
          <a:solidFill>
            <a:srgbClr val="132E57"/>
          </a:solidFill>
          <a:ln>
            <a:solidFill>
              <a:schemeClr val="bg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Establishing</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Financial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Milestones</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amp; Retirement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Sum</a:t>
            </a:r>
            <a:endPar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72" name="TextBox 71">
            <a:extLst>
              <a:ext uri="{FF2B5EF4-FFF2-40B4-BE49-F238E27FC236}">
                <a16:creationId xmlns:a16="http://schemas.microsoft.com/office/drawing/2014/main" id="{DA883D35-1E45-4A11-80F3-DA19F3BA8F79}"/>
              </a:ext>
            </a:extLst>
          </p:cNvPr>
          <p:cNvSpPr txBox="1"/>
          <p:nvPr/>
        </p:nvSpPr>
        <p:spPr>
          <a:xfrm>
            <a:off x="339540" y="1784588"/>
            <a:ext cx="3169298" cy="1169551"/>
          </a:xfrm>
          <a:prstGeom prst="rect">
            <a:avLst/>
          </a:prstGeom>
          <a:solidFill>
            <a:schemeClr val="bg1">
              <a:lumMod val="95000"/>
            </a:schemeClr>
          </a:solid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Neue Haas Grotesk Text Pro" panose="020B0504020202020204" pitchFamily="34" charset="0"/>
              </a:rPr>
              <a:t>B</a:t>
            </a:r>
            <a:r>
              <a:rPr kumimoji="0" lang="en-US" sz="1400" i="0" u="none" strike="noStrike" kern="1200" cap="none" spc="0" normalizeH="0" baseline="0" noProof="0" err="1">
                <a:ln>
                  <a:noFill/>
                </a:ln>
                <a:effectLst/>
                <a:uLnTx/>
                <a:uFillTx/>
                <a:latin typeface="Neue Haas Grotesk Text Pro" panose="020B0504020202020204" pitchFamily="34" charset="0"/>
              </a:rPr>
              <a:t>etter</a:t>
            </a:r>
            <a:r>
              <a:rPr kumimoji="0" lang="en-US" sz="1400" i="0" u="none" strike="noStrike" kern="1200" cap="none" spc="0" normalizeH="0" baseline="0" noProof="0">
                <a:ln>
                  <a:noFill/>
                </a:ln>
                <a:effectLst/>
                <a:uLnTx/>
                <a:uFillTx/>
                <a:latin typeface="Neue Haas Grotesk Text Pro" panose="020B0504020202020204" pitchFamily="34" charset="0"/>
              </a:rPr>
              <a:t> picture of future financial requirements as they reach key milestones in lif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effectLst/>
                <a:uLnTx/>
                <a:uFillTx/>
                <a:latin typeface="Neue Haas Grotesk Text Pro" panose="020B0504020202020204" pitchFamily="34" charset="0"/>
              </a:rPr>
              <a:t>Compute an estimated amount required for retirement</a:t>
            </a:r>
          </a:p>
        </p:txBody>
      </p:sp>
      <p:grpSp>
        <p:nvGrpSpPr>
          <p:cNvPr id="18" name="Group 17">
            <a:extLst>
              <a:ext uri="{FF2B5EF4-FFF2-40B4-BE49-F238E27FC236}">
                <a16:creationId xmlns:a16="http://schemas.microsoft.com/office/drawing/2014/main" id="{788517DD-5504-4AA1-A49B-D5AD1DFF658A}"/>
              </a:ext>
            </a:extLst>
          </p:cNvPr>
          <p:cNvGrpSpPr/>
          <p:nvPr/>
        </p:nvGrpSpPr>
        <p:grpSpPr>
          <a:xfrm>
            <a:off x="1473569" y="4772148"/>
            <a:ext cx="4423787" cy="1499484"/>
            <a:chOff x="1648362" y="4649001"/>
            <a:chExt cx="4423787" cy="1499484"/>
          </a:xfrm>
        </p:grpSpPr>
        <p:sp>
          <p:nvSpPr>
            <p:cNvPr id="78" name="TextBox 77">
              <a:extLst>
                <a:ext uri="{FF2B5EF4-FFF2-40B4-BE49-F238E27FC236}">
                  <a16:creationId xmlns:a16="http://schemas.microsoft.com/office/drawing/2014/main" id="{B99D099E-D214-41E9-9580-631DBCD24345}"/>
                </a:ext>
              </a:extLst>
            </p:cNvPr>
            <p:cNvSpPr txBox="1"/>
            <p:nvPr/>
          </p:nvSpPr>
          <p:spPr>
            <a:xfrm>
              <a:off x="1648362" y="4649001"/>
              <a:ext cx="4423787" cy="338554"/>
            </a:xfrm>
            <a:prstGeom prst="rect">
              <a:avLst/>
            </a:prstGeom>
            <a:solidFill>
              <a:srgbClr val="132E5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Risk </a:t>
              </a: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Assessment</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Survey </a:t>
              </a:r>
            </a:p>
          </p:txBody>
        </p:sp>
        <p:sp>
          <p:nvSpPr>
            <p:cNvPr id="79" name="TextBox 78">
              <a:extLst>
                <a:ext uri="{FF2B5EF4-FFF2-40B4-BE49-F238E27FC236}">
                  <a16:creationId xmlns:a16="http://schemas.microsoft.com/office/drawing/2014/main" id="{2308D099-B2AF-45EF-B67F-B026BA36CBFE}"/>
                </a:ext>
              </a:extLst>
            </p:cNvPr>
            <p:cNvSpPr txBox="1"/>
            <p:nvPr/>
          </p:nvSpPr>
          <p:spPr>
            <a:xfrm>
              <a:off x="1648362" y="4978934"/>
              <a:ext cx="4423787" cy="1169551"/>
            </a:xfrm>
            <a:prstGeom prst="rect">
              <a:avLst/>
            </a:prstGeom>
            <a:solidFill>
              <a:schemeClr val="bg1">
                <a:lumMod val="95000"/>
              </a:schemeClr>
            </a:solid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Neue Haas Grotesk Text Pro" panose="020B0504020202020204" pitchFamily="34" charset="0"/>
                </a:rPr>
                <a:t>Better understand willingness and ability to take risk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Neue Haas Grotesk Text Pro" panose="020B0504020202020204" pitchFamily="34" charset="0"/>
                </a:rPr>
                <a:t>Recommend portfolio mix that abides to individual’s risk profile to aid in decisions when exposed to rising or falling share prices</a:t>
              </a:r>
            </a:p>
          </p:txBody>
        </p:sp>
      </p:grpSp>
      <p:grpSp>
        <p:nvGrpSpPr>
          <p:cNvPr id="20" name="Group 19">
            <a:extLst>
              <a:ext uri="{FF2B5EF4-FFF2-40B4-BE49-F238E27FC236}">
                <a16:creationId xmlns:a16="http://schemas.microsoft.com/office/drawing/2014/main" id="{7B3A9113-2557-4843-A2D6-8A9EE15F2972}"/>
              </a:ext>
            </a:extLst>
          </p:cNvPr>
          <p:cNvGrpSpPr/>
          <p:nvPr/>
        </p:nvGrpSpPr>
        <p:grpSpPr>
          <a:xfrm>
            <a:off x="7583942" y="4428137"/>
            <a:ext cx="2093441" cy="2283372"/>
            <a:chOff x="8120403" y="4365051"/>
            <a:chExt cx="2093441" cy="2283372"/>
          </a:xfrm>
        </p:grpSpPr>
        <p:grpSp>
          <p:nvGrpSpPr>
            <p:cNvPr id="182" name="Group 181">
              <a:extLst>
                <a:ext uri="{FF2B5EF4-FFF2-40B4-BE49-F238E27FC236}">
                  <a16:creationId xmlns:a16="http://schemas.microsoft.com/office/drawing/2014/main" id="{3AEA4996-6B38-41BA-A5BF-4CDDCAE76CF8}"/>
                </a:ext>
              </a:extLst>
            </p:cNvPr>
            <p:cNvGrpSpPr/>
            <p:nvPr/>
          </p:nvGrpSpPr>
          <p:grpSpPr>
            <a:xfrm>
              <a:off x="8120403" y="4365051"/>
              <a:ext cx="2093441" cy="2283372"/>
              <a:chOff x="4913145" y="2257372"/>
              <a:chExt cx="2902055" cy="3262648"/>
            </a:xfrm>
          </p:grpSpPr>
          <p:grpSp>
            <p:nvGrpSpPr>
              <p:cNvPr id="187" name="Group 186">
                <a:extLst>
                  <a:ext uri="{FF2B5EF4-FFF2-40B4-BE49-F238E27FC236}">
                    <a16:creationId xmlns:a16="http://schemas.microsoft.com/office/drawing/2014/main" id="{5E583CBC-EC7D-4303-9AB2-59490683D85A}"/>
                  </a:ext>
                </a:extLst>
              </p:cNvPr>
              <p:cNvGrpSpPr>
                <a:grpSpLocks noChangeAspect="1"/>
              </p:cNvGrpSpPr>
              <p:nvPr>
                <p:custDataLst>
                  <p:tags r:id="rId7"/>
                </p:custDataLst>
              </p:nvPr>
            </p:nvGrpSpPr>
            <p:grpSpPr>
              <a:xfrm>
                <a:off x="4913145" y="2754145"/>
                <a:ext cx="2365710" cy="2365710"/>
                <a:chOff x="4191000" y="1524000"/>
                <a:chExt cx="3810000" cy="3810000"/>
              </a:xfrm>
            </p:grpSpPr>
            <p:sp>
              <p:nvSpPr>
                <p:cNvPr id="236" name="Block Arc 235">
                  <a:extLst>
                    <a:ext uri="{FF2B5EF4-FFF2-40B4-BE49-F238E27FC236}">
                      <a16:creationId xmlns:a16="http://schemas.microsoft.com/office/drawing/2014/main" id="{8CAD9B46-4D93-4215-9BD3-8008F27CFC1C}"/>
                    </a:ext>
                  </a:extLst>
                </p:cNvPr>
                <p:cNvSpPr/>
                <p:nvPr>
                  <p:custDataLst>
                    <p:tags r:id="rId8"/>
                  </p:custDataLst>
                </p:nvPr>
              </p:nvSpPr>
              <p:spPr>
                <a:xfrm>
                  <a:off x="4191000" y="1524000"/>
                  <a:ext cx="3810000" cy="3810000"/>
                </a:xfrm>
                <a:prstGeom prst="blockArc">
                  <a:avLst>
                    <a:gd name="adj1" fmla="val 0"/>
                    <a:gd name="adj2" fmla="val 5400000"/>
                    <a:gd name="adj3" fmla="val 16500"/>
                  </a:avLst>
                </a:prstGeom>
                <a:solidFill>
                  <a:schemeClr val="accent3">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endParaRPr>
                </a:p>
              </p:txBody>
            </p:sp>
            <p:sp>
              <p:nvSpPr>
                <p:cNvPr id="237" name="Block Arc 236">
                  <a:extLst>
                    <a:ext uri="{FF2B5EF4-FFF2-40B4-BE49-F238E27FC236}">
                      <a16:creationId xmlns:a16="http://schemas.microsoft.com/office/drawing/2014/main" id="{3D0EDB33-9A3F-4B0F-AB59-73C7AFD22A53}"/>
                    </a:ext>
                  </a:extLst>
                </p:cNvPr>
                <p:cNvSpPr/>
                <p:nvPr>
                  <p:custDataLst>
                    <p:tags r:id="rId9"/>
                  </p:custDataLst>
                </p:nvPr>
              </p:nvSpPr>
              <p:spPr>
                <a:xfrm>
                  <a:off x="4191000" y="1524000"/>
                  <a:ext cx="3810000" cy="3810000"/>
                </a:xfrm>
                <a:prstGeom prst="blockArc">
                  <a:avLst>
                    <a:gd name="adj1" fmla="val 5400000"/>
                    <a:gd name="adj2" fmla="val 10800000"/>
                    <a:gd name="adj3" fmla="val 16500"/>
                  </a:avLst>
                </a:prstGeom>
                <a:solidFill>
                  <a:schemeClr val="accent1"/>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endParaRPr>
                </a:p>
              </p:txBody>
            </p:sp>
            <p:sp>
              <p:nvSpPr>
                <p:cNvPr id="238" name="Block Arc 237">
                  <a:extLst>
                    <a:ext uri="{FF2B5EF4-FFF2-40B4-BE49-F238E27FC236}">
                      <a16:creationId xmlns:a16="http://schemas.microsoft.com/office/drawing/2014/main" id="{E877F125-7C0C-4022-A64D-CC8DB963AEBA}"/>
                    </a:ext>
                  </a:extLst>
                </p:cNvPr>
                <p:cNvSpPr/>
                <p:nvPr>
                  <p:custDataLst>
                    <p:tags r:id="rId10"/>
                  </p:custDataLst>
                </p:nvPr>
              </p:nvSpPr>
              <p:spPr>
                <a:xfrm>
                  <a:off x="4191000" y="1524000"/>
                  <a:ext cx="3810000" cy="3810000"/>
                </a:xfrm>
                <a:prstGeom prst="blockArc">
                  <a:avLst>
                    <a:gd name="adj1" fmla="val 10800000"/>
                    <a:gd name="adj2" fmla="val 16200000"/>
                    <a:gd name="adj3" fmla="val 16500"/>
                  </a:avLst>
                </a:prstGeom>
                <a:solidFill>
                  <a:schemeClr val="accent1">
                    <a:lumMod val="60000"/>
                    <a:lumOff val="4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endParaRPr>
                </a:p>
              </p:txBody>
            </p:sp>
            <p:sp>
              <p:nvSpPr>
                <p:cNvPr id="239" name="Block Arc 238">
                  <a:extLst>
                    <a:ext uri="{FF2B5EF4-FFF2-40B4-BE49-F238E27FC236}">
                      <a16:creationId xmlns:a16="http://schemas.microsoft.com/office/drawing/2014/main" id="{33ACFACC-1AA8-4A2E-8B6B-41BA168939C9}"/>
                    </a:ext>
                  </a:extLst>
                </p:cNvPr>
                <p:cNvSpPr/>
                <p:nvPr>
                  <p:custDataLst>
                    <p:tags r:id="rId11"/>
                  </p:custDataLst>
                </p:nvPr>
              </p:nvSpPr>
              <p:spPr>
                <a:xfrm>
                  <a:off x="4191000" y="1524000"/>
                  <a:ext cx="3810000" cy="3810000"/>
                </a:xfrm>
                <a:prstGeom prst="blockArc">
                  <a:avLst>
                    <a:gd name="adj1" fmla="val 16200000"/>
                    <a:gd name="adj2" fmla="val 0"/>
                    <a:gd name="adj3" fmla="val 16500"/>
                  </a:avLst>
                </a:prstGeom>
                <a:solidFill>
                  <a:schemeClr val="accent1">
                    <a:lumMod val="20000"/>
                    <a:lumOff val="80000"/>
                  </a:schemeClr>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endParaRPr>
                </a:p>
              </p:txBody>
            </p:sp>
            <p:sp>
              <p:nvSpPr>
                <p:cNvPr id="240" name="Block Arc 239" hidden="1">
                  <a:extLst>
                    <a:ext uri="{FF2B5EF4-FFF2-40B4-BE49-F238E27FC236}">
                      <a16:creationId xmlns:a16="http://schemas.microsoft.com/office/drawing/2014/main" id="{DEC6ED8E-8F63-4EC3-A5E8-059819EA9309}"/>
                    </a:ext>
                  </a:extLst>
                </p:cNvPr>
                <p:cNvSpPr/>
                <p:nvPr>
                  <p:custDataLst>
                    <p:tags r:id="rId12"/>
                  </p:custDataLst>
                </p:nvPr>
              </p:nvSpPr>
              <p:spPr>
                <a:xfrm>
                  <a:off x="4191000" y="1524000"/>
                  <a:ext cx="3810000" cy="3810000"/>
                </a:xfrm>
                <a:prstGeom prst="blockArc">
                  <a:avLst>
                    <a:gd name="adj1" fmla="val 17280000"/>
                    <a:gd name="adj2" fmla="val 0"/>
                    <a:gd name="adj3" fmla="val 16500"/>
                  </a:avLst>
                </a:prstGeom>
                <a:solidFill>
                  <a:srgbClr val="EB641B"/>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1" name="Block Arc 240" hidden="1">
                  <a:extLst>
                    <a:ext uri="{FF2B5EF4-FFF2-40B4-BE49-F238E27FC236}">
                      <a16:creationId xmlns:a16="http://schemas.microsoft.com/office/drawing/2014/main" id="{88D49786-70E5-4F7B-96FE-A6FFF8458619}"/>
                    </a:ext>
                  </a:extLst>
                </p:cNvPr>
                <p:cNvSpPr/>
                <p:nvPr>
                  <p:custDataLst>
                    <p:tags r:id="rId1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2" name="Block Arc 241" hidden="1">
                  <a:extLst>
                    <a:ext uri="{FF2B5EF4-FFF2-40B4-BE49-F238E27FC236}">
                      <a16:creationId xmlns:a16="http://schemas.microsoft.com/office/drawing/2014/main" id="{3E4B4842-E75D-4C85-8E41-D82DB0D6CDA8}"/>
                    </a:ext>
                  </a:extLst>
                </p:cNvPr>
                <p:cNvSpPr/>
                <p:nvPr>
                  <p:custDataLst>
                    <p:tags r:id="rId1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3" name="Block Arc 242" hidden="1">
                  <a:extLst>
                    <a:ext uri="{FF2B5EF4-FFF2-40B4-BE49-F238E27FC236}">
                      <a16:creationId xmlns:a16="http://schemas.microsoft.com/office/drawing/2014/main" id="{5853BD1B-9841-49F9-8AE6-A40AD7602640}"/>
                    </a:ext>
                  </a:extLst>
                </p:cNvPr>
                <p:cNvSpPr/>
                <p:nvPr>
                  <p:custDataLst>
                    <p:tags r:id="rId1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4" name="Block Arc 243" hidden="1">
                  <a:extLst>
                    <a:ext uri="{FF2B5EF4-FFF2-40B4-BE49-F238E27FC236}">
                      <a16:creationId xmlns:a16="http://schemas.microsoft.com/office/drawing/2014/main" id="{AD133766-F188-4C81-A364-AA3364EAC2DB}"/>
                    </a:ext>
                  </a:extLst>
                </p:cNvPr>
                <p:cNvSpPr/>
                <p:nvPr>
                  <p:custDataLst>
                    <p:tags r:id="rId1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5" name="Block Arc 244" hidden="1">
                  <a:extLst>
                    <a:ext uri="{FF2B5EF4-FFF2-40B4-BE49-F238E27FC236}">
                      <a16:creationId xmlns:a16="http://schemas.microsoft.com/office/drawing/2014/main" id="{7DE5E06F-28B2-4270-B921-1F0C6BF30057}"/>
                    </a:ext>
                  </a:extLst>
                </p:cNvPr>
                <p:cNvSpPr/>
                <p:nvPr>
                  <p:custDataLst>
                    <p:tags r:id="rId1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6" name="Block Arc 245" hidden="1">
                  <a:extLst>
                    <a:ext uri="{FF2B5EF4-FFF2-40B4-BE49-F238E27FC236}">
                      <a16:creationId xmlns:a16="http://schemas.microsoft.com/office/drawing/2014/main" id="{48EEF9F1-5CFC-4DF7-969B-7577BEDFC490}"/>
                    </a:ext>
                  </a:extLst>
                </p:cNvPr>
                <p:cNvSpPr/>
                <p:nvPr>
                  <p:custDataLst>
                    <p:tags r:id="rId1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7" name="Block Arc 246" hidden="1">
                  <a:extLst>
                    <a:ext uri="{FF2B5EF4-FFF2-40B4-BE49-F238E27FC236}">
                      <a16:creationId xmlns:a16="http://schemas.microsoft.com/office/drawing/2014/main" id="{D5E360A4-A06E-40E6-99FD-2C3CA48B9227}"/>
                    </a:ext>
                  </a:extLst>
                </p:cNvPr>
                <p:cNvSpPr/>
                <p:nvPr>
                  <p:custDataLst>
                    <p:tags r:id="rId1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8" name="Block Arc 247" hidden="1">
                  <a:extLst>
                    <a:ext uri="{FF2B5EF4-FFF2-40B4-BE49-F238E27FC236}">
                      <a16:creationId xmlns:a16="http://schemas.microsoft.com/office/drawing/2014/main" id="{1D6547CC-0969-4D20-908E-7AEB313DD207}"/>
                    </a:ext>
                  </a:extLst>
                </p:cNvPr>
                <p:cNvSpPr/>
                <p:nvPr>
                  <p:custDataLst>
                    <p:tags r:id="rId2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49" name="Block Arc 248" hidden="1">
                  <a:extLst>
                    <a:ext uri="{FF2B5EF4-FFF2-40B4-BE49-F238E27FC236}">
                      <a16:creationId xmlns:a16="http://schemas.microsoft.com/office/drawing/2014/main" id="{0AC41EBC-AF9C-4CD1-9D4B-BF984935231D}"/>
                    </a:ext>
                  </a:extLst>
                </p:cNvPr>
                <p:cNvSpPr/>
                <p:nvPr>
                  <p:custDataLst>
                    <p:tags r:id="rId2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0" name="Block Arc 249" hidden="1">
                  <a:extLst>
                    <a:ext uri="{FF2B5EF4-FFF2-40B4-BE49-F238E27FC236}">
                      <a16:creationId xmlns:a16="http://schemas.microsoft.com/office/drawing/2014/main" id="{FEA5E84F-E885-4F93-8645-93FFFD0AFBF1}"/>
                    </a:ext>
                  </a:extLst>
                </p:cNvPr>
                <p:cNvSpPr/>
                <p:nvPr>
                  <p:custDataLst>
                    <p:tags r:id="rId2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1" name="Block Arc 250" hidden="1">
                  <a:extLst>
                    <a:ext uri="{FF2B5EF4-FFF2-40B4-BE49-F238E27FC236}">
                      <a16:creationId xmlns:a16="http://schemas.microsoft.com/office/drawing/2014/main" id="{166F7DA9-5937-49EE-BE7D-EB6222C23D28}"/>
                    </a:ext>
                  </a:extLst>
                </p:cNvPr>
                <p:cNvSpPr/>
                <p:nvPr>
                  <p:custDataLst>
                    <p:tags r:id="rId2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2" name="Block Arc 251" hidden="1">
                  <a:extLst>
                    <a:ext uri="{FF2B5EF4-FFF2-40B4-BE49-F238E27FC236}">
                      <a16:creationId xmlns:a16="http://schemas.microsoft.com/office/drawing/2014/main" id="{7EF54278-6BA7-4645-94B3-F91EA36047E4}"/>
                    </a:ext>
                  </a:extLst>
                </p:cNvPr>
                <p:cNvSpPr/>
                <p:nvPr>
                  <p:custDataLst>
                    <p:tags r:id="rId2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3" name="Block Arc 252" hidden="1">
                  <a:extLst>
                    <a:ext uri="{FF2B5EF4-FFF2-40B4-BE49-F238E27FC236}">
                      <a16:creationId xmlns:a16="http://schemas.microsoft.com/office/drawing/2014/main" id="{80551852-076C-49CC-A6AB-9368AB41CB8C}"/>
                    </a:ext>
                  </a:extLst>
                </p:cNvPr>
                <p:cNvSpPr/>
                <p:nvPr>
                  <p:custDataLst>
                    <p:tags r:id="rId2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4" name="Block Arc 253" hidden="1">
                  <a:extLst>
                    <a:ext uri="{FF2B5EF4-FFF2-40B4-BE49-F238E27FC236}">
                      <a16:creationId xmlns:a16="http://schemas.microsoft.com/office/drawing/2014/main" id="{B7FDC41E-31EF-4CF0-84BF-EE1D51869B6C}"/>
                    </a:ext>
                  </a:extLst>
                </p:cNvPr>
                <p:cNvSpPr/>
                <p:nvPr>
                  <p:custDataLst>
                    <p:tags r:id="rId2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5" name="Block Arc 254" hidden="1">
                  <a:extLst>
                    <a:ext uri="{FF2B5EF4-FFF2-40B4-BE49-F238E27FC236}">
                      <a16:creationId xmlns:a16="http://schemas.microsoft.com/office/drawing/2014/main" id="{31A3A753-038C-450A-85B3-1CE09597A401}"/>
                    </a:ext>
                  </a:extLst>
                </p:cNvPr>
                <p:cNvSpPr/>
                <p:nvPr>
                  <p:custDataLst>
                    <p:tags r:id="rId2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6" name="Block Arc 255" hidden="1">
                  <a:extLst>
                    <a:ext uri="{FF2B5EF4-FFF2-40B4-BE49-F238E27FC236}">
                      <a16:creationId xmlns:a16="http://schemas.microsoft.com/office/drawing/2014/main" id="{69DA2D67-74F3-428D-9F5F-B4FF5A1F14FC}"/>
                    </a:ext>
                  </a:extLst>
                </p:cNvPr>
                <p:cNvSpPr/>
                <p:nvPr>
                  <p:custDataLst>
                    <p:tags r:id="rId2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7" name="Block Arc 256" hidden="1">
                  <a:extLst>
                    <a:ext uri="{FF2B5EF4-FFF2-40B4-BE49-F238E27FC236}">
                      <a16:creationId xmlns:a16="http://schemas.microsoft.com/office/drawing/2014/main" id="{AD9457FF-3D17-4113-B6DF-0ED031B6AB57}"/>
                    </a:ext>
                  </a:extLst>
                </p:cNvPr>
                <p:cNvSpPr/>
                <p:nvPr>
                  <p:custDataLst>
                    <p:tags r:id="rId2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8" name="Block Arc 257" hidden="1">
                  <a:extLst>
                    <a:ext uri="{FF2B5EF4-FFF2-40B4-BE49-F238E27FC236}">
                      <a16:creationId xmlns:a16="http://schemas.microsoft.com/office/drawing/2014/main" id="{316CDE4E-ADC7-4E36-B03A-14C4D1E95DCF}"/>
                    </a:ext>
                  </a:extLst>
                </p:cNvPr>
                <p:cNvSpPr/>
                <p:nvPr>
                  <p:custDataLst>
                    <p:tags r:id="rId3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59" name="Block Arc 258" hidden="1">
                  <a:extLst>
                    <a:ext uri="{FF2B5EF4-FFF2-40B4-BE49-F238E27FC236}">
                      <a16:creationId xmlns:a16="http://schemas.microsoft.com/office/drawing/2014/main" id="{8ADCF658-DE33-4065-B526-994CA898480A}"/>
                    </a:ext>
                  </a:extLst>
                </p:cNvPr>
                <p:cNvSpPr/>
                <p:nvPr>
                  <p:custDataLst>
                    <p:tags r:id="rId3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0" name="Block Arc 259" hidden="1">
                  <a:extLst>
                    <a:ext uri="{FF2B5EF4-FFF2-40B4-BE49-F238E27FC236}">
                      <a16:creationId xmlns:a16="http://schemas.microsoft.com/office/drawing/2014/main" id="{7D15EE97-4CC2-4E61-8DDE-9267FC91553A}"/>
                    </a:ext>
                  </a:extLst>
                </p:cNvPr>
                <p:cNvSpPr/>
                <p:nvPr>
                  <p:custDataLst>
                    <p:tags r:id="rId3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1" name="Block Arc 260" hidden="1">
                  <a:extLst>
                    <a:ext uri="{FF2B5EF4-FFF2-40B4-BE49-F238E27FC236}">
                      <a16:creationId xmlns:a16="http://schemas.microsoft.com/office/drawing/2014/main" id="{CDC93976-1625-4DF9-BAF9-F4CA9B50C028}"/>
                    </a:ext>
                  </a:extLst>
                </p:cNvPr>
                <p:cNvSpPr/>
                <p:nvPr>
                  <p:custDataLst>
                    <p:tags r:id="rId3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2" name="Block Arc 261" hidden="1">
                  <a:extLst>
                    <a:ext uri="{FF2B5EF4-FFF2-40B4-BE49-F238E27FC236}">
                      <a16:creationId xmlns:a16="http://schemas.microsoft.com/office/drawing/2014/main" id="{048A400E-C6AD-4B07-949A-D9B16CFCBDD3}"/>
                    </a:ext>
                  </a:extLst>
                </p:cNvPr>
                <p:cNvSpPr/>
                <p:nvPr>
                  <p:custDataLst>
                    <p:tags r:id="rId3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3" name="Block Arc 262" hidden="1">
                  <a:extLst>
                    <a:ext uri="{FF2B5EF4-FFF2-40B4-BE49-F238E27FC236}">
                      <a16:creationId xmlns:a16="http://schemas.microsoft.com/office/drawing/2014/main" id="{74C889BA-53AD-477F-AD70-819734BA99BA}"/>
                    </a:ext>
                  </a:extLst>
                </p:cNvPr>
                <p:cNvSpPr/>
                <p:nvPr>
                  <p:custDataLst>
                    <p:tags r:id="rId3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4" name="Block Arc 263" hidden="1">
                  <a:extLst>
                    <a:ext uri="{FF2B5EF4-FFF2-40B4-BE49-F238E27FC236}">
                      <a16:creationId xmlns:a16="http://schemas.microsoft.com/office/drawing/2014/main" id="{34CB7C0A-2DCB-4542-8199-C8EE0428AD42}"/>
                    </a:ext>
                  </a:extLst>
                </p:cNvPr>
                <p:cNvSpPr/>
                <p:nvPr>
                  <p:custDataLst>
                    <p:tags r:id="rId3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5" name="Block Arc 264" hidden="1">
                  <a:extLst>
                    <a:ext uri="{FF2B5EF4-FFF2-40B4-BE49-F238E27FC236}">
                      <a16:creationId xmlns:a16="http://schemas.microsoft.com/office/drawing/2014/main" id="{4D26A7C9-EEDC-4042-BCC3-DBFE4EC4E414}"/>
                    </a:ext>
                  </a:extLst>
                </p:cNvPr>
                <p:cNvSpPr/>
                <p:nvPr>
                  <p:custDataLst>
                    <p:tags r:id="rId3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6" name="Block Arc 265" hidden="1">
                  <a:extLst>
                    <a:ext uri="{FF2B5EF4-FFF2-40B4-BE49-F238E27FC236}">
                      <a16:creationId xmlns:a16="http://schemas.microsoft.com/office/drawing/2014/main" id="{2E1D77D4-1673-4E4A-9C9F-A44B849F1677}"/>
                    </a:ext>
                  </a:extLst>
                </p:cNvPr>
                <p:cNvSpPr/>
                <p:nvPr>
                  <p:custDataLst>
                    <p:tags r:id="rId3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7" name="Block Arc 266" hidden="1">
                  <a:extLst>
                    <a:ext uri="{FF2B5EF4-FFF2-40B4-BE49-F238E27FC236}">
                      <a16:creationId xmlns:a16="http://schemas.microsoft.com/office/drawing/2014/main" id="{194D6079-58CD-4DEA-90BA-3BFBB6AF6A30}"/>
                    </a:ext>
                  </a:extLst>
                </p:cNvPr>
                <p:cNvSpPr/>
                <p:nvPr>
                  <p:custDataLst>
                    <p:tags r:id="rId3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8" name="Block Arc 267" hidden="1">
                  <a:extLst>
                    <a:ext uri="{FF2B5EF4-FFF2-40B4-BE49-F238E27FC236}">
                      <a16:creationId xmlns:a16="http://schemas.microsoft.com/office/drawing/2014/main" id="{E643D5F3-0969-42A6-953F-E46DC4FF45F8}"/>
                    </a:ext>
                  </a:extLst>
                </p:cNvPr>
                <p:cNvSpPr/>
                <p:nvPr>
                  <p:custDataLst>
                    <p:tags r:id="rId4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69" name="Block Arc 268" hidden="1">
                  <a:extLst>
                    <a:ext uri="{FF2B5EF4-FFF2-40B4-BE49-F238E27FC236}">
                      <a16:creationId xmlns:a16="http://schemas.microsoft.com/office/drawing/2014/main" id="{A589C579-B4B8-4C91-ACED-B6C38A766061}"/>
                    </a:ext>
                  </a:extLst>
                </p:cNvPr>
                <p:cNvSpPr/>
                <p:nvPr>
                  <p:custDataLst>
                    <p:tags r:id="rId4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0" name="Block Arc 269" hidden="1">
                  <a:extLst>
                    <a:ext uri="{FF2B5EF4-FFF2-40B4-BE49-F238E27FC236}">
                      <a16:creationId xmlns:a16="http://schemas.microsoft.com/office/drawing/2014/main" id="{D2EC942F-1C48-45E9-B28A-31C23A69722A}"/>
                    </a:ext>
                  </a:extLst>
                </p:cNvPr>
                <p:cNvSpPr/>
                <p:nvPr>
                  <p:custDataLst>
                    <p:tags r:id="rId4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1" name="Block Arc 270" hidden="1">
                  <a:extLst>
                    <a:ext uri="{FF2B5EF4-FFF2-40B4-BE49-F238E27FC236}">
                      <a16:creationId xmlns:a16="http://schemas.microsoft.com/office/drawing/2014/main" id="{7E83348B-6231-44B7-8E70-651619563597}"/>
                    </a:ext>
                  </a:extLst>
                </p:cNvPr>
                <p:cNvSpPr/>
                <p:nvPr>
                  <p:custDataLst>
                    <p:tags r:id="rId4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2" name="Block Arc 271" hidden="1">
                  <a:extLst>
                    <a:ext uri="{FF2B5EF4-FFF2-40B4-BE49-F238E27FC236}">
                      <a16:creationId xmlns:a16="http://schemas.microsoft.com/office/drawing/2014/main" id="{C5A10A40-CFED-43C9-80DE-BAA7327494F9}"/>
                    </a:ext>
                  </a:extLst>
                </p:cNvPr>
                <p:cNvSpPr/>
                <p:nvPr>
                  <p:custDataLst>
                    <p:tags r:id="rId4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3" name="Block Arc 272" hidden="1">
                  <a:extLst>
                    <a:ext uri="{FF2B5EF4-FFF2-40B4-BE49-F238E27FC236}">
                      <a16:creationId xmlns:a16="http://schemas.microsoft.com/office/drawing/2014/main" id="{50F550B6-45CF-4144-8CE5-472C1228FCDD}"/>
                    </a:ext>
                  </a:extLst>
                </p:cNvPr>
                <p:cNvSpPr/>
                <p:nvPr>
                  <p:custDataLst>
                    <p:tags r:id="rId4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4" name="Block Arc 273" hidden="1">
                  <a:extLst>
                    <a:ext uri="{FF2B5EF4-FFF2-40B4-BE49-F238E27FC236}">
                      <a16:creationId xmlns:a16="http://schemas.microsoft.com/office/drawing/2014/main" id="{316970C7-0CEC-4B96-8B93-DF1D0B35B52C}"/>
                    </a:ext>
                  </a:extLst>
                </p:cNvPr>
                <p:cNvSpPr/>
                <p:nvPr>
                  <p:custDataLst>
                    <p:tags r:id="rId4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5" name="Block Arc 274" hidden="1">
                  <a:extLst>
                    <a:ext uri="{FF2B5EF4-FFF2-40B4-BE49-F238E27FC236}">
                      <a16:creationId xmlns:a16="http://schemas.microsoft.com/office/drawing/2014/main" id="{4EA5A8F5-26F4-463F-A2C1-3F15B8D32EB0}"/>
                    </a:ext>
                  </a:extLst>
                </p:cNvPr>
                <p:cNvSpPr/>
                <p:nvPr>
                  <p:custDataLst>
                    <p:tags r:id="rId4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6" name="Block Arc 275" hidden="1">
                  <a:extLst>
                    <a:ext uri="{FF2B5EF4-FFF2-40B4-BE49-F238E27FC236}">
                      <a16:creationId xmlns:a16="http://schemas.microsoft.com/office/drawing/2014/main" id="{8B806385-31E8-4481-921F-790D61BF5C02}"/>
                    </a:ext>
                  </a:extLst>
                </p:cNvPr>
                <p:cNvSpPr/>
                <p:nvPr>
                  <p:custDataLst>
                    <p:tags r:id="rId4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7" name="Block Arc 276" hidden="1">
                  <a:extLst>
                    <a:ext uri="{FF2B5EF4-FFF2-40B4-BE49-F238E27FC236}">
                      <a16:creationId xmlns:a16="http://schemas.microsoft.com/office/drawing/2014/main" id="{783E4EE3-474A-41B5-B2E9-08B429285C6B}"/>
                    </a:ext>
                  </a:extLst>
                </p:cNvPr>
                <p:cNvSpPr/>
                <p:nvPr>
                  <p:custDataLst>
                    <p:tags r:id="rId4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8" name="Block Arc 277" hidden="1">
                  <a:extLst>
                    <a:ext uri="{FF2B5EF4-FFF2-40B4-BE49-F238E27FC236}">
                      <a16:creationId xmlns:a16="http://schemas.microsoft.com/office/drawing/2014/main" id="{2CDE4ACD-FD2B-4CDD-9AAF-10DC0C502009}"/>
                    </a:ext>
                  </a:extLst>
                </p:cNvPr>
                <p:cNvSpPr/>
                <p:nvPr>
                  <p:custDataLst>
                    <p:tags r:id="rId5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79" name="Block Arc 278" hidden="1">
                  <a:extLst>
                    <a:ext uri="{FF2B5EF4-FFF2-40B4-BE49-F238E27FC236}">
                      <a16:creationId xmlns:a16="http://schemas.microsoft.com/office/drawing/2014/main" id="{4F302190-39FA-4B3D-88B6-B0A278CB0AC3}"/>
                    </a:ext>
                  </a:extLst>
                </p:cNvPr>
                <p:cNvSpPr/>
                <p:nvPr>
                  <p:custDataLst>
                    <p:tags r:id="rId5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0" name="Block Arc 279" hidden="1">
                  <a:extLst>
                    <a:ext uri="{FF2B5EF4-FFF2-40B4-BE49-F238E27FC236}">
                      <a16:creationId xmlns:a16="http://schemas.microsoft.com/office/drawing/2014/main" id="{E28C1FFB-F0D8-40C4-8AF0-DD20080EA7C8}"/>
                    </a:ext>
                  </a:extLst>
                </p:cNvPr>
                <p:cNvSpPr/>
                <p:nvPr>
                  <p:custDataLst>
                    <p:tags r:id="rId5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1" name="Block Arc 280" hidden="1">
                  <a:extLst>
                    <a:ext uri="{FF2B5EF4-FFF2-40B4-BE49-F238E27FC236}">
                      <a16:creationId xmlns:a16="http://schemas.microsoft.com/office/drawing/2014/main" id="{8401AD92-60F9-4780-920B-92410B06D107}"/>
                    </a:ext>
                  </a:extLst>
                </p:cNvPr>
                <p:cNvSpPr/>
                <p:nvPr>
                  <p:custDataLst>
                    <p:tags r:id="rId5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2" name="Block Arc 281" hidden="1">
                  <a:extLst>
                    <a:ext uri="{FF2B5EF4-FFF2-40B4-BE49-F238E27FC236}">
                      <a16:creationId xmlns:a16="http://schemas.microsoft.com/office/drawing/2014/main" id="{4D5B04DA-9EA9-4F8F-9CC2-6CAB9CB971BE}"/>
                    </a:ext>
                  </a:extLst>
                </p:cNvPr>
                <p:cNvSpPr/>
                <p:nvPr>
                  <p:custDataLst>
                    <p:tags r:id="rId5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3" name="Block Arc 282" hidden="1">
                  <a:extLst>
                    <a:ext uri="{FF2B5EF4-FFF2-40B4-BE49-F238E27FC236}">
                      <a16:creationId xmlns:a16="http://schemas.microsoft.com/office/drawing/2014/main" id="{A58DE227-C383-4E53-BDBF-13A4393173FE}"/>
                    </a:ext>
                  </a:extLst>
                </p:cNvPr>
                <p:cNvSpPr/>
                <p:nvPr>
                  <p:custDataLst>
                    <p:tags r:id="rId5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4" name="Block Arc 283" hidden="1">
                  <a:extLst>
                    <a:ext uri="{FF2B5EF4-FFF2-40B4-BE49-F238E27FC236}">
                      <a16:creationId xmlns:a16="http://schemas.microsoft.com/office/drawing/2014/main" id="{B6D71A65-11F1-4797-B73C-74BBC9294A81}"/>
                    </a:ext>
                  </a:extLst>
                </p:cNvPr>
                <p:cNvSpPr/>
                <p:nvPr>
                  <p:custDataLst>
                    <p:tags r:id="rId5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sp>
              <p:nvSpPr>
                <p:cNvPr id="285" name="Block Arc 284" hidden="1">
                  <a:extLst>
                    <a:ext uri="{FF2B5EF4-FFF2-40B4-BE49-F238E27FC236}">
                      <a16:creationId xmlns:a16="http://schemas.microsoft.com/office/drawing/2014/main" id="{4DF4D2EE-3C42-4AE2-B60A-09D49FA63297}"/>
                    </a:ext>
                  </a:extLst>
                </p:cNvPr>
                <p:cNvSpPr/>
                <p:nvPr>
                  <p:custDataLst>
                    <p:tags r:id="rId5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glow>
                          <a:scrgbClr r="0" g="0" b="0"/>
                        </a:glow>
                      </a:effectLst>
                      <a:uLnTx/>
                      <a:uFillTx/>
                      <a:latin typeface="Neue Haas Grotesk Text Pro" panose="020B0504020202020204" pitchFamily="34" charset="0"/>
                    </a:rPr>
                    <a:t>Text</a:t>
                  </a:r>
                </a:p>
              </p:txBody>
            </p:sp>
          </p:grpSp>
          <p:sp>
            <p:nvSpPr>
              <p:cNvPr id="192" name="TextBox 191">
                <a:extLst>
                  <a:ext uri="{FF2B5EF4-FFF2-40B4-BE49-F238E27FC236}">
                    <a16:creationId xmlns:a16="http://schemas.microsoft.com/office/drawing/2014/main" id="{CD708B03-AF10-43A1-8F83-B75926F27CC7}"/>
                  </a:ext>
                </a:extLst>
              </p:cNvPr>
              <p:cNvSpPr txBox="1"/>
              <p:nvPr/>
            </p:nvSpPr>
            <p:spPr>
              <a:xfrm>
                <a:off x="6695444" y="3057493"/>
                <a:ext cx="172705" cy="34134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2</a:t>
                </a:r>
              </a:p>
            </p:txBody>
          </p:sp>
          <p:sp>
            <p:nvSpPr>
              <p:cNvPr id="193" name="TextBox 192">
                <a:extLst>
                  <a:ext uri="{FF2B5EF4-FFF2-40B4-BE49-F238E27FC236}">
                    <a16:creationId xmlns:a16="http://schemas.microsoft.com/office/drawing/2014/main" id="{63A96390-68B7-4FF2-B28E-566D95841EAF}"/>
                  </a:ext>
                </a:extLst>
              </p:cNvPr>
              <p:cNvSpPr txBox="1"/>
              <p:nvPr/>
            </p:nvSpPr>
            <p:spPr>
              <a:xfrm>
                <a:off x="6703617" y="4460346"/>
                <a:ext cx="180326" cy="34134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3</a:t>
                </a:r>
              </a:p>
            </p:txBody>
          </p:sp>
          <p:sp>
            <p:nvSpPr>
              <p:cNvPr id="194" name="TextBox 193">
                <a:extLst>
                  <a:ext uri="{FF2B5EF4-FFF2-40B4-BE49-F238E27FC236}">
                    <a16:creationId xmlns:a16="http://schemas.microsoft.com/office/drawing/2014/main" id="{A07E1F3D-86B9-420F-9848-712D1381790A}"/>
                  </a:ext>
                </a:extLst>
              </p:cNvPr>
              <p:cNvSpPr txBox="1"/>
              <p:nvPr/>
            </p:nvSpPr>
            <p:spPr>
              <a:xfrm>
                <a:off x="5347973" y="3057493"/>
                <a:ext cx="124451" cy="34134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1</a:t>
                </a:r>
              </a:p>
            </p:txBody>
          </p:sp>
          <p:sp>
            <p:nvSpPr>
              <p:cNvPr id="195" name="TextBox 194">
                <a:extLst>
                  <a:ext uri="{FF2B5EF4-FFF2-40B4-BE49-F238E27FC236}">
                    <a16:creationId xmlns:a16="http://schemas.microsoft.com/office/drawing/2014/main" id="{432EDF28-F3B5-4966-A5A0-D22244A71DBE}"/>
                  </a:ext>
                </a:extLst>
              </p:cNvPr>
              <p:cNvSpPr txBox="1"/>
              <p:nvPr/>
            </p:nvSpPr>
            <p:spPr>
              <a:xfrm>
                <a:off x="5305517" y="4460346"/>
                <a:ext cx="185405" cy="34134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4</a:t>
                </a:r>
              </a:p>
            </p:txBody>
          </p:sp>
          <p:sp>
            <p:nvSpPr>
              <p:cNvPr id="226" name="Freeform 248">
                <a:extLst>
                  <a:ext uri="{FF2B5EF4-FFF2-40B4-BE49-F238E27FC236}">
                    <a16:creationId xmlns:a16="http://schemas.microsoft.com/office/drawing/2014/main" id="{EC3E7256-2FEE-45E4-946E-C73789C898C2}"/>
                  </a:ext>
                </a:extLst>
              </p:cNvPr>
              <p:cNvSpPr>
                <a:spLocks/>
              </p:cNvSpPr>
              <p:nvPr/>
            </p:nvSpPr>
            <p:spPr bwMode="auto">
              <a:xfrm>
                <a:off x="7574157" y="2257372"/>
                <a:ext cx="16362" cy="24543"/>
              </a:xfrm>
              <a:custGeom>
                <a:avLst/>
                <a:gdLst>
                  <a:gd name="T0" fmla="*/ 6 w 11"/>
                  <a:gd name="T1" fmla="*/ 0 h 20"/>
                  <a:gd name="T2" fmla="*/ 11 w 11"/>
                  <a:gd name="T3" fmla="*/ 14 h 20"/>
                  <a:gd name="T4" fmla="*/ 6 w 11"/>
                  <a:gd name="T5" fmla="*/ 20 h 20"/>
                  <a:gd name="T6" fmla="*/ 0 w 11"/>
                  <a:gd name="T7" fmla="*/ 14 h 20"/>
                  <a:gd name="T8" fmla="*/ 6 w 11"/>
                  <a:gd name="T9" fmla="*/ 0 h 20"/>
                </a:gdLst>
                <a:ahLst/>
                <a:cxnLst>
                  <a:cxn ang="0">
                    <a:pos x="T0" y="T1"/>
                  </a:cxn>
                  <a:cxn ang="0">
                    <a:pos x="T2" y="T3"/>
                  </a:cxn>
                  <a:cxn ang="0">
                    <a:pos x="T4" y="T5"/>
                  </a:cxn>
                  <a:cxn ang="0">
                    <a:pos x="T6" y="T7"/>
                  </a:cxn>
                  <a:cxn ang="0">
                    <a:pos x="T8" y="T9"/>
                  </a:cxn>
                </a:cxnLst>
                <a:rect l="0" t="0" r="r" b="b"/>
                <a:pathLst>
                  <a:path w="11" h="20">
                    <a:moveTo>
                      <a:pt x="6" y="0"/>
                    </a:moveTo>
                    <a:cubicBezTo>
                      <a:pt x="9" y="6"/>
                      <a:pt x="11" y="12"/>
                      <a:pt x="11" y="14"/>
                    </a:cubicBezTo>
                    <a:cubicBezTo>
                      <a:pt x="11" y="18"/>
                      <a:pt x="9" y="20"/>
                      <a:pt x="6" y="20"/>
                    </a:cubicBezTo>
                    <a:cubicBezTo>
                      <a:pt x="2" y="20"/>
                      <a:pt x="0" y="18"/>
                      <a:pt x="0" y="14"/>
                    </a:cubicBezTo>
                    <a:cubicBezTo>
                      <a:pt x="0" y="12"/>
                      <a:pt x="2" y="6"/>
                      <a:pt x="6"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grpSp>
            <p:nvGrpSpPr>
              <p:cNvPr id="198" name="Doves" descr="{&quot;Key&quot;:&quot;POWER_USER_SHAPE_ICON&quot;,&quot;Value&quot;:&quot;POWER_USER_SHAPE_ICON_STYLE_1&quot;}">
                <a:extLst>
                  <a:ext uri="{FF2B5EF4-FFF2-40B4-BE49-F238E27FC236}">
                    <a16:creationId xmlns:a16="http://schemas.microsoft.com/office/drawing/2014/main" id="{8113DF83-F1EA-4404-9305-1D2342D192E9}"/>
                  </a:ext>
                </a:extLst>
              </p:cNvPr>
              <p:cNvGrpSpPr>
                <a:grpSpLocks noChangeAspect="1"/>
              </p:cNvGrpSpPr>
              <p:nvPr/>
            </p:nvGrpSpPr>
            <p:grpSpPr>
              <a:xfrm>
                <a:off x="7482002" y="5191493"/>
                <a:ext cx="333198" cy="328527"/>
                <a:chOff x="5599113" y="3173413"/>
                <a:chExt cx="339726" cy="334963"/>
              </a:xfrm>
              <a:solidFill>
                <a:schemeClr val="bg1"/>
              </a:solidFill>
            </p:grpSpPr>
            <p:sp>
              <p:nvSpPr>
                <p:cNvPr id="213" name="Freeform 49">
                  <a:extLst>
                    <a:ext uri="{FF2B5EF4-FFF2-40B4-BE49-F238E27FC236}">
                      <a16:creationId xmlns:a16="http://schemas.microsoft.com/office/drawing/2014/main" id="{55449720-6470-4376-8072-3ACA96249CEB}"/>
                    </a:ext>
                  </a:extLst>
                </p:cNvPr>
                <p:cNvSpPr>
                  <a:spLocks/>
                </p:cNvSpPr>
                <p:nvPr/>
              </p:nvSpPr>
              <p:spPr bwMode="auto">
                <a:xfrm>
                  <a:off x="5715001" y="3173413"/>
                  <a:ext cx="184150" cy="233363"/>
                </a:xfrm>
                <a:custGeom>
                  <a:avLst/>
                  <a:gdLst>
                    <a:gd name="T0" fmla="*/ 50 w 1088"/>
                    <a:gd name="T1" fmla="*/ 1376 h 1376"/>
                    <a:gd name="T2" fmla="*/ 9 w 1088"/>
                    <a:gd name="T3" fmla="*/ 1340 h 1376"/>
                    <a:gd name="T4" fmla="*/ 16 w 1088"/>
                    <a:gd name="T5" fmla="*/ 1153 h 1376"/>
                    <a:gd name="T6" fmla="*/ 90 w 1088"/>
                    <a:gd name="T7" fmla="*/ 1037 h 1376"/>
                    <a:gd name="T8" fmla="*/ 336 w 1088"/>
                    <a:gd name="T9" fmla="*/ 878 h 1376"/>
                    <a:gd name="T10" fmla="*/ 353 w 1088"/>
                    <a:gd name="T11" fmla="*/ 870 h 1376"/>
                    <a:gd name="T12" fmla="*/ 751 w 1088"/>
                    <a:gd name="T13" fmla="*/ 603 h 1376"/>
                    <a:gd name="T14" fmla="*/ 791 w 1088"/>
                    <a:gd name="T15" fmla="*/ 562 h 1376"/>
                    <a:gd name="T16" fmla="*/ 976 w 1088"/>
                    <a:gd name="T17" fmla="*/ 308 h 1376"/>
                    <a:gd name="T18" fmla="*/ 990 w 1088"/>
                    <a:gd name="T19" fmla="*/ 48 h 1376"/>
                    <a:gd name="T20" fmla="*/ 1028 w 1088"/>
                    <a:gd name="T21" fmla="*/ 2 h 1376"/>
                    <a:gd name="T22" fmla="*/ 1073 w 1088"/>
                    <a:gd name="T23" fmla="*/ 39 h 1376"/>
                    <a:gd name="T24" fmla="*/ 1056 w 1088"/>
                    <a:gd name="T25" fmla="*/ 333 h 1376"/>
                    <a:gd name="T26" fmla="*/ 850 w 1088"/>
                    <a:gd name="T27" fmla="*/ 620 h 1376"/>
                    <a:gd name="T28" fmla="*/ 811 w 1088"/>
                    <a:gd name="T29" fmla="*/ 660 h 1376"/>
                    <a:gd name="T30" fmla="*/ 388 w 1088"/>
                    <a:gd name="T31" fmla="*/ 945 h 1376"/>
                    <a:gd name="T32" fmla="*/ 370 w 1088"/>
                    <a:gd name="T33" fmla="*/ 953 h 1376"/>
                    <a:gd name="T34" fmla="*/ 153 w 1088"/>
                    <a:gd name="T35" fmla="*/ 1091 h 1376"/>
                    <a:gd name="T36" fmla="*/ 95 w 1088"/>
                    <a:gd name="T37" fmla="*/ 1178 h 1376"/>
                    <a:gd name="T38" fmla="*/ 91 w 1088"/>
                    <a:gd name="T39" fmla="*/ 1327 h 1376"/>
                    <a:gd name="T40" fmla="*/ 56 w 1088"/>
                    <a:gd name="T41" fmla="*/ 1375 h 1376"/>
                    <a:gd name="T42" fmla="*/ 50 w 1088"/>
                    <a:gd name="T43" fmla="*/ 1376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8" h="1376">
                      <a:moveTo>
                        <a:pt x="50" y="1376"/>
                      </a:moveTo>
                      <a:cubicBezTo>
                        <a:pt x="30" y="1376"/>
                        <a:pt x="12" y="1361"/>
                        <a:pt x="9" y="1340"/>
                      </a:cubicBezTo>
                      <a:cubicBezTo>
                        <a:pt x="0" y="1287"/>
                        <a:pt x="1" y="1200"/>
                        <a:pt x="16" y="1153"/>
                      </a:cubicBezTo>
                      <a:cubicBezTo>
                        <a:pt x="29" y="1110"/>
                        <a:pt x="65" y="1066"/>
                        <a:pt x="90" y="1037"/>
                      </a:cubicBezTo>
                      <a:cubicBezTo>
                        <a:pt x="156" y="960"/>
                        <a:pt x="247" y="918"/>
                        <a:pt x="336" y="878"/>
                      </a:cubicBezTo>
                      <a:lnTo>
                        <a:pt x="353" y="870"/>
                      </a:lnTo>
                      <a:cubicBezTo>
                        <a:pt x="526" y="791"/>
                        <a:pt x="656" y="703"/>
                        <a:pt x="751" y="603"/>
                      </a:cubicBezTo>
                      <a:cubicBezTo>
                        <a:pt x="764" y="589"/>
                        <a:pt x="777" y="576"/>
                        <a:pt x="791" y="562"/>
                      </a:cubicBezTo>
                      <a:cubicBezTo>
                        <a:pt x="867" y="483"/>
                        <a:pt x="946" y="402"/>
                        <a:pt x="976" y="308"/>
                      </a:cubicBezTo>
                      <a:cubicBezTo>
                        <a:pt x="1004" y="222"/>
                        <a:pt x="999" y="124"/>
                        <a:pt x="990" y="48"/>
                      </a:cubicBezTo>
                      <a:cubicBezTo>
                        <a:pt x="988" y="25"/>
                        <a:pt x="1005" y="5"/>
                        <a:pt x="1028" y="2"/>
                      </a:cubicBezTo>
                      <a:cubicBezTo>
                        <a:pt x="1050" y="0"/>
                        <a:pt x="1071" y="16"/>
                        <a:pt x="1073" y="39"/>
                      </a:cubicBezTo>
                      <a:cubicBezTo>
                        <a:pt x="1082" y="123"/>
                        <a:pt x="1088" y="233"/>
                        <a:pt x="1056" y="333"/>
                      </a:cubicBezTo>
                      <a:cubicBezTo>
                        <a:pt x="1019" y="447"/>
                        <a:pt x="929" y="539"/>
                        <a:pt x="850" y="620"/>
                      </a:cubicBezTo>
                      <a:cubicBezTo>
                        <a:pt x="837" y="634"/>
                        <a:pt x="824" y="647"/>
                        <a:pt x="811" y="660"/>
                      </a:cubicBezTo>
                      <a:cubicBezTo>
                        <a:pt x="709" y="768"/>
                        <a:pt x="570" y="862"/>
                        <a:pt x="388" y="945"/>
                      </a:cubicBezTo>
                      <a:lnTo>
                        <a:pt x="370" y="953"/>
                      </a:lnTo>
                      <a:cubicBezTo>
                        <a:pt x="290" y="990"/>
                        <a:pt x="207" y="1028"/>
                        <a:pt x="153" y="1091"/>
                      </a:cubicBezTo>
                      <a:cubicBezTo>
                        <a:pt x="121" y="1128"/>
                        <a:pt x="102" y="1157"/>
                        <a:pt x="95" y="1178"/>
                      </a:cubicBezTo>
                      <a:cubicBezTo>
                        <a:pt x="86" y="1208"/>
                        <a:pt x="84" y="1282"/>
                        <a:pt x="91" y="1327"/>
                      </a:cubicBezTo>
                      <a:cubicBezTo>
                        <a:pt x="95" y="1350"/>
                        <a:pt x="79" y="1372"/>
                        <a:pt x="56" y="1375"/>
                      </a:cubicBezTo>
                      <a:cubicBezTo>
                        <a:pt x="54" y="1375"/>
                        <a:pt x="52" y="1376"/>
                        <a:pt x="50" y="1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15" name="Freeform 51">
                  <a:extLst>
                    <a:ext uri="{FF2B5EF4-FFF2-40B4-BE49-F238E27FC236}">
                      <a16:creationId xmlns:a16="http://schemas.microsoft.com/office/drawing/2014/main" id="{3354D6B9-608E-4E38-86F7-4EEA2D593C46}"/>
                    </a:ext>
                  </a:extLst>
                </p:cNvPr>
                <p:cNvSpPr>
                  <a:spLocks/>
                </p:cNvSpPr>
                <p:nvPr/>
              </p:nvSpPr>
              <p:spPr bwMode="auto">
                <a:xfrm>
                  <a:off x="5778501" y="3306763"/>
                  <a:ext cx="160338" cy="201613"/>
                </a:xfrm>
                <a:custGeom>
                  <a:avLst/>
                  <a:gdLst>
                    <a:gd name="T0" fmla="*/ 159 w 946"/>
                    <a:gd name="T1" fmla="*/ 1197 h 1197"/>
                    <a:gd name="T2" fmla="*/ 82 w 946"/>
                    <a:gd name="T3" fmla="*/ 1175 h 1197"/>
                    <a:gd name="T4" fmla="*/ 3 w 946"/>
                    <a:gd name="T5" fmla="*/ 1020 h 1197"/>
                    <a:gd name="T6" fmla="*/ 38 w 946"/>
                    <a:gd name="T7" fmla="*/ 972 h 1197"/>
                    <a:gd name="T8" fmla="*/ 86 w 946"/>
                    <a:gd name="T9" fmla="*/ 1007 h 1197"/>
                    <a:gd name="T10" fmla="*/ 127 w 946"/>
                    <a:gd name="T11" fmla="*/ 1106 h 1197"/>
                    <a:gd name="T12" fmla="*/ 196 w 946"/>
                    <a:gd name="T13" fmla="*/ 1108 h 1197"/>
                    <a:gd name="T14" fmla="*/ 267 w 946"/>
                    <a:gd name="T15" fmla="*/ 1071 h 1197"/>
                    <a:gd name="T16" fmla="*/ 277 w 946"/>
                    <a:gd name="T17" fmla="*/ 1012 h 1197"/>
                    <a:gd name="T18" fmla="*/ 260 w 946"/>
                    <a:gd name="T19" fmla="*/ 961 h 1197"/>
                    <a:gd name="T20" fmla="*/ 237 w 946"/>
                    <a:gd name="T21" fmla="*/ 940 h 1197"/>
                    <a:gd name="T22" fmla="*/ 235 w 946"/>
                    <a:gd name="T23" fmla="*/ 884 h 1197"/>
                    <a:gd name="T24" fmla="*/ 290 w 946"/>
                    <a:gd name="T25" fmla="*/ 876 h 1197"/>
                    <a:gd name="T26" fmla="*/ 320 w 946"/>
                    <a:gd name="T27" fmla="*/ 903 h 1197"/>
                    <a:gd name="T28" fmla="*/ 415 w 946"/>
                    <a:gd name="T29" fmla="*/ 947 h 1197"/>
                    <a:gd name="T30" fmla="*/ 416 w 946"/>
                    <a:gd name="T31" fmla="*/ 947 h 1197"/>
                    <a:gd name="T32" fmla="*/ 505 w 946"/>
                    <a:gd name="T33" fmla="*/ 921 h 1197"/>
                    <a:gd name="T34" fmla="*/ 437 w 946"/>
                    <a:gd name="T35" fmla="*/ 738 h 1197"/>
                    <a:gd name="T36" fmla="*/ 434 w 946"/>
                    <a:gd name="T37" fmla="*/ 679 h 1197"/>
                    <a:gd name="T38" fmla="*/ 493 w 946"/>
                    <a:gd name="T39" fmla="*/ 677 h 1197"/>
                    <a:gd name="T40" fmla="*/ 493 w 946"/>
                    <a:gd name="T41" fmla="*/ 677 h 1197"/>
                    <a:gd name="T42" fmla="*/ 707 w 946"/>
                    <a:gd name="T43" fmla="*/ 719 h 1197"/>
                    <a:gd name="T44" fmla="*/ 769 w 946"/>
                    <a:gd name="T45" fmla="*/ 632 h 1197"/>
                    <a:gd name="T46" fmla="*/ 628 w 946"/>
                    <a:gd name="T47" fmla="*/ 457 h 1197"/>
                    <a:gd name="T48" fmla="*/ 604 w 946"/>
                    <a:gd name="T49" fmla="*/ 408 h 1197"/>
                    <a:gd name="T50" fmla="*/ 650 w 946"/>
                    <a:gd name="T51" fmla="*/ 377 h 1197"/>
                    <a:gd name="T52" fmla="*/ 829 w 946"/>
                    <a:gd name="T53" fmla="*/ 310 h 1197"/>
                    <a:gd name="T54" fmla="*/ 817 w 946"/>
                    <a:gd name="T55" fmla="*/ 155 h 1197"/>
                    <a:gd name="T56" fmla="*/ 623 w 946"/>
                    <a:gd name="T57" fmla="*/ 113 h 1197"/>
                    <a:gd name="T58" fmla="*/ 572 w 946"/>
                    <a:gd name="T59" fmla="*/ 84 h 1197"/>
                    <a:gd name="T60" fmla="*/ 601 w 946"/>
                    <a:gd name="T61" fmla="*/ 33 h 1197"/>
                    <a:gd name="T62" fmla="*/ 883 w 946"/>
                    <a:gd name="T63" fmla="*/ 103 h 1197"/>
                    <a:gd name="T64" fmla="*/ 901 w 946"/>
                    <a:gd name="T65" fmla="*/ 352 h 1197"/>
                    <a:gd name="T66" fmla="*/ 774 w 946"/>
                    <a:gd name="T67" fmla="*/ 451 h 1197"/>
                    <a:gd name="T68" fmla="*/ 852 w 946"/>
                    <a:gd name="T69" fmla="*/ 636 h 1197"/>
                    <a:gd name="T70" fmla="*/ 738 w 946"/>
                    <a:gd name="T71" fmla="*/ 796 h 1197"/>
                    <a:gd name="T72" fmla="*/ 588 w 946"/>
                    <a:gd name="T73" fmla="*/ 809 h 1197"/>
                    <a:gd name="T74" fmla="*/ 576 w 946"/>
                    <a:gd name="T75" fmla="*/ 966 h 1197"/>
                    <a:gd name="T76" fmla="*/ 407 w 946"/>
                    <a:gd name="T77" fmla="*/ 1030 h 1197"/>
                    <a:gd name="T78" fmla="*/ 361 w 946"/>
                    <a:gd name="T79" fmla="*/ 1020 h 1197"/>
                    <a:gd name="T80" fmla="*/ 328 w 946"/>
                    <a:gd name="T81" fmla="*/ 1128 h 1197"/>
                    <a:gd name="T82" fmla="*/ 217 w 946"/>
                    <a:gd name="T83" fmla="*/ 1189 h 1197"/>
                    <a:gd name="T84" fmla="*/ 159 w 946"/>
                    <a:gd name="T85"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6" h="1197">
                      <a:moveTo>
                        <a:pt x="159" y="1197"/>
                      </a:moveTo>
                      <a:cubicBezTo>
                        <a:pt x="129" y="1197"/>
                        <a:pt x="104" y="1190"/>
                        <a:pt x="82" y="1175"/>
                      </a:cubicBezTo>
                      <a:cubicBezTo>
                        <a:pt x="40" y="1148"/>
                        <a:pt x="16" y="1099"/>
                        <a:pt x="3" y="1020"/>
                      </a:cubicBezTo>
                      <a:cubicBezTo>
                        <a:pt x="0" y="997"/>
                        <a:pt x="15" y="976"/>
                        <a:pt x="38" y="972"/>
                      </a:cubicBezTo>
                      <a:cubicBezTo>
                        <a:pt x="61" y="968"/>
                        <a:pt x="82" y="984"/>
                        <a:pt x="86" y="1007"/>
                      </a:cubicBezTo>
                      <a:cubicBezTo>
                        <a:pt x="94" y="1059"/>
                        <a:pt x="108" y="1093"/>
                        <a:pt x="127" y="1106"/>
                      </a:cubicBezTo>
                      <a:cubicBezTo>
                        <a:pt x="142" y="1115"/>
                        <a:pt x="165" y="1116"/>
                        <a:pt x="196" y="1108"/>
                      </a:cubicBezTo>
                      <a:cubicBezTo>
                        <a:pt x="226" y="1101"/>
                        <a:pt x="247" y="1092"/>
                        <a:pt x="267" y="1071"/>
                      </a:cubicBezTo>
                      <a:cubicBezTo>
                        <a:pt x="273" y="1064"/>
                        <a:pt x="281" y="1042"/>
                        <a:pt x="277" y="1012"/>
                      </a:cubicBezTo>
                      <a:cubicBezTo>
                        <a:pt x="275" y="992"/>
                        <a:pt x="269" y="974"/>
                        <a:pt x="260" y="961"/>
                      </a:cubicBezTo>
                      <a:cubicBezTo>
                        <a:pt x="251" y="954"/>
                        <a:pt x="244" y="947"/>
                        <a:pt x="237" y="940"/>
                      </a:cubicBezTo>
                      <a:cubicBezTo>
                        <a:pt x="223" y="924"/>
                        <a:pt x="222" y="900"/>
                        <a:pt x="235" y="884"/>
                      </a:cubicBezTo>
                      <a:cubicBezTo>
                        <a:pt x="249" y="868"/>
                        <a:pt x="273" y="864"/>
                        <a:pt x="290" y="876"/>
                      </a:cubicBezTo>
                      <a:cubicBezTo>
                        <a:pt x="301" y="883"/>
                        <a:pt x="311" y="892"/>
                        <a:pt x="320" y="903"/>
                      </a:cubicBezTo>
                      <a:cubicBezTo>
                        <a:pt x="345" y="923"/>
                        <a:pt x="377" y="943"/>
                        <a:pt x="415" y="947"/>
                      </a:cubicBezTo>
                      <a:lnTo>
                        <a:pt x="416" y="947"/>
                      </a:lnTo>
                      <a:cubicBezTo>
                        <a:pt x="456" y="951"/>
                        <a:pt x="495" y="937"/>
                        <a:pt x="505" y="921"/>
                      </a:cubicBezTo>
                      <a:cubicBezTo>
                        <a:pt x="549" y="851"/>
                        <a:pt x="464" y="763"/>
                        <a:pt x="437" y="738"/>
                      </a:cubicBezTo>
                      <a:cubicBezTo>
                        <a:pt x="420" y="722"/>
                        <a:pt x="419" y="696"/>
                        <a:pt x="434" y="679"/>
                      </a:cubicBezTo>
                      <a:cubicBezTo>
                        <a:pt x="450" y="662"/>
                        <a:pt x="476" y="661"/>
                        <a:pt x="493" y="677"/>
                      </a:cubicBezTo>
                      <a:lnTo>
                        <a:pt x="493" y="677"/>
                      </a:lnTo>
                      <a:cubicBezTo>
                        <a:pt x="546" y="726"/>
                        <a:pt x="642" y="745"/>
                        <a:pt x="707" y="719"/>
                      </a:cubicBezTo>
                      <a:cubicBezTo>
                        <a:pt x="746" y="703"/>
                        <a:pt x="767" y="673"/>
                        <a:pt x="769" y="632"/>
                      </a:cubicBezTo>
                      <a:cubicBezTo>
                        <a:pt x="774" y="533"/>
                        <a:pt x="683" y="480"/>
                        <a:pt x="628" y="457"/>
                      </a:cubicBezTo>
                      <a:cubicBezTo>
                        <a:pt x="609" y="449"/>
                        <a:pt x="599" y="428"/>
                        <a:pt x="604" y="408"/>
                      </a:cubicBezTo>
                      <a:cubicBezTo>
                        <a:pt x="610" y="388"/>
                        <a:pt x="629" y="375"/>
                        <a:pt x="650" y="377"/>
                      </a:cubicBezTo>
                      <a:cubicBezTo>
                        <a:pt x="734" y="388"/>
                        <a:pt x="798" y="365"/>
                        <a:pt x="829" y="310"/>
                      </a:cubicBezTo>
                      <a:cubicBezTo>
                        <a:pt x="856" y="262"/>
                        <a:pt x="852" y="198"/>
                        <a:pt x="817" y="155"/>
                      </a:cubicBezTo>
                      <a:cubicBezTo>
                        <a:pt x="778" y="104"/>
                        <a:pt x="709" y="89"/>
                        <a:pt x="623" y="113"/>
                      </a:cubicBezTo>
                      <a:cubicBezTo>
                        <a:pt x="601" y="119"/>
                        <a:pt x="578" y="106"/>
                        <a:pt x="572" y="84"/>
                      </a:cubicBezTo>
                      <a:cubicBezTo>
                        <a:pt x="566" y="62"/>
                        <a:pt x="579" y="39"/>
                        <a:pt x="601" y="33"/>
                      </a:cubicBezTo>
                      <a:cubicBezTo>
                        <a:pt x="719" y="0"/>
                        <a:pt x="822" y="25"/>
                        <a:pt x="883" y="103"/>
                      </a:cubicBezTo>
                      <a:cubicBezTo>
                        <a:pt x="938" y="174"/>
                        <a:pt x="946" y="274"/>
                        <a:pt x="901" y="352"/>
                      </a:cubicBezTo>
                      <a:cubicBezTo>
                        <a:pt x="873" y="401"/>
                        <a:pt x="829" y="435"/>
                        <a:pt x="774" y="451"/>
                      </a:cubicBezTo>
                      <a:cubicBezTo>
                        <a:pt x="828" y="502"/>
                        <a:pt x="856" y="566"/>
                        <a:pt x="852" y="636"/>
                      </a:cubicBezTo>
                      <a:cubicBezTo>
                        <a:pt x="848" y="710"/>
                        <a:pt x="807" y="768"/>
                        <a:pt x="738" y="796"/>
                      </a:cubicBezTo>
                      <a:cubicBezTo>
                        <a:pt x="693" y="814"/>
                        <a:pt x="640" y="818"/>
                        <a:pt x="588" y="809"/>
                      </a:cubicBezTo>
                      <a:cubicBezTo>
                        <a:pt x="609" y="865"/>
                        <a:pt x="605" y="919"/>
                        <a:pt x="576" y="966"/>
                      </a:cubicBezTo>
                      <a:cubicBezTo>
                        <a:pt x="542" y="1019"/>
                        <a:pt x="464" y="1036"/>
                        <a:pt x="407" y="1030"/>
                      </a:cubicBezTo>
                      <a:cubicBezTo>
                        <a:pt x="391" y="1028"/>
                        <a:pt x="376" y="1024"/>
                        <a:pt x="361" y="1020"/>
                      </a:cubicBezTo>
                      <a:cubicBezTo>
                        <a:pt x="363" y="1064"/>
                        <a:pt x="351" y="1104"/>
                        <a:pt x="328" y="1128"/>
                      </a:cubicBezTo>
                      <a:cubicBezTo>
                        <a:pt x="291" y="1166"/>
                        <a:pt x="253" y="1180"/>
                        <a:pt x="217" y="1189"/>
                      </a:cubicBezTo>
                      <a:cubicBezTo>
                        <a:pt x="196" y="1194"/>
                        <a:pt x="176" y="1197"/>
                        <a:pt x="159" y="11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18" name="Freeform 54">
                  <a:extLst>
                    <a:ext uri="{FF2B5EF4-FFF2-40B4-BE49-F238E27FC236}">
                      <a16:creationId xmlns:a16="http://schemas.microsoft.com/office/drawing/2014/main" id="{06DE65C6-7C0E-4635-89D0-C5919115BA20}"/>
                    </a:ext>
                  </a:extLst>
                </p:cNvPr>
                <p:cNvSpPr>
                  <a:spLocks/>
                </p:cNvSpPr>
                <p:nvPr/>
              </p:nvSpPr>
              <p:spPr bwMode="auto">
                <a:xfrm>
                  <a:off x="5722938" y="3413126"/>
                  <a:ext cx="19050" cy="23813"/>
                </a:xfrm>
                <a:custGeom>
                  <a:avLst/>
                  <a:gdLst>
                    <a:gd name="T0" fmla="*/ 68 w 116"/>
                    <a:gd name="T1" fmla="*/ 143 h 143"/>
                    <a:gd name="T2" fmla="*/ 34 w 116"/>
                    <a:gd name="T3" fmla="*/ 124 h 143"/>
                    <a:gd name="T4" fmla="*/ 6 w 116"/>
                    <a:gd name="T5" fmla="*/ 56 h 143"/>
                    <a:gd name="T6" fmla="*/ 36 w 116"/>
                    <a:gd name="T7" fmla="*/ 6 h 143"/>
                    <a:gd name="T8" fmla="*/ 87 w 116"/>
                    <a:gd name="T9" fmla="*/ 36 h 143"/>
                    <a:gd name="T10" fmla="*/ 103 w 116"/>
                    <a:gd name="T11" fmla="*/ 79 h 143"/>
                    <a:gd name="T12" fmla="*/ 91 w 116"/>
                    <a:gd name="T13" fmla="*/ 136 h 143"/>
                    <a:gd name="T14" fmla="*/ 68 w 116"/>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43">
                      <a:moveTo>
                        <a:pt x="68" y="143"/>
                      </a:moveTo>
                      <a:cubicBezTo>
                        <a:pt x="55" y="143"/>
                        <a:pt x="42" y="137"/>
                        <a:pt x="34" y="124"/>
                      </a:cubicBezTo>
                      <a:cubicBezTo>
                        <a:pt x="19" y="102"/>
                        <a:pt x="10" y="75"/>
                        <a:pt x="6" y="56"/>
                      </a:cubicBezTo>
                      <a:cubicBezTo>
                        <a:pt x="0" y="34"/>
                        <a:pt x="14" y="11"/>
                        <a:pt x="36" y="6"/>
                      </a:cubicBezTo>
                      <a:cubicBezTo>
                        <a:pt x="59" y="0"/>
                        <a:pt x="81" y="14"/>
                        <a:pt x="87" y="36"/>
                      </a:cubicBezTo>
                      <a:cubicBezTo>
                        <a:pt x="91" y="54"/>
                        <a:pt x="97" y="69"/>
                        <a:pt x="103" y="79"/>
                      </a:cubicBezTo>
                      <a:cubicBezTo>
                        <a:pt x="116" y="98"/>
                        <a:pt x="111" y="124"/>
                        <a:pt x="91" y="136"/>
                      </a:cubicBezTo>
                      <a:cubicBezTo>
                        <a:pt x="84" y="141"/>
                        <a:pt x="76" y="143"/>
                        <a:pt x="6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19" name="Freeform 55">
                  <a:extLst>
                    <a:ext uri="{FF2B5EF4-FFF2-40B4-BE49-F238E27FC236}">
                      <a16:creationId xmlns:a16="http://schemas.microsoft.com/office/drawing/2014/main" id="{8880BC56-AB62-4E58-B115-BFE6F173D558}"/>
                    </a:ext>
                  </a:extLst>
                </p:cNvPr>
                <p:cNvSpPr>
                  <a:spLocks/>
                </p:cNvSpPr>
                <p:nvPr/>
              </p:nvSpPr>
              <p:spPr bwMode="auto">
                <a:xfrm>
                  <a:off x="5707063" y="3201988"/>
                  <a:ext cx="68263" cy="122238"/>
                </a:xfrm>
                <a:custGeom>
                  <a:avLst/>
                  <a:gdLst>
                    <a:gd name="T0" fmla="*/ 46 w 403"/>
                    <a:gd name="T1" fmla="*/ 721 h 721"/>
                    <a:gd name="T2" fmla="*/ 15 w 403"/>
                    <a:gd name="T3" fmla="*/ 708 h 721"/>
                    <a:gd name="T4" fmla="*/ 18 w 403"/>
                    <a:gd name="T5" fmla="*/ 649 h 721"/>
                    <a:gd name="T6" fmla="*/ 65 w 403"/>
                    <a:gd name="T7" fmla="*/ 603 h 721"/>
                    <a:gd name="T8" fmla="*/ 105 w 403"/>
                    <a:gd name="T9" fmla="*/ 561 h 721"/>
                    <a:gd name="T10" fmla="*/ 291 w 403"/>
                    <a:gd name="T11" fmla="*/ 307 h 721"/>
                    <a:gd name="T12" fmla="*/ 305 w 403"/>
                    <a:gd name="T13" fmla="*/ 48 h 721"/>
                    <a:gd name="T14" fmla="*/ 342 w 403"/>
                    <a:gd name="T15" fmla="*/ 2 h 721"/>
                    <a:gd name="T16" fmla="*/ 388 w 403"/>
                    <a:gd name="T17" fmla="*/ 39 h 721"/>
                    <a:gd name="T18" fmla="*/ 370 w 403"/>
                    <a:gd name="T19" fmla="*/ 333 h 721"/>
                    <a:gd name="T20" fmla="*/ 165 w 403"/>
                    <a:gd name="T21" fmla="*/ 620 h 721"/>
                    <a:gd name="T22" fmla="*/ 126 w 403"/>
                    <a:gd name="T23" fmla="*/ 660 h 721"/>
                    <a:gd name="T24" fmla="*/ 74 w 403"/>
                    <a:gd name="T25" fmla="*/ 710 h 721"/>
                    <a:gd name="T26" fmla="*/ 46 w 403"/>
                    <a:gd name="T27"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721">
                      <a:moveTo>
                        <a:pt x="46" y="721"/>
                      </a:moveTo>
                      <a:cubicBezTo>
                        <a:pt x="35" y="721"/>
                        <a:pt x="24" y="717"/>
                        <a:pt x="15" y="708"/>
                      </a:cubicBezTo>
                      <a:cubicBezTo>
                        <a:pt x="0" y="691"/>
                        <a:pt x="1" y="664"/>
                        <a:pt x="18" y="649"/>
                      </a:cubicBezTo>
                      <a:cubicBezTo>
                        <a:pt x="35" y="634"/>
                        <a:pt x="51" y="618"/>
                        <a:pt x="65" y="603"/>
                      </a:cubicBezTo>
                      <a:cubicBezTo>
                        <a:pt x="78" y="589"/>
                        <a:pt x="92" y="575"/>
                        <a:pt x="105" y="561"/>
                      </a:cubicBezTo>
                      <a:cubicBezTo>
                        <a:pt x="182" y="483"/>
                        <a:pt x="261" y="402"/>
                        <a:pt x="291" y="307"/>
                      </a:cubicBezTo>
                      <a:cubicBezTo>
                        <a:pt x="319" y="222"/>
                        <a:pt x="313" y="124"/>
                        <a:pt x="305" y="48"/>
                      </a:cubicBezTo>
                      <a:cubicBezTo>
                        <a:pt x="303" y="25"/>
                        <a:pt x="319" y="4"/>
                        <a:pt x="342" y="2"/>
                      </a:cubicBezTo>
                      <a:cubicBezTo>
                        <a:pt x="365" y="0"/>
                        <a:pt x="386" y="16"/>
                        <a:pt x="388" y="39"/>
                      </a:cubicBezTo>
                      <a:cubicBezTo>
                        <a:pt x="397" y="123"/>
                        <a:pt x="403" y="232"/>
                        <a:pt x="370" y="333"/>
                      </a:cubicBezTo>
                      <a:cubicBezTo>
                        <a:pt x="334" y="446"/>
                        <a:pt x="244" y="538"/>
                        <a:pt x="165" y="620"/>
                      </a:cubicBezTo>
                      <a:cubicBezTo>
                        <a:pt x="152" y="633"/>
                        <a:pt x="138" y="647"/>
                        <a:pt x="126" y="660"/>
                      </a:cubicBezTo>
                      <a:cubicBezTo>
                        <a:pt x="110" y="677"/>
                        <a:pt x="92" y="694"/>
                        <a:pt x="74" y="710"/>
                      </a:cubicBezTo>
                      <a:cubicBezTo>
                        <a:pt x="66" y="718"/>
                        <a:pt x="56" y="721"/>
                        <a:pt x="46" y="7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21" name="Freeform 57">
                  <a:extLst>
                    <a:ext uri="{FF2B5EF4-FFF2-40B4-BE49-F238E27FC236}">
                      <a16:creationId xmlns:a16="http://schemas.microsoft.com/office/drawing/2014/main" id="{9C9B6794-88C8-4786-B326-8991205CE59B}"/>
                    </a:ext>
                  </a:extLst>
                </p:cNvPr>
                <p:cNvSpPr>
                  <a:spLocks/>
                </p:cNvSpPr>
                <p:nvPr/>
              </p:nvSpPr>
              <p:spPr bwMode="auto">
                <a:xfrm>
                  <a:off x="5761038" y="3205163"/>
                  <a:ext cx="38100" cy="98425"/>
                </a:xfrm>
                <a:custGeom>
                  <a:avLst/>
                  <a:gdLst>
                    <a:gd name="T0" fmla="*/ 170 w 221"/>
                    <a:gd name="T1" fmla="*/ 584 h 584"/>
                    <a:gd name="T2" fmla="*/ 163 w 221"/>
                    <a:gd name="T3" fmla="*/ 584 h 584"/>
                    <a:gd name="T4" fmla="*/ 129 w 221"/>
                    <a:gd name="T5" fmla="*/ 536 h 584"/>
                    <a:gd name="T6" fmla="*/ 134 w 221"/>
                    <a:gd name="T7" fmla="*/ 410 h 584"/>
                    <a:gd name="T8" fmla="*/ 14 w 221"/>
                    <a:gd name="T9" fmla="*/ 71 h 584"/>
                    <a:gd name="T10" fmla="*/ 23 w 221"/>
                    <a:gd name="T11" fmla="*/ 13 h 584"/>
                    <a:gd name="T12" fmla="*/ 81 w 221"/>
                    <a:gd name="T13" fmla="*/ 23 h 584"/>
                    <a:gd name="T14" fmla="*/ 217 w 221"/>
                    <a:gd name="T15" fmla="*/ 404 h 584"/>
                    <a:gd name="T16" fmla="*/ 211 w 221"/>
                    <a:gd name="T17" fmla="*/ 550 h 584"/>
                    <a:gd name="T18" fmla="*/ 170 w 221"/>
                    <a:gd name="T19"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584">
                      <a:moveTo>
                        <a:pt x="170" y="584"/>
                      </a:moveTo>
                      <a:cubicBezTo>
                        <a:pt x="168" y="584"/>
                        <a:pt x="165" y="584"/>
                        <a:pt x="163" y="584"/>
                      </a:cubicBezTo>
                      <a:cubicBezTo>
                        <a:pt x="140" y="580"/>
                        <a:pt x="125" y="558"/>
                        <a:pt x="129" y="536"/>
                      </a:cubicBezTo>
                      <a:cubicBezTo>
                        <a:pt x="136" y="497"/>
                        <a:pt x="137" y="454"/>
                        <a:pt x="134" y="410"/>
                      </a:cubicBezTo>
                      <a:cubicBezTo>
                        <a:pt x="126" y="309"/>
                        <a:pt x="69" y="148"/>
                        <a:pt x="14" y="71"/>
                      </a:cubicBezTo>
                      <a:cubicBezTo>
                        <a:pt x="0" y="53"/>
                        <a:pt x="5" y="27"/>
                        <a:pt x="23" y="13"/>
                      </a:cubicBezTo>
                      <a:cubicBezTo>
                        <a:pt x="42" y="0"/>
                        <a:pt x="68" y="4"/>
                        <a:pt x="81" y="23"/>
                      </a:cubicBezTo>
                      <a:cubicBezTo>
                        <a:pt x="145" y="110"/>
                        <a:pt x="208" y="288"/>
                        <a:pt x="217" y="404"/>
                      </a:cubicBezTo>
                      <a:cubicBezTo>
                        <a:pt x="221" y="455"/>
                        <a:pt x="219" y="504"/>
                        <a:pt x="211" y="550"/>
                      </a:cubicBezTo>
                      <a:cubicBezTo>
                        <a:pt x="208" y="570"/>
                        <a:pt x="190" y="584"/>
                        <a:pt x="170" y="5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24" name="Freeform 60">
                  <a:extLst>
                    <a:ext uri="{FF2B5EF4-FFF2-40B4-BE49-F238E27FC236}">
                      <a16:creationId xmlns:a16="http://schemas.microsoft.com/office/drawing/2014/main" id="{DD112DBE-F52E-4313-ABC1-0F5C35407E9B}"/>
                    </a:ext>
                  </a:extLst>
                </p:cNvPr>
                <p:cNvSpPr>
                  <a:spLocks/>
                </p:cNvSpPr>
                <p:nvPr/>
              </p:nvSpPr>
              <p:spPr bwMode="auto">
                <a:xfrm>
                  <a:off x="5599113" y="3440113"/>
                  <a:ext cx="19050" cy="25400"/>
                </a:xfrm>
                <a:custGeom>
                  <a:avLst/>
                  <a:gdLst>
                    <a:gd name="T0" fmla="*/ 68 w 116"/>
                    <a:gd name="T1" fmla="*/ 143 h 143"/>
                    <a:gd name="T2" fmla="*/ 33 w 116"/>
                    <a:gd name="T3" fmla="*/ 124 h 143"/>
                    <a:gd name="T4" fmla="*/ 5 w 116"/>
                    <a:gd name="T5" fmla="*/ 56 h 143"/>
                    <a:gd name="T6" fmla="*/ 36 w 116"/>
                    <a:gd name="T7" fmla="*/ 5 h 143"/>
                    <a:gd name="T8" fmla="*/ 86 w 116"/>
                    <a:gd name="T9" fmla="*/ 36 h 143"/>
                    <a:gd name="T10" fmla="*/ 103 w 116"/>
                    <a:gd name="T11" fmla="*/ 78 h 143"/>
                    <a:gd name="T12" fmla="*/ 91 w 116"/>
                    <a:gd name="T13" fmla="*/ 136 h 143"/>
                    <a:gd name="T14" fmla="*/ 68 w 116"/>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43">
                      <a:moveTo>
                        <a:pt x="68" y="143"/>
                      </a:moveTo>
                      <a:cubicBezTo>
                        <a:pt x="55" y="143"/>
                        <a:pt x="41" y="136"/>
                        <a:pt x="33" y="124"/>
                      </a:cubicBezTo>
                      <a:cubicBezTo>
                        <a:pt x="19" y="102"/>
                        <a:pt x="10" y="75"/>
                        <a:pt x="5" y="56"/>
                      </a:cubicBezTo>
                      <a:cubicBezTo>
                        <a:pt x="0" y="33"/>
                        <a:pt x="14" y="11"/>
                        <a:pt x="36" y="5"/>
                      </a:cubicBezTo>
                      <a:cubicBezTo>
                        <a:pt x="58" y="0"/>
                        <a:pt x="81" y="13"/>
                        <a:pt x="86" y="36"/>
                      </a:cubicBezTo>
                      <a:cubicBezTo>
                        <a:pt x="91" y="53"/>
                        <a:pt x="97" y="69"/>
                        <a:pt x="103" y="78"/>
                      </a:cubicBezTo>
                      <a:cubicBezTo>
                        <a:pt x="116" y="98"/>
                        <a:pt x="110" y="123"/>
                        <a:pt x="91" y="136"/>
                      </a:cubicBezTo>
                      <a:cubicBezTo>
                        <a:pt x="84" y="141"/>
                        <a:pt x="76" y="143"/>
                        <a:pt x="6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grpSp>
        </p:grpSp>
        <p:sp>
          <p:nvSpPr>
            <p:cNvPr id="286" name="TextBox 285">
              <a:extLst>
                <a:ext uri="{FF2B5EF4-FFF2-40B4-BE49-F238E27FC236}">
                  <a16:creationId xmlns:a16="http://schemas.microsoft.com/office/drawing/2014/main" id="{2B418FE0-6FF2-4F3C-97C4-D7485DBA96D7}"/>
                </a:ext>
              </a:extLst>
            </p:cNvPr>
            <p:cNvSpPr txBox="1"/>
            <p:nvPr/>
          </p:nvSpPr>
          <p:spPr>
            <a:xfrm>
              <a:off x="8547588" y="4996381"/>
              <a:ext cx="832791" cy="1107996"/>
            </a:xfrm>
            <a:prstGeom prst="rect">
              <a:avLst/>
            </a:prstGeom>
            <a:noFill/>
          </p:spPr>
          <p:txBody>
            <a:bodyPr wrap="square" rtlCol="0">
              <a:spAutoFit/>
            </a:bodyPr>
            <a:lstStyle/>
            <a:p>
              <a:pPr algn="ctr"/>
              <a:r>
                <a:rPr lang="en-SG" sz="1200" b="1">
                  <a:latin typeface="Neue Haas Grotesk Text Pro" panose="020B0504020202020204" pitchFamily="34" charset="0"/>
                </a:rPr>
                <a:t>Stock’s Quality Score</a:t>
              </a:r>
            </a:p>
            <a:p>
              <a:pPr algn="ctr"/>
              <a:r>
                <a:rPr lang="en-SG" sz="1000">
                  <a:latin typeface="Neue Haas Grotesk Text Pro" panose="020B0504020202020204" pitchFamily="34" charset="0"/>
                </a:rPr>
                <a:t>Four guiding metrics</a:t>
              </a:r>
            </a:p>
          </p:txBody>
        </p:sp>
      </p:grpSp>
      <p:grpSp>
        <p:nvGrpSpPr>
          <p:cNvPr id="345" name="Bank2" descr="{&quot;Key&quot;:&quot;POWER_USER_SHAPE_ICON&quot;,&quot;Value&quot;:&quot;POWER_USER_SHAPE_ICON_STYLE_1&quot;}">
            <a:extLst>
              <a:ext uri="{FF2B5EF4-FFF2-40B4-BE49-F238E27FC236}">
                <a16:creationId xmlns:a16="http://schemas.microsoft.com/office/drawing/2014/main" id="{391C724E-2287-4E3A-8118-D6FC183576A9}"/>
              </a:ext>
            </a:extLst>
          </p:cNvPr>
          <p:cNvGrpSpPr>
            <a:grpSpLocks/>
          </p:cNvGrpSpPr>
          <p:nvPr>
            <p:custDataLst>
              <p:tags r:id="rId5"/>
            </p:custDataLst>
          </p:nvPr>
        </p:nvGrpSpPr>
        <p:grpSpPr>
          <a:xfrm>
            <a:off x="7578906" y="2910894"/>
            <a:ext cx="367200" cy="369506"/>
            <a:chOff x="6741472" y="3797878"/>
            <a:chExt cx="1062037" cy="750810"/>
          </a:xfrm>
          <a:solidFill>
            <a:schemeClr val="bg1"/>
          </a:solidFill>
        </p:grpSpPr>
        <p:sp>
          <p:nvSpPr>
            <p:cNvPr id="346" name="Rectangle 56">
              <a:extLst>
                <a:ext uri="{FF2B5EF4-FFF2-40B4-BE49-F238E27FC236}">
                  <a16:creationId xmlns:a16="http://schemas.microsoft.com/office/drawing/2014/main" id="{568C25C1-78E3-4DD8-92C0-2A8AE31C5C7B}"/>
                </a:ext>
              </a:extLst>
            </p:cNvPr>
            <p:cNvSpPr>
              <a:spLocks noChangeArrowheads="1"/>
            </p:cNvSpPr>
            <p:nvPr/>
          </p:nvSpPr>
          <p:spPr bwMode="auto">
            <a:xfrm>
              <a:off x="6741472" y="4491538"/>
              <a:ext cx="1062037" cy="57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47" name="Rectangle 57">
              <a:extLst>
                <a:ext uri="{FF2B5EF4-FFF2-40B4-BE49-F238E27FC236}">
                  <a16:creationId xmlns:a16="http://schemas.microsoft.com/office/drawing/2014/main" id="{5D02DEDE-D9A0-4B29-BC51-D756CDEC9790}"/>
                </a:ext>
              </a:extLst>
            </p:cNvPr>
            <p:cNvSpPr>
              <a:spLocks noChangeArrowheads="1"/>
            </p:cNvSpPr>
            <p:nvPr/>
          </p:nvSpPr>
          <p:spPr bwMode="auto">
            <a:xfrm>
              <a:off x="6795447" y="4412163"/>
              <a:ext cx="952501"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48" name="Rectangle 58">
              <a:extLst>
                <a:ext uri="{FF2B5EF4-FFF2-40B4-BE49-F238E27FC236}">
                  <a16:creationId xmlns:a16="http://schemas.microsoft.com/office/drawing/2014/main" id="{70EAD210-66DD-45FF-94BE-998E79E24B07}"/>
                </a:ext>
              </a:extLst>
            </p:cNvPr>
            <p:cNvSpPr>
              <a:spLocks noChangeArrowheads="1"/>
            </p:cNvSpPr>
            <p:nvPr/>
          </p:nvSpPr>
          <p:spPr bwMode="auto">
            <a:xfrm>
              <a:off x="6844659" y="4348661"/>
              <a:ext cx="854075" cy="412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49" name="Freeform 59">
              <a:extLst>
                <a:ext uri="{FF2B5EF4-FFF2-40B4-BE49-F238E27FC236}">
                  <a16:creationId xmlns:a16="http://schemas.microsoft.com/office/drawing/2014/main" id="{47012621-72BB-48D4-8659-40E065880BC4}"/>
                </a:ext>
              </a:extLst>
            </p:cNvPr>
            <p:cNvSpPr>
              <a:spLocks/>
            </p:cNvSpPr>
            <p:nvPr/>
          </p:nvSpPr>
          <p:spPr bwMode="auto">
            <a:xfrm>
              <a:off x="7219311" y="4056563"/>
              <a:ext cx="104775" cy="263525"/>
            </a:xfrm>
            <a:custGeom>
              <a:avLst/>
              <a:gdLst>
                <a:gd name="T0" fmla="*/ 56 w 66"/>
                <a:gd name="T1" fmla="*/ 166 h 166"/>
                <a:gd name="T2" fmla="*/ 56 w 66"/>
                <a:gd name="T3" fmla="*/ 149 h 166"/>
                <a:gd name="T4" fmla="*/ 61 w 66"/>
                <a:gd name="T5" fmla="*/ 149 h 166"/>
                <a:gd name="T6" fmla="*/ 61 w 66"/>
                <a:gd name="T7" fmla="*/ 141 h 166"/>
                <a:gd name="T8" fmla="*/ 66 w 66"/>
                <a:gd name="T9" fmla="*/ 141 h 166"/>
                <a:gd name="T10" fmla="*/ 66 w 66"/>
                <a:gd name="T11" fmla="*/ 25 h 166"/>
                <a:gd name="T12" fmla="*/ 61 w 66"/>
                <a:gd name="T13" fmla="*/ 25 h 166"/>
                <a:gd name="T14" fmla="*/ 61 w 66"/>
                <a:gd name="T15" fmla="*/ 17 h 166"/>
                <a:gd name="T16" fmla="*/ 56 w 66"/>
                <a:gd name="T17" fmla="*/ 17 h 166"/>
                <a:gd name="T18" fmla="*/ 56 w 66"/>
                <a:gd name="T19" fmla="*/ 0 h 166"/>
                <a:gd name="T20" fmla="*/ 11 w 66"/>
                <a:gd name="T21" fmla="*/ 0 h 166"/>
                <a:gd name="T22" fmla="*/ 11 w 66"/>
                <a:gd name="T23" fmla="*/ 17 h 166"/>
                <a:gd name="T24" fmla="*/ 5 w 66"/>
                <a:gd name="T25" fmla="*/ 17 h 166"/>
                <a:gd name="T26" fmla="*/ 5 w 66"/>
                <a:gd name="T27" fmla="*/ 25 h 166"/>
                <a:gd name="T28" fmla="*/ 0 w 66"/>
                <a:gd name="T29" fmla="*/ 25 h 166"/>
                <a:gd name="T30" fmla="*/ 0 w 66"/>
                <a:gd name="T31" fmla="*/ 141 h 166"/>
                <a:gd name="T32" fmla="*/ 5 w 66"/>
                <a:gd name="T33" fmla="*/ 141 h 166"/>
                <a:gd name="T34" fmla="*/ 5 w 66"/>
                <a:gd name="T35" fmla="*/ 149 h 166"/>
                <a:gd name="T36" fmla="*/ 11 w 66"/>
                <a:gd name="T37" fmla="*/ 149 h 166"/>
                <a:gd name="T38" fmla="*/ 11 w 66"/>
                <a:gd name="T39" fmla="*/ 166 h 166"/>
                <a:gd name="T40" fmla="*/ 56 w 66"/>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56" y="166"/>
                  </a:moveTo>
                  <a:lnTo>
                    <a:pt x="56" y="149"/>
                  </a:lnTo>
                  <a:lnTo>
                    <a:pt x="61" y="149"/>
                  </a:lnTo>
                  <a:lnTo>
                    <a:pt x="61" y="141"/>
                  </a:lnTo>
                  <a:lnTo>
                    <a:pt x="66" y="141"/>
                  </a:lnTo>
                  <a:lnTo>
                    <a:pt x="66" y="25"/>
                  </a:lnTo>
                  <a:lnTo>
                    <a:pt x="61" y="25"/>
                  </a:lnTo>
                  <a:lnTo>
                    <a:pt x="61" y="17"/>
                  </a:lnTo>
                  <a:lnTo>
                    <a:pt x="56" y="17"/>
                  </a:lnTo>
                  <a:lnTo>
                    <a:pt x="56" y="0"/>
                  </a:lnTo>
                  <a:lnTo>
                    <a:pt x="11" y="0"/>
                  </a:lnTo>
                  <a:lnTo>
                    <a:pt x="11" y="17"/>
                  </a:lnTo>
                  <a:lnTo>
                    <a:pt x="5" y="17"/>
                  </a:lnTo>
                  <a:lnTo>
                    <a:pt x="5" y="25"/>
                  </a:lnTo>
                  <a:lnTo>
                    <a:pt x="0" y="25"/>
                  </a:lnTo>
                  <a:lnTo>
                    <a:pt x="0" y="141"/>
                  </a:lnTo>
                  <a:lnTo>
                    <a:pt x="5" y="141"/>
                  </a:lnTo>
                  <a:lnTo>
                    <a:pt x="5" y="149"/>
                  </a:lnTo>
                  <a:lnTo>
                    <a:pt x="11" y="149"/>
                  </a:lnTo>
                  <a:lnTo>
                    <a:pt x="11" y="166"/>
                  </a:lnTo>
                  <a:lnTo>
                    <a:pt x="56"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50" name="Freeform 60">
              <a:extLst>
                <a:ext uri="{FF2B5EF4-FFF2-40B4-BE49-F238E27FC236}">
                  <a16:creationId xmlns:a16="http://schemas.microsoft.com/office/drawing/2014/main" id="{CA76408E-54F5-4179-A013-0878DB7E72FB}"/>
                </a:ext>
              </a:extLst>
            </p:cNvPr>
            <p:cNvSpPr>
              <a:spLocks/>
            </p:cNvSpPr>
            <p:nvPr/>
          </p:nvSpPr>
          <p:spPr bwMode="auto">
            <a:xfrm>
              <a:off x="7397109" y="4056563"/>
              <a:ext cx="104775" cy="263525"/>
            </a:xfrm>
            <a:custGeom>
              <a:avLst/>
              <a:gdLst>
                <a:gd name="T0" fmla="*/ 10 w 66"/>
                <a:gd name="T1" fmla="*/ 0 h 166"/>
                <a:gd name="T2" fmla="*/ 10 w 66"/>
                <a:gd name="T3" fmla="*/ 17 h 166"/>
                <a:gd name="T4" fmla="*/ 4 w 66"/>
                <a:gd name="T5" fmla="*/ 17 h 166"/>
                <a:gd name="T6" fmla="*/ 4 w 66"/>
                <a:gd name="T7" fmla="*/ 25 h 166"/>
                <a:gd name="T8" fmla="*/ 0 w 66"/>
                <a:gd name="T9" fmla="*/ 25 h 166"/>
                <a:gd name="T10" fmla="*/ 0 w 66"/>
                <a:gd name="T11" fmla="*/ 141 h 166"/>
                <a:gd name="T12" fmla="*/ 4 w 66"/>
                <a:gd name="T13" fmla="*/ 141 h 166"/>
                <a:gd name="T14" fmla="*/ 4 w 66"/>
                <a:gd name="T15" fmla="*/ 149 h 166"/>
                <a:gd name="T16" fmla="*/ 10 w 66"/>
                <a:gd name="T17" fmla="*/ 149 h 166"/>
                <a:gd name="T18" fmla="*/ 10 w 66"/>
                <a:gd name="T19" fmla="*/ 166 h 166"/>
                <a:gd name="T20" fmla="*/ 55 w 66"/>
                <a:gd name="T21" fmla="*/ 166 h 166"/>
                <a:gd name="T22" fmla="*/ 55 w 66"/>
                <a:gd name="T23" fmla="*/ 149 h 166"/>
                <a:gd name="T24" fmla="*/ 61 w 66"/>
                <a:gd name="T25" fmla="*/ 149 h 166"/>
                <a:gd name="T26" fmla="*/ 61 w 66"/>
                <a:gd name="T27" fmla="*/ 141 h 166"/>
                <a:gd name="T28" fmla="*/ 66 w 66"/>
                <a:gd name="T29" fmla="*/ 141 h 166"/>
                <a:gd name="T30" fmla="*/ 66 w 66"/>
                <a:gd name="T31" fmla="*/ 25 h 166"/>
                <a:gd name="T32" fmla="*/ 61 w 66"/>
                <a:gd name="T33" fmla="*/ 25 h 166"/>
                <a:gd name="T34" fmla="*/ 61 w 66"/>
                <a:gd name="T35" fmla="*/ 17 h 166"/>
                <a:gd name="T36" fmla="*/ 55 w 66"/>
                <a:gd name="T37" fmla="*/ 17 h 166"/>
                <a:gd name="T38" fmla="*/ 55 w 66"/>
                <a:gd name="T39" fmla="*/ 0 h 166"/>
                <a:gd name="T40" fmla="*/ 10 w 66"/>
                <a:gd name="T4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10" y="0"/>
                  </a:moveTo>
                  <a:lnTo>
                    <a:pt x="10" y="17"/>
                  </a:lnTo>
                  <a:lnTo>
                    <a:pt x="4" y="17"/>
                  </a:lnTo>
                  <a:lnTo>
                    <a:pt x="4" y="25"/>
                  </a:lnTo>
                  <a:lnTo>
                    <a:pt x="0" y="25"/>
                  </a:lnTo>
                  <a:lnTo>
                    <a:pt x="0" y="141"/>
                  </a:lnTo>
                  <a:lnTo>
                    <a:pt x="4" y="141"/>
                  </a:lnTo>
                  <a:lnTo>
                    <a:pt x="4" y="149"/>
                  </a:lnTo>
                  <a:lnTo>
                    <a:pt x="10" y="149"/>
                  </a:lnTo>
                  <a:lnTo>
                    <a:pt x="10" y="166"/>
                  </a:lnTo>
                  <a:lnTo>
                    <a:pt x="55" y="166"/>
                  </a:lnTo>
                  <a:lnTo>
                    <a:pt x="55" y="149"/>
                  </a:lnTo>
                  <a:lnTo>
                    <a:pt x="61" y="149"/>
                  </a:lnTo>
                  <a:lnTo>
                    <a:pt x="61" y="141"/>
                  </a:lnTo>
                  <a:lnTo>
                    <a:pt x="66" y="141"/>
                  </a:lnTo>
                  <a:lnTo>
                    <a:pt x="66" y="25"/>
                  </a:lnTo>
                  <a:lnTo>
                    <a:pt x="61" y="25"/>
                  </a:lnTo>
                  <a:lnTo>
                    <a:pt x="61" y="17"/>
                  </a:lnTo>
                  <a:lnTo>
                    <a:pt x="55" y="17"/>
                  </a:lnTo>
                  <a:lnTo>
                    <a:pt x="55"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51" name="Freeform 61">
              <a:extLst>
                <a:ext uri="{FF2B5EF4-FFF2-40B4-BE49-F238E27FC236}">
                  <a16:creationId xmlns:a16="http://schemas.microsoft.com/office/drawing/2014/main" id="{46D7A042-AFF7-41DF-B6B3-95991D0D9015}"/>
                </a:ext>
              </a:extLst>
            </p:cNvPr>
            <p:cNvSpPr>
              <a:spLocks/>
            </p:cNvSpPr>
            <p:nvPr/>
          </p:nvSpPr>
          <p:spPr bwMode="auto">
            <a:xfrm>
              <a:off x="7043097" y="4056563"/>
              <a:ext cx="104775" cy="263525"/>
            </a:xfrm>
            <a:custGeom>
              <a:avLst/>
              <a:gdLst>
                <a:gd name="T0" fmla="*/ 55 w 66"/>
                <a:gd name="T1" fmla="*/ 166 h 166"/>
                <a:gd name="T2" fmla="*/ 55 w 66"/>
                <a:gd name="T3" fmla="*/ 149 h 166"/>
                <a:gd name="T4" fmla="*/ 61 w 66"/>
                <a:gd name="T5" fmla="*/ 149 h 166"/>
                <a:gd name="T6" fmla="*/ 61 w 66"/>
                <a:gd name="T7" fmla="*/ 141 h 166"/>
                <a:gd name="T8" fmla="*/ 66 w 66"/>
                <a:gd name="T9" fmla="*/ 141 h 166"/>
                <a:gd name="T10" fmla="*/ 66 w 66"/>
                <a:gd name="T11" fmla="*/ 25 h 166"/>
                <a:gd name="T12" fmla="*/ 61 w 66"/>
                <a:gd name="T13" fmla="*/ 25 h 166"/>
                <a:gd name="T14" fmla="*/ 61 w 66"/>
                <a:gd name="T15" fmla="*/ 17 h 166"/>
                <a:gd name="T16" fmla="*/ 55 w 66"/>
                <a:gd name="T17" fmla="*/ 17 h 166"/>
                <a:gd name="T18" fmla="*/ 55 w 66"/>
                <a:gd name="T19" fmla="*/ 0 h 166"/>
                <a:gd name="T20" fmla="*/ 10 w 66"/>
                <a:gd name="T21" fmla="*/ 0 h 166"/>
                <a:gd name="T22" fmla="*/ 10 w 66"/>
                <a:gd name="T23" fmla="*/ 17 h 166"/>
                <a:gd name="T24" fmla="*/ 5 w 66"/>
                <a:gd name="T25" fmla="*/ 17 h 166"/>
                <a:gd name="T26" fmla="*/ 5 w 66"/>
                <a:gd name="T27" fmla="*/ 25 h 166"/>
                <a:gd name="T28" fmla="*/ 0 w 66"/>
                <a:gd name="T29" fmla="*/ 25 h 166"/>
                <a:gd name="T30" fmla="*/ 0 w 66"/>
                <a:gd name="T31" fmla="*/ 141 h 166"/>
                <a:gd name="T32" fmla="*/ 5 w 66"/>
                <a:gd name="T33" fmla="*/ 141 h 166"/>
                <a:gd name="T34" fmla="*/ 5 w 66"/>
                <a:gd name="T35" fmla="*/ 149 h 166"/>
                <a:gd name="T36" fmla="*/ 10 w 66"/>
                <a:gd name="T37" fmla="*/ 149 h 166"/>
                <a:gd name="T38" fmla="*/ 10 w 66"/>
                <a:gd name="T39" fmla="*/ 166 h 166"/>
                <a:gd name="T40" fmla="*/ 55 w 66"/>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55" y="166"/>
                  </a:moveTo>
                  <a:lnTo>
                    <a:pt x="55" y="149"/>
                  </a:lnTo>
                  <a:lnTo>
                    <a:pt x="61" y="149"/>
                  </a:lnTo>
                  <a:lnTo>
                    <a:pt x="61" y="141"/>
                  </a:lnTo>
                  <a:lnTo>
                    <a:pt x="66" y="141"/>
                  </a:lnTo>
                  <a:lnTo>
                    <a:pt x="66" y="25"/>
                  </a:lnTo>
                  <a:lnTo>
                    <a:pt x="61" y="25"/>
                  </a:lnTo>
                  <a:lnTo>
                    <a:pt x="61" y="17"/>
                  </a:lnTo>
                  <a:lnTo>
                    <a:pt x="55" y="17"/>
                  </a:lnTo>
                  <a:lnTo>
                    <a:pt x="55" y="0"/>
                  </a:lnTo>
                  <a:lnTo>
                    <a:pt x="10" y="0"/>
                  </a:lnTo>
                  <a:lnTo>
                    <a:pt x="10" y="17"/>
                  </a:lnTo>
                  <a:lnTo>
                    <a:pt x="5" y="17"/>
                  </a:lnTo>
                  <a:lnTo>
                    <a:pt x="5" y="25"/>
                  </a:lnTo>
                  <a:lnTo>
                    <a:pt x="0" y="25"/>
                  </a:lnTo>
                  <a:lnTo>
                    <a:pt x="0" y="141"/>
                  </a:lnTo>
                  <a:lnTo>
                    <a:pt x="5" y="141"/>
                  </a:lnTo>
                  <a:lnTo>
                    <a:pt x="5" y="149"/>
                  </a:lnTo>
                  <a:lnTo>
                    <a:pt x="10" y="149"/>
                  </a:lnTo>
                  <a:lnTo>
                    <a:pt x="10" y="166"/>
                  </a:lnTo>
                  <a:lnTo>
                    <a:pt x="55"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52" name="Freeform 62">
              <a:extLst>
                <a:ext uri="{FF2B5EF4-FFF2-40B4-BE49-F238E27FC236}">
                  <a16:creationId xmlns:a16="http://schemas.microsoft.com/office/drawing/2014/main" id="{752A3CA5-3230-4221-B54C-84BF83F15ED8}"/>
                </a:ext>
              </a:extLst>
            </p:cNvPr>
            <p:cNvSpPr>
              <a:spLocks/>
            </p:cNvSpPr>
            <p:nvPr/>
          </p:nvSpPr>
          <p:spPr bwMode="auto">
            <a:xfrm>
              <a:off x="6898635" y="4056563"/>
              <a:ext cx="71436" cy="263525"/>
            </a:xfrm>
            <a:custGeom>
              <a:avLst/>
              <a:gdLst>
                <a:gd name="T0" fmla="*/ 35 w 45"/>
                <a:gd name="T1" fmla="*/ 149 h 166"/>
                <a:gd name="T2" fmla="*/ 41 w 45"/>
                <a:gd name="T3" fmla="*/ 149 h 166"/>
                <a:gd name="T4" fmla="*/ 41 w 45"/>
                <a:gd name="T5" fmla="*/ 141 h 166"/>
                <a:gd name="T6" fmla="*/ 45 w 45"/>
                <a:gd name="T7" fmla="*/ 141 h 166"/>
                <a:gd name="T8" fmla="*/ 45 w 45"/>
                <a:gd name="T9" fmla="*/ 25 h 166"/>
                <a:gd name="T10" fmla="*/ 41 w 45"/>
                <a:gd name="T11" fmla="*/ 25 h 166"/>
                <a:gd name="T12" fmla="*/ 41 w 45"/>
                <a:gd name="T13" fmla="*/ 17 h 166"/>
                <a:gd name="T14" fmla="*/ 35 w 45"/>
                <a:gd name="T15" fmla="*/ 17 h 166"/>
                <a:gd name="T16" fmla="*/ 35 w 45"/>
                <a:gd name="T17" fmla="*/ 0 h 166"/>
                <a:gd name="T18" fmla="*/ 0 w 45"/>
                <a:gd name="T19" fmla="*/ 0 h 166"/>
                <a:gd name="T20" fmla="*/ 0 w 45"/>
                <a:gd name="T21" fmla="*/ 166 h 166"/>
                <a:gd name="T22" fmla="*/ 35 w 45"/>
                <a:gd name="T23" fmla="*/ 166 h 166"/>
                <a:gd name="T24" fmla="*/ 35 w 45"/>
                <a:gd name="T25" fmla="*/ 14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66">
                  <a:moveTo>
                    <a:pt x="35" y="149"/>
                  </a:moveTo>
                  <a:lnTo>
                    <a:pt x="41" y="149"/>
                  </a:lnTo>
                  <a:lnTo>
                    <a:pt x="41" y="141"/>
                  </a:lnTo>
                  <a:lnTo>
                    <a:pt x="45" y="141"/>
                  </a:lnTo>
                  <a:lnTo>
                    <a:pt x="45" y="25"/>
                  </a:lnTo>
                  <a:lnTo>
                    <a:pt x="41" y="25"/>
                  </a:lnTo>
                  <a:lnTo>
                    <a:pt x="41" y="17"/>
                  </a:lnTo>
                  <a:lnTo>
                    <a:pt x="35" y="17"/>
                  </a:lnTo>
                  <a:lnTo>
                    <a:pt x="35" y="0"/>
                  </a:lnTo>
                  <a:lnTo>
                    <a:pt x="0" y="0"/>
                  </a:lnTo>
                  <a:lnTo>
                    <a:pt x="0" y="166"/>
                  </a:lnTo>
                  <a:lnTo>
                    <a:pt x="35" y="166"/>
                  </a:lnTo>
                  <a:lnTo>
                    <a:pt x="35"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53" name="Freeform 63">
              <a:extLst>
                <a:ext uri="{FF2B5EF4-FFF2-40B4-BE49-F238E27FC236}">
                  <a16:creationId xmlns:a16="http://schemas.microsoft.com/office/drawing/2014/main" id="{CF72E2E3-9016-4660-8A71-04B95D800979}"/>
                </a:ext>
              </a:extLst>
            </p:cNvPr>
            <p:cNvSpPr>
              <a:spLocks/>
            </p:cNvSpPr>
            <p:nvPr/>
          </p:nvSpPr>
          <p:spPr bwMode="auto">
            <a:xfrm>
              <a:off x="7566026" y="4051877"/>
              <a:ext cx="71436" cy="263525"/>
            </a:xfrm>
            <a:custGeom>
              <a:avLst/>
              <a:gdLst>
                <a:gd name="T0" fmla="*/ 11 w 45"/>
                <a:gd name="T1" fmla="*/ 0 h 166"/>
                <a:gd name="T2" fmla="*/ 11 w 45"/>
                <a:gd name="T3" fmla="*/ 17 h 166"/>
                <a:gd name="T4" fmla="*/ 5 w 45"/>
                <a:gd name="T5" fmla="*/ 17 h 166"/>
                <a:gd name="T6" fmla="*/ 5 w 45"/>
                <a:gd name="T7" fmla="*/ 25 h 166"/>
                <a:gd name="T8" fmla="*/ 0 w 45"/>
                <a:gd name="T9" fmla="*/ 25 h 166"/>
                <a:gd name="T10" fmla="*/ 0 w 45"/>
                <a:gd name="T11" fmla="*/ 141 h 166"/>
                <a:gd name="T12" fmla="*/ 5 w 45"/>
                <a:gd name="T13" fmla="*/ 141 h 166"/>
                <a:gd name="T14" fmla="*/ 5 w 45"/>
                <a:gd name="T15" fmla="*/ 149 h 166"/>
                <a:gd name="T16" fmla="*/ 11 w 45"/>
                <a:gd name="T17" fmla="*/ 149 h 166"/>
                <a:gd name="T18" fmla="*/ 11 w 45"/>
                <a:gd name="T19" fmla="*/ 166 h 166"/>
                <a:gd name="T20" fmla="*/ 45 w 45"/>
                <a:gd name="T21" fmla="*/ 166 h 166"/>
                <a:gd name="T22" fmla="*/ 45 w 45"/>
                <a:gd name="T23" fmla="*/ 0 h 166"/>
                <a:gd name="T24" fmla="*/ 11 w 45"/>
                <a:gd name="T2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66">
                  <a:moveTo>
                    <a:pt x="11" y="0"/>
                  </a:moveTo>
                  <a:lnTo>
                    <a:pt x="11" y="17"/>
                  </a:lnTo>
                  <a:lnTo>
                    <a:pt x="5" y="17"/>
                  </a:lnTo>
                  <a:lnTo>
                    <a:pt x="5" y="25"/>
                  </a:lnTo>
                  <a:lnTo>
                    <a:pt x="0" y="25"/>
                  </a:lnTo>
                  <a:lnTo>
                    <a:pt x="0" y="141"/>
                  </a:lnTo>
                  <a:lnTo>
                    <a:pt x="5" y="141"/>
                  </a:lnTo>
                  <a:lnTo>
                    <a:pt x="5" y="149"/>
                  </a:lnTo>
                  <a:lnTo>
                    <a:pt x="11" y="149"/>
                  </a:lnTo>
                  <a:lnTo>
                    <a:pt x="11" y="166"/>
                  </a:lnTo>
                  <a:lnTo>
                    <a:pt x="45" y="166"/>
                  </a:lnTo>
                  <a:lnTo>
                    <a:pt x="4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54" name="Freeform 64">
              <a:extLst>
                <a:ext uri="{FF2B5EF4-FFF2-40B4-BE49-F238E27FC236}">
                  <a16:creationId xmlns:a16="http://schemas.microsoft.com/office/drawing/2014/main" id="{7D268443-CC08-4CE7-B3D0-BE4F133D7F98}"/>
                </a:ext>
              </a:extLst>
            </p:cNvPr>
            <p:cNvSpPr>
              <a:spLocks noEditPoints="1"/>
            </p:cNvSpPr>
            <p:nvPr/>
          </p:nvSpPr>
          <p:spPr bwMode="auto">
            <a:xfrm>
              <a:off x="6797675" y="3797878"/>
              <a:ext cx="933450" cy="227013"/>
            </a:xfrm>
            <a:custGeom>
              <a:avLst/>
              <a:gdLst>
                <a:gd name="T0" fmla="*/ 1078 w 5629"/>
                <a:gd name="T1" fmla="*/ 985 h 1371"/>
                <a:gd name="T2" fmla="*/ 2815 w 5629"/>
                <a:gd name="T3" fmla="*/ 358 h 1371"/>
                <a:gd name="T4" fmla="*/ 4551 w 5629"/>
                <a:gd name="T5" fmla="*/ 985 h 1371"/>
                <a:gd name="T6" fmla="*/ 1078 w 5629"/>
                <a:gd name="T7" fmla="*/ 985 h 1371"/>
                <a:gd name="T8" fmla="*/ 2815 w 5629"/>
                <a:gd name="T9" fmla="*/ 0 h 1371"/>
                <a:gd name="T10" fmla="*/ 0 w 5629"/>
                <a:gd name="T11" fmla="*/ 1038 h 1371"/>
                <a:gd name="T12" fmla="*/ 122 w 5629"/>
                <a:gd name="T13" fmla="*/ 1249 h 1371"/>
                <a:gd name="T14" fmla="*/ 253 w 5629"/>
                <a:gd name="T15" fmla="*/ 1249 h 1371"/>
                <a:gd name="T16" fmla="*/ 253 w 5629"/>
                <a:gd name="T17" fmla="*/ 1371 h 1371"/>
                <a:gd name="T18" fmla="*/ 5376 w 5629"/>
                <a:gd name="T19" fmla="*/ 1371 h 1371"/>
                <a:gd name="T20" fmla="*/ 5376 w 5629"/>
                <a:gd name="T21" fmla="*/ 1249 h 1371"/>
                <a:gd name="T22" fmla="*/ 5507 w 5629"/>
                <a:gd name="T23" fmla="*/ 1249 h 1371"/>
                <a:gd name="T24" fmla="*/ 5629 w 5629"/>
                <a:gd name="T25" fmla="*/ 1038 h 1371"/>
                <a:gd name="T26" fmla="*/ 2815 w 5629"/>
                <a:gd name="T27"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9" h="1371">
                  <a:moveTo>
                    <a:pt x="1078" y="985"/>
                  </a:moveTo>
                  <a:lnTo>
                    <a:pt x="2815" y="358"/>
                  </a:lnTo>
                  <a:lnTo>
                    <a:pt x="4551" y="985"/>
                  </a:lnTo>
                  <a:lnTo>
                    <a:pt x="1078" y="985"/>
                  </a:lnTo>
                  <a:close/>
                  <a:moveTo>
                    <a:pt x="2815" y="0"/>
                  </a:moveTo>
                  <a:lnTo>
                    <a:pt x="0" y="1038"/>
                  </a:lnTo>
                  <a:lnTo>
                    <a:pt x="122" y="1249"/>
                  </a:lnTo>
                  <a:lnTo>
                    <a:pt x="253" y="1249"/>
                  </a:lnTo>
                  <a:lnTo>
                    <a:pt x="253" y="1371"/>
                  </a:lnTo>
                  <a:lnTo>
                    <a:pt x="5376" y="1371"/>
                  </a:lnTo>
                  <a:lnTo>
                    <a:pt x="5376" y="1249"/>
                  </a:lnTo>
                  <a:lnTo>
                    <a:pt x="5507" y="1249"/>
                  </a:lnTo>
                  <a:lnTo>
                    <a:pt x="5629" y="1038"/>
                  </a:lnTo>
                  <a:lnTo>
                    <a:pt x="2815"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grpSp>
      <p:grpSp>
        <p:nvGrpSpPr>
          <p:cNvPr id="178" name="Stock_chart" descr="{&quot;Key&quot;:&quot;POWER_USER_SHAPE_ICON&quot;,&quot;Value&quot;:&quot;POWER_USER_SHAPE_ICON_STYLE_1&quot;}">
            <a:extLst>
              <a:ext uri="{FF2B5EF4-FFF2-40B4-BE49-F238E27FC236}">
                <a16:creationId xmlns:a16="http://schemas.microsoft.com/office/drawing/2014/main" id="{192FF7AC-2A80-4F4E-A573-8E439CD2ED02}"/>
              </a:ext>
            </a:extLst>
          </p:cNvPr>
          <p:cNvGrpSpPr>
            <a:grpSpLocks/>
          </p:cNvGrpSpPr>
          <p:nvPr>
            <p:custDataLst>
              <p:tags r:id="rId6"/>
            </p:custDataLst>
          </p:nvPr>
        </p:nvGrpSpPr>
        <p:grpSpPr>
          <a:xfrm>
            <a:off x="4293900" y="2908242"/>
            <a:ext cx="367200" cy="367200"/>
            <a:chOff x="3347025" y="3068463"/>
            <a:chExt cx="665162" cy="619125"/>
          </a:xfrm>
          <a:solidFill>
            <a:schemeClr val="bg1"/>
          </a:solidFill>
        </p:grpSpPr>
        <p:sp>
          <p:nvSpPr>
            <p:cNvPr id="180" name="Freeform 16">
              <a:extLst>
                <a:ext uri="{FF2B5EF4-FFF2-40B4-BE49-F238E27FC236}">
                  <a16:creationId xmlns:a16="http://schemas.microsoft.com/office/drawing/2014/main" id="{C53E80A3-7D86-41C0-8197-4C8FE9297AD6}"/>
                </a:ext>
              </a:extLst>
            </p:cNvPr>
            <p:cNvSpPr>
              <a:spLocks/>
            </p:cNvSpPr>
            <p:nvPr/>
          </p:nvSpPr>
          <p:spPr bwMode="auto">
            <a:xfrm>
              <a:off x="3347025" y="3068463"/>
              <a:ext cx="665162"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88" name="Rectangle 95">
              <a:extLst>
                <a:ext uri="{FF2B5EF4-FFF2-40B4-BE49-F238E27FC236}">
                  <a16:creationId xmlns:a16="http://schemas.microsoft.com/office/drawing/2014/main" id="{F03DB751-D364-4B09-A032-074C74A62FFA}"/>
                </a:ext>
              </a:extLst>
            </p:cNvPr>
            <p:cNvSpPr>
              <a:spLocks noChangeArrowheads="1"/>
            </p:cNvSpPr>
            <p:nvPr/>
          </p:nvSpPr>
          <p:spPr bwMode="auto">
            <a:xfrm>
              <a:off x="3467680" y="3166887"/>
              <a:ext cx="115887" cy="161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89" name="Rectangle 96">
              <a:extLst>
                <a:ext uri="{FF2B5EF4-FFF2-40B4-BE49-F238E27FC236}">
                  <a16:creationId xmlns:a16="http://schemas.microsoft.com/office/drawing/2014/main" id="{48BE1CF7-545A-418E-B153-7921D186BD6A}"/>
                </a:ext>
              </a:extLst>
            </p:cNvPr>
            <p:cNvSpPr>
              <a:spLocks noChangeArrowheads="1"/>
            </p:cNvSpPr>
            <p:nvPr/>
          </p:nvSpPr>
          <p:spPr bwMode="auto">
            <a:xfrm>
              <a:off x="3498828" y="3086460"/>
              <a:ext cx="46038" cy="7143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90" name="Rectangle 97">
              <a:extLst>
                <a:ext uri="{FF2B5EF4-FFF2-40B4-BE49-F238E27FC236}">
                  <a16:creationId xmlns:a16="http://schemas.microsoft.com/office/drawing/2014/main" id="{C8938062-1D4C-4523-B7B9-A7FBDDB1AF2A}"/>
                </a:ext>
              </a:extLst>
            </p:cNvPr>
            <p:cNvSpPr>
              <a:spLocks noChangeArrowheads="1"/>
            </p:cNvSpPr>
            <p:nvPr/>
          </p:nvSpPr>
          <p:spPr bwMode="auto">
            <a:xfrm>
              <a:off x="3500541" y="3332621"/>
              <a:ext cx="460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91" name="Rectangle 98">
              <a:extLst>
                <a:ext uri="{FF2B5EF4-FFF2-40B4-BE49-F238E27FC236}">
                  <a16:creationId xmlns:a16="http://schemas.microsoft.com/office/drawing/2014/main" id="{EB081799-2BDF-49D4-9AE0-09727BE83C15}"/>
                </a:ext>
              </a:extLst>
            </p:cNvPr>
            <p:cNvSpPr>
              <a:spLocks noChangeArrowheads="1"/>
            </p:cNvSpPr>
            <p:nvPr/>
          </p:nvSpPr>
          <p:spPr bwMode="auto">
            <a:xfrm>
              <a:off x="3645478" y="3344687"/>
              <a:ext cx="117476" cy="163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96" name="Rectangle 99">
              <a:extLst>
                <a:ext uri="{FF2B5EF4-FFF2-40B4-BE49-F238E27FC236}">
                  <a16:creationId xmlns:a16="http://schemas.microsoft.com/office/drawing/2014/main" id="{8D19484A-C27B-4F53-BEA3-5E45A958B53A}"/>
                </a:ext>
              </a:extLst>
            </p:cNvPr>
            <p:cNvSpPr>
              <a:spLocks noChangeArrowheads="1"/>
            </p:cNvSpPr>
            <p:nvPr/>
          </p:nvSpPr>
          <p:spPr bwMode="auto">
            <a:xfrm>
              <a:off x="3676630" y="3264259"/>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97" name="Rectangle 100">
              <a:extLst>
                <a:ext uri="{FF2B5EF4-FFF2-40B4-BE49-F238E27FC236}">
                  <a16:creationId xmlns:a16="http://schemas.microsoft.com/office/drawing/2014/main" id="{F0AABCD6-CEF4-4FCD-AD1E-3A195B85D09D}"/>
                </a:ext>
              </a:extLst>
            </p:cNvPr>
            <p:cNvSpPr>
              <a:spLocks noChangeArrowheads="1"/>
            </p:cNvSpPr>
            <p:nvPr/>
          </p:nvSpPr>
          <p:spPr bwMode="auto">
            <a:xfrm>
              <a:off x="3678343" y="3512009"/>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199" name="Rectangle 101">
              <a:extLst>
                <a:ext uri="{FF2B5EF4-FFF2-40B4-BE49-F238E27FC236}">
                  <a16:creationId xmlns:a16="http://schemas.microsoft.com/office/drawing/2014/main" id="{C1C086B6-0762-411D-A8C1-9DC72154FBDE}"/>
                </a:ext>
              </a:extLst>
            </p:cNvPr>
            <p:cNvSpPr>
              <a:spLocks noChangeArrowheads="1"/>
            </p:cNvSpPr>
            <p:nvPr/>
          </p:nvSpPr>
          <p:spPr bwMode="auto">
            <a:xfrm>
              <a:off x="3828041" y="3265312"/>
              <a:ext cx="117476" cy="163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00" name="Rectangle 102">
              <a:extLst>
                <a:ext uri="{FF2B5EF4-FFF2-40B4-BE49-F238E27FC236}">
                  <a16:creationId xmlns:a16="http://schemas.microsoft.com/office/drawing/2014/main" id="{F39359E8-F575-4D11-BB66-33A0CFEE6CB0}"/>
                </a:ext>
              </a:extLst>
            </p:cNvPr>
            <p:cNvSpPr>
              <a:spLocks noChangeArrowheads="1"/>
            </p:cNvSpPr>
            <p:nvPr/>
          </p:nvSpPr>
          <p:spPr bwMode="auto">
            <a:xfrm>
              <a:off x="3862967" y="3166886"/>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201" name="Rectangle 103">
              <a:extLst>
                <a:ext uri="{FF2B5EF4-FFF2-40B4-BE49-F238E27FC236}">
                  <a16:creationId xmlns:a16="http://schemas.microsoft.com/office/drawing/2014/main" id="{DF63C4EA-73B5-409C-9843-26E5CD420A8A}"/>
                </a:ext>
              </a:extLst>
            </p:cNvPr>
            <p:cNvSpPr>
              <a:spLocks noChangeArrowheads="1"/>
            </p:cNvSpPr>
            <p:nvPr/>
          </p:nvSpPr>
          <p:spPr bwMode="auto">
            <a:xfrm>
              <a:off x="3862169" y="3403505"/>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grpSp>
      <p:grpSp>
        <p:nvGrpSpPr>
          <p:cNvPr id="14" name="Group 13">
            <a:extLst>
              <a:ext uri="{FF2B5EF4-FFF2-40B4-BE49-F238E27FC236}">
                <a16:creationId xmlns:a16="http://schemas.microsoft.com/office/drawing/2014/main" id="{7E8F161A-B77F-4A2B-956F-AEE38DA5BC41}"/>
              </a:ext>
            </a:extLst>
          </p:cNvPr>
          <p:cNvGrpSpPr/>
          <p:nvPr/>
        </p:nvGrpSpPr>
        <p:grpSpPr>
          <a:xfrm>
            <a:off x="1090937" y="3855399"/>
            <a:ext cx="9890901" cy="596146"/>
            <a:chOff x="464274" y="4491163"/>
            <a:chExt cx="9890901" cy="596146"/>
          </a:xfrm>
        </p:grpSpPr>
        <p:sp>
          <p:nvSpPr>
            <p:cNvPr id="340" name="Rectangle: Rounded Corners 339">
              <a:extLst>
                <a:ext uri="{FF2B5EF4-FFF2-40B4-BE49-F238E27FC236}">
                  <a16:creationId xmlns:a16="http://schemas.microsoft.com/office/drawing/2014/main" id="{945C56D7-9E07-437A-B325-3EFEC10B1D2E}"/>
                </a:ext>
              </a:extLst>
            </p:cNvPr>
            <p:cNvSpPr/>
            <p:nvPr/>
          </p:nvSpPr>
          <p:spPr>
            <a:xfrm rot="10800000">
              <a:off x="7779546" y="4794820"/>
              <a:ext cx="2081289" cy="64313"/>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291" name="Rectangle: Rounded Corners 290">
              <a:extLst>
                <a:ext uri="{FF2B5EF4-FFF2-40B4-BE49-F238E27FC236}">
                  <a16:creationId xmlns:a16="http://schemas.microsoft.com/office/drawing/2014/main" id="{3BE4FBC8-3343-4B1F-9574-05B92882D5D3}"/>
                </a:ext>
              </a:extLst>
            </p:cNvPr>
            <p:cNvSpPr/>
            <p:nvPr/>
          </p:nvSpPr>
          <p:spPr>
            <a:xfrm>
              <a:off x="5573063" y="4757273"/>
              <a:ext cx="2081289" cy="64313"/>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grpSp>
          <p:nvGrpSpPr>
            <p:cNvPr id="126" name="Group 125">
              <a:extLst>
                <a:ext uri="{FF2B5EF4-FFF2-40B4-BE49-F238E27FC236}">
                  <a16:creationId xmlns:a16="http://schemas.microsoft.com/office/drawing/2014/main" id="{C0B7A509-13B1-4C66-AEC6-322A0C6E906E}"/>
                </a:ext>
              </a:extLst>
            </p:cNvPr>
            <p:cNvGrpSpPr>
              <a:grpSpLocks noChangeAspect="1"/>
            </p:cNvGrpSpPr>
            <p:nvPr/>
          </p:nvGrpSpPr>
          <p:grpSpPr>
            <a:xfrm>
              <a:off x="7532900" y="4519782"/>
              <a:ext cx="544815" cy="544327"/>
              <a:chOff x="8993477" y="2449672"/>
              <a:chExt cx="1573200" cy="1571789"/>
            </a:xfrm>
            <a:effectLst>
              <a:outerShdw blurRad="355600" dist="190500" dir="2700000" algn="tl" rotWithShape="0">
                <a:prstClr val="black">
                  <a:alpha val="40000"/>
                </a:prstClr>
              </a:outerShdw>
            </a:effectLst>
          </p:grpSpPr>
          <p:sp>
            <p:nvSpPr>
              <p:cNvPr id="127" name="Freeform 8">
                <a:extLst>
                  <a:ext uri="{FF2B5EF4-FFF2-40B4-BE49-F238E27FC236}">
                    <a16:creationId xmlns:a16="http://schemas.microsoft.com/office/drawing/2014/main" id="{BB6646C4-1045-40D1-8738-1636302A6893}"/>
                  </a:ext>
                </a:extLst>
              </p:cNvPr>
              <p:cNvSpPr>
                <a:spLocks noChangeAspect="1"/>
              </p:cNvSpPr>
              <p:nvPr/>
            </p:nvSpPr>
            <p:spPr>
              <a:xfrm rot="1136491">
                <a:off x="8993477" y="2449672"/>
                <a:ext cx="1573200" cy="1571789"/>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128" name="Freeform 8">
                <a:extLst>
                  <a:ext uri="{FF2B5EF4-FFF2-40B4-BE49-F238E27FC236}">
                    <a16:creationId xmlns:a16="http://schemas.microsoft.com/office/drawing/2014/main" id="{D26F6C8A-C732-4ED5-ADD5-D14A609F47C3}"/>
                  </a:ext>
                </a:extLst>
              </p:cNvPr>
              <p:cNvSpPr>
                <a:spLocks noChangeAspect="1"/>
              </p:cNvSpPr>
              <p:nvPr/>
            </p:nvSpPr>
            <p:spPr>
              <a:xfrm>
                <a:off x="9189092" y="2645112"/>
                <a:ext cx="1181967" cy="1180910"/>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Neue Haas Grotesk Text Pro" panose="020B0504020202020204" pitchFamily="34" charset="0"/>
                  </a:rPr>
                  <a:t>04</a:t>
                </a:r>
              </a:p>
            </p:txBody>
          </p:sp>
        </p:grpSp>
        <p:grpSp>
          <p:nvGrpSpPr>
            <p:cNvPr id="12" name="Group 11">
              <a:extLst>
                <a:ext uri="{FF2B5EF4-FFF2-40B4-BE49-F238E27FC236}">
                  <a16:creationId xmlns:a16="http://schemas.microsoft.com/office/drawing/2014/main" id="{74C23937-5822-4E12-8A43-57DF09C7B3CB}"/>
                </a:ext>
              </a:extLst>
            </p:cNvPr>
            <p:cNvGrpSpPr/>
            <p:nvPr/>
          </p:nvGrpSpPr>
          <p:grpSpPr>
            <a:xfrm>
              <a:off x="464274" y="4491163"/>
              <a:ext cx="5283491" cy="569030"/>
              <a:chOff x="1467341" y="1056451"/>
              <a:chExt cx="5283491" cy="569030"/>
            </a:xfrm>
          </p:grpSpPr>
          <p:sp>
            <p:nvSpPr>
              <p:cNvPr id="171" name="Rectangle: Rounded Corners 170">
                <a:extLst>
                  <a:ext uri="{FF2B5EF4-FFF2-40B4-BE49-F238E27FC236}">
                    <a16:creationId xmlns:a16="http://schemas.microsoft.com/office/drawing/2014/main" id="{DA018C5E-BC86-4204-ADFA-E3BFA862F5A4}"/>
                  </a:ext>
                </a:extLst>
              </p:cNvPr>
              <p:cNvSpPr/>
              <p:nvPr/>
            </p:nvSpPr>
            <p:spPr>
              <a:xfrm>
                <a:off x="4276180" y="1316121"/>
                <a:ext cx="2081289" cy="64313"/>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sp>
            <p:nvSpPr>
              <p:cNvPr id="21" name="Rectangle: Rounded Corners 20">
                <a:extLst>
                  <a:ext uri="{FF2B5EF4-FFF2-40B4-BE49-F238E27FC236}">
                    <a16:creationId xmlns:a16="http://schemas.microsoft.com/office/drawing/2014/main" id="{D896C751-E88F-4E54-8154-6B64261E4DDA}"/>
                  </a:ext>
                </a:extLst>
              </p:cNvPr>
              <p:cNvSpPr/>
              <p:nvPr/>
            </p:nvSpPr>
            <p:spPr>
              <a:xfrm>
                <a:off x="1715809" y="1316121"/>
                <a:ext cx="2399110" cy="64313"/>
              </a:xfrm>
              <a:prstGeom prst="roundRect">
                <a:avLst/>
              </a:prstGeom>
              <a:solidFill>
                <a:schemeClr val="bg2"/>
              </a:solidFill>
              <a:ln w="3175">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panose="020B0504020202020204" pitchFamily="34" charset="0"/>
                </a:endParaRPr>
              </a:p>
            </p:txBody>
          </p:sp>
          <p:grpSp>
            <p:nvGrpSpPr>
              <p:cNvPr id="62" name="Group 61">
                <a:extLst>
                  <a:ext uri="{FF2B5EF4-FFF2-40B4-BE49-F238E27FC236}">
                    <a16:creationId xmlns:a16="http://schemas.microsoft.com/office/drawing/2014/main" id="{4E7951A5-721C-4E17-BA13-77B4972CA839}"/>
                  </a:ext>
                </a:extLst>
              </p:cNvPr>
              <p:cNvGrpSpPr>
                <a:grpSpLocks noChangeAspect="1"/>
              </p:cNvGrpSpPr>
              <p:nvPr/>
            </p:nvGrpSpPr>
            <p:grpSpPr>
              <a:xfrm>
                <a:off x="1467341" y="1056451"/>
                <a:ext cx="544815" cy="544327"/>
                <a:chOff x="9725067" y="2392896"/>
                <a:chExt cx="1573200" cy="1571789"/>
              </a:xfrm>
              <a:effectLst>
                <a:outerShdw blurRad="355600" dist="190500" dir="2700000" algn="tl" rotWithShape="0">
                  <a:prstClr val="black">
                    <a:alpha val="40000"/>
                  </a:prstClr>
                </a:outerShdw>
              </a:effectLst>
            </p:grpSpPr>
            <p:sp>
              <p:nvSpPr>
                <p:cNvPr id="63" name="Freeform 8">
                  <a:extLst>
                    <a:ext uri="{FF2B5EF4-FFF2-40B4-BE49-F238E27FC236}">
                      <a16:creationId xmlns:a16="http://schemas.microsoft.com/office/drawing/2014/main" id="{A446C3B2-899B-4415-A548-64D5F9FED182}"/>
                    </a:ext>
                  </a:extLst>
                </p:cNvPr>
                <p:cNvSpPr>
                  <a:spLocks noChangeAspect="1"/>
                </p:cNvSpPr>
                <p:nvPr/>
              </p:nvSpPr>
              <p:spPr>
                <a:xfrm rot="1136491">
                  <a:off x="9725067" y="2392896"/>
                  <a:ext cx="1573200" cy="1571789"/>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64" name="Freeform 8">
                  <a:extLst>
                    <a:ext uri="{FF2B5EF4-FFF2-40B4-BE49-F238E27FC236}">
                      <a16:creationId xmlns:a16="http://schemas.microsoft.com/office/drawing/2014/main" id="{CF143790-7B3D-4D63-8BA0-8FBB92EFD967}"/>
                    </a:ext>
                  </a:extLst>
                </p:cNvPr>
                <p:cNvSpPr>
                  <a:spLocks noChangeAspect="1"/>
                </p:cNvSpPr>
                <p:nvPr/>
              </p:nvSpPr>
              <p:spPr>
                <a:xfrm>
                  <a:off x="9920681" y="2588337"/>
                  <a:ext cx="1181967" cy="1180911"/>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Neue Haas Grotesk Text Pro" panose="020B0504020202020204" pitchFamily="34" charset="0"/>
                    </a:rPr>
                    <a:t>01</a:t>
                  </a:r>
                </a:p>
              </p:txBody>
            </p:sp>
          </p:grpSp>
          <p:grpSp>
            <p:nvGrpSpPr>
              <p:cNvPr id="81" name="Group 80">
                <a:extLst>
                  <a:ext uri="{FF2B5EF4-FFF2-40B4-BE49-F238E27FC236}">
                    <a16:creationId xmlns:a16="http://schemas.microsoft.com/office/drawing/2014/main" id="{3F8AAC4C-F562-405C-8206-724119CF62DC}"/>
                  </a:ext>
                </a:extLst>
              </p:cNvPr>
              <p:cNvGrpSpPr>
                <a:grpSpLocks noChangeAspect="1"/>
              </p:cNvGrpSpPr>
              <p:nvPr/>
            </p:nvGrpSpPr>
            <p:grpSpPr>
              <a:xfrm>
                <a:off x="6206017" y="1076114"/>
                <a:ext cx="544815" cy="544327"/>
                <a:chOff x="8993477" y="2449672"/>
                <a:chExt cx="1573200" cy="1571789"/>
              </a:xfrm>
              <a:effectLst>
                <a:outerShdw blurRad="355600" dist="190500" dir="2700000" algn="tl" rotWithShape="0">
                  <a:prstClr val="black">
                    <a:alpha val="40000"/>
                  </a:prstClr>
                </a:outerShdw>
              </a:effectLst>
            </p:grpSpPr>
            <p:sp>
              <p:nvSpPr>
                <p:cNvPr id="82" name="Freeform 8">
                  <a:extLst>
                    <a:ext uri="{FF2B5EF4-FFF2-40B4-BE49-F238E27FC236}">
                      <a16:creationId xmlns:a16="http://schemas.microsoft.com/office/drawing/2014/main" id="{9E0C474A-5CF4-4144-A0D9-C41E87C4412E}"/>
                    </a:ext>
                  </a:extLst>
                </p:cNvPr>
                <p:cNvSpPr>
                  <a:spLocks noChangeAspect="1"/>
                </p:cNvSpPr>
                <p:nvPr/>
              </p:nvSpPr>
              <p:spPr>
                <a:xfrm rot="1136491">
                  <a:off x="8993477" y="2449672"/>
                  <a:ext cx="1573200" cy="1571789"/>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83" name="Freeform 8">
                  <a:extLst>
                    <a:ext uri="{FF2B5EF4-FFF2-40B4-BE49-F238E27FC236}">
                      <a16:creationId xmlns:a16="http://schemas.microsoft.com/office/drawing/2014/main" id="{4C376E70-2B90-4D80-9386-8EE3102DD0D1}"/>
                    </a:ext>
                  </a:extLst>
                </p:cNvPr>
                <p:cNvSpPr>
                  <a:spLocks noChangeAspect="1"/>
                </p:cNvSpPr>
                <p:nvPr/>
              </p:nvSpPr>
              <p:spPr>
                <a:xfrm>
                  <a:off x="9189092" y="2645112"/>
                  <a:ext cx="1181967" cy="1180910"/>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Neue Haas Grotesk Text Pro" panose="020B0504020202020204" pitchFamily="34" charset="0"/>
                    </a:rPr>
                    <a:t>03</a:t>
                  </a:r>
                </a:p>
              </p:txBody>
            </p:sp>
          </p:grpSp>
          <p:grpSp>
            <p:nvGrpSpPr>
              <p:cNvPr id="73" name="Group 72">
                <a:extLst>
                  <a:ext uri="{FF2B5EF4-FFF2-40B4-BE49-F238E27FC236}">
                    <a16:creationId xmlns:a16="http://schemas.microsoft.com/office/drawing/2014/main" id="{0D72AD53-2143-4F53-9507-2749D708D547}"/>
                  </a:ext>
                </a:extLst>
              </p:cNvPr>
              <p:cNvGrpSpPr>
                <a:grpSpLocks noChangeAspect="1"/>
              </p:cNvGrpSpPr>
              <p:nvPr/>
            </p:nvGrpSpPr>
            <p:grpSpPr>
              <a:xfrm>
                <a:off x="3790280" y="1081154"/>
                <a:ext cx="544815" cy="544327"/>
                <a:chOff x="8993477" y="2449672"/>
                <a:chExt cx="1573200" cy="1571789"/>
              </a:xfrm>
              <a:effectLst>
                <a:outerShdw blurRad="355600" dist="190500" dir="2700000" algn="tl" rotWithShape="0">
                  <a:prstClr val="black">
                    <a:alpha val="40000"/>
                  </a:prstClr>
                </a:outerShdw>
              </a:effectLst>
            </p:grpSpPr>
            <p:sp>
              <p:nvSpPr>
                <p:cNvPr id="74" name="Freeform 8">
                  <a:extLst>
                    <a:ext uri="{FF2B5EF4-FFF2-40B4-BE49-F238E27FC236}">
                      <a16:creationId xmlns:a16="http://schemas.microsoft.com/office/drawing/2014/main" id="{8CD145DA-6BD3-4992-958D-386FD15A5D96}"/>
                    </a:ext>
                  </a:extLst>
                </p:cNvPr>
                <p:cNvSpPr>
                  <a:spLocks noChangeAspect="1"/>
                </p:cNvSpPr>
                <p:nvPr/>
              </p:nvSpPr>
              <p:spPr>
                <a:xfrm rot="1136491">
                  <a:off x="8993477" y="2449672"/>
                  <a:ext cx="1573200" cy="1571789"/>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75" name="Freeform 8">
                  <a:extLst>
                    <a:ext uri="{FF2B5EF4-FFF2-40B4-BE49-F238E27FC236}">
                      <a16:creationId xmlns:a16="http://schemas.microsoft.com/office/drawing/2014/main" id="{C3F733E0-E770-4326-9522-5456680F55C4}"/>
                    </a:ext>
                  </a:extLst>
                </p:cNvPr>
                <p:cNvSpPr>
                  <a:spLocks noChangeAspect="1"/>
                </p:cNvSpPr>
                <p:nvPr/>
              </p:nvSpPr>
              <p:spPr>
                <a:xfrm>
                  <a:off x="9189092" y="2645112"/>
                  <a:ext cx="1181967" cy="1180910"/>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Neue Haas Grotesk Text Pro" panose="020B0504020202020204" pitchFamily="34" charset="0"/>
                    </a:rPr>
                    <a:t>02</a:t>
                  </a:r>
                </a:p>
              </p:txBody>
            </p:sp>
          </p:grpSp>
        </p:grpSp>
        <p:grpSp>
          <p:nvGrpSpPr>
            <p:cNvPr id="341" name="Group 340">
              <a:extLst>
                <a:ext uri="{FF2B5EF4-FFF2-40B4-BE49-F238E27FC236}">
                  <a16:creationId xmlns:a16="http://schemas.microsoft.com/office/drawing/2014/main" id="{ED7B89B2-9ECA-4D34-9F9C-9B78B0157127}"/>
                </a:ext>
              </a:extLst>
            </p:cNvPr>
            <p:cNvGrpSpPr>
              <a:grpSpLocks noChangeAspect="1"/>
            </p:cNvGrpSpPr>
            <p:nvPr/>
          </p:nvGrpSpPr>
          <p:grpSpPr>
            <a:xfrm>
              <a:off x="9810360" y="4542982"/>
              <a:ext cx="544815" cy="544327"/>
              <a:chOff x="8993477" y="2449672"/>
              <a:chExt cx="1573200" cy="1571789"/>
            </a:xfrm>
            <a:effectLst>
              <a:outerShdw blurRad="355600" dist="190500" dir="2700000" algn="tl" rotWithShape="0">
                <a:prstClr val="black">
                  <a:alpha val="40000"/>
                </a:prstClr>
              </a:outerShdw>
            </a:effectLst>
          </p:grpSpPr>
          <p:sp>
            <p:nvSpPr>
              <p:cNvPr id="342" name="Freeform 8">
                <a:extLst>
                  <a:ext uri="{FF2B5EF4-FFF2-40B4-BE49-F238E27FC236}">
                    <a16:creationId xmlns:a16="http://schemas.microsoft.com/office/drawing/2014/main" id="{BAABEAFF-C7DC-4C8B-AFF3-25FA13FD4AE7}"/>
                  </a:ext>
                </a:extLst>
              </p:cNvPr>
              <p:cNvSpPr>
                <a:spLocks noChangeAspect="1"/>
              </p:cNvSpPr>
              <p:nvPr/>
            </p:nvSpPr>
            <p:spPr>
              <a:xfrm rot="1136491">
                <a:off x="8993477" y="2449672"/>
                <a:ext cx="1573200" cy="1571789"/>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343" name="Freeform 8">
                <a:extLst>
                  <a:ext uri="{FF2B5EF4-FFF2-40B4-BE49-F238E27FC236}">
                    <a16:creationId xmlns:a16="http://schemas.microsoft.com/office/drawing/2014/main" id="{516D0761-A15F-48A3-A3E9-D7A6E6E563ED}"/>
                  </a:ext>
                </a:extLst>
              </p:cNvPr>
              <p:cNvSpPr>
                <a:spLocks noChangeAspect="1"/>
              </p:cNvSpPr>
              <p:nvPr/>
            </p:nvSpPr>
            <p:spPr>
              <a:xfrm>
                <a:off x="9189091" y="2645112"/>
                <a:ext cx="1181967" cy="1180911"/>
              </a:xfrm>
              <a:prstGeom prst="ellipse">
                <a:avLst/>
              </a:prstGeom>
              <a:gradFill flip="none" rotWithShape="1">
                <a:gsLst>
                  <a:gs pos="0">
                    <a:schemeClr val="bg1">
                      <a:lumMod val="85000"/>
                    </a:schemeClr>
                  </a:gs>
                  <a:gs pos="50000">
                    <a:schemeClr val="bg1">
                      <a:lumMod val="95000"/>
                    </a:schemeClr>
                  </a:gs>
                  <a:gs pos="100000">
                    <a:schemeClr val="bg1"/>
                  </a:gs>
                </a:gsLst>
                <a:lin ang="2700000" scaled="1"/>
                <a:tileRect/>
              </a:gra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Neue Haas Grotesk Text Pro" panose="020B0504020202020204" pitchFamily="34" charset="0"/>
                  </a:rPr>
                  <a:t>05</a:t>
                </a:r>
              </a:p>
            </p:txBody>
          </p:sp>
        </p:grpSp>
      </p:grpSp>
      <p:grpSp>
        <p:nvGrpSpPr>
          <p:cNvPr id="27" name="Group 26">
            <a:extLst>
              <a:ext uri="{FF2B5EF4-FFF2-40B4-BE49-F238E27FC236}">
                <a16:creationId xmlns:a16="http://schemas.microsoft.com/office/drawing/2014/main" id="{431F4C6D-5F26-4AD4-B481-5B998292F3D3}"/>
              </a:ext>
            </a:extLst>
          </p:cNvPr>
          <p:cNvGrpSpPr/>
          <p:nvPr/>
        </p:nvGrpSpPr>
        <p:grpSpPr>
          <a:xfrm>
            <a:off x="8681001" y="1204420"/>
            <a:ext cx="3179889" cy="1746474"/>
            <a:chOff x="8659854" y="1101543"/>
            <a:chExt cx="3179889" cy="1746474"/>
          </a:xfrm>
        </p:grpSpPr>
        <p:sp>
          <p:nvSpPr>
            <p:cNvPr id="344" name="TextBox 343">
              <a:extLst>
                <a:ext uri="{FF2B5EF4-FFF2-40B4-BE49-F238E27FC236}">
                  <a16:creationId xmlns:a16="http://schemas.microsoft.com/office/drawing/2014/main" id="{75CC1C64-19EC-4E0F-9E06-0EFE14FB751B}"/>
                </a:ext>
              </a:extLst>
            </p:cNvPr>
            <p:cNvSpPr txBox="1"/>
            <p:nvPr/>
          </p:nvSpPr>
          <p:spPr>
            <a:xfrm>
              <a:off x="8659854" y="1101543"/>
              <a:ext cx="3175200" cy="584775"/>
            </a:xfrm>
            <a:prstGeom prst="rect">
              <a:avLst/>
            </a:prstGeom>
            <a:solidFill>
              <a:srgbClr val="132E5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err="1">
                  <a:ln>
                    <a:noFill/>
                  </a:ln>
                  <a:solidFill>
                    <a:schemeClr val="bg1"/>
                  </a:solidFill>
                  <a:effectLst/>
                  <a:uLnTx/>
                  <a:uFillTx/>
                  <a:latin typeface="Neue Haas Grotesk Text Pro" panose="020B0504020202020204" pitchFamily="34" charset="0"/>
                </a:rPr>
                <a:t>Individual</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 Stock Dashboard </a:t>
              </a:r>
              <a:r>
                <a:rPr lang="fr-FR" sz="1600" b="1" err="1">
                  <a:solidFill>
                    <a:schemeClr val="bg1"/>
                  </a:solidFill>
                  <a:latin typeface="Neue Haas Grotesk Text Pro" panose="020B0504020202020204" pitchFamily="34" charset="0"/>
                </a:rPr>
                <a:t>with</a:t>
              </a:r>
              <a:r>
                <a:rPr lang="fr-FR" sz="1600" b="1">
                  <a:solidFill>
                    <a:schemeClr val="bg1"/>
                  </a:solidFill>
                  <a:latin typeface="Neue Haas Grotesk Text Pro" panose="020B0504020202020204" pitchFamily="34" charset="0"/>
                </a:rPr>
                <a:t> Condensed </a:t>
              </a:r>
              <a:r>
                <a:rPr kumimoji="0" lang="fr-FR" sz="1600" b="1" i="0" u="none" strike="noStrike" kern="1200" cap="none" spc="0" normalizeH="0" baseline="0" noProof="0">
                  <a:ln>
                    <a:noFill/>
                  </a:ln>
                  <a:solidFill>
                    <a:schemeClr val="bg1"/>
                  </a:solidFill>
                  <a:effectLst/>
                  <a:uLnTx/>
                  <a:uFillTx/>
                  <a:latin typeface="Neue Haas Grotesk Text Pro" panose="020B0504020202020204" pitchFamily="34" charset="0"/>
                </a:rPr>
                <a:t>Data</a:t>
              </a:r>
            </a:p>
          </p:txBody>
        </p:sp>
        <p:sp>
          <p:nvSpPr>
            <p:cNvPr id="3" name="TextBox 2">
              <a:extLst>
                <a:ext uri="{FF2B5EF4-FFF2-40B4-BE49-F238E27FC236}">
                  <a16:creationId xmlns:a16="http://schemas.microsoft.com/office/drawing/2014/main" id="{45541063-81A0-4F49-97AB-BA4229076F38}"/>
                </a:ext>
              </a:extLst>
            </p:cNvPr>
            <p:cNvSpPr txBox="1"/>
            <p:nvPr/>
          </p:nvSpPr>
          <p:spPr>
            <a:xfrm>
              <a:off x="8664543" y="1678466"/>
              <a:ext cx="3175200" cy="1169551"/>
            </a:xfrm>
            <a:prstGeom prst="rect">
              <a:avLst/>
            </a:prstGeom>
            <a:solidFill>
              <a:schemeClr val="bg1">
                <a:lumMod val="95000"/>
              </a:schemeClr>
            </a:solid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400" err="1">
                  <a:latin typeface="Neue Haas Grotesk Text Pro" panose="020B0504020202020204" pitchFamily="34" charset="0"/>
                </a:rPr>
                <a:t>Besides</a:t>
              </a:r>
              <a:r>
                <a:rPr lang="fr-FR" sz="1400">
                  <a:latin typeface="Neue Haas Grotesk Text Pro" panose="020B0504020202020204" pitchFamily="34" charset="0"/>
                </a:rPr>
                <a:t> </a:t>
              </a:r>
              <a:r>
                <a:rPr lang="fr-FR" sz="1400" err="1">
                  <a:latin typeface="Neue Haas Grotesk Text Pro" panose="020B0504020202020204" pitchFamily="34" charset="0"/>
                </a:rPr>
                <a:t>quality</a:t>
              </a:r>
              <a:r>
                <a:rPr lang="fr-FR" sz="1400">
                  <a:latin typeface="Neue Haas Grotesk Text Pro" panose="020B0504020202020204" pitchFamily="34" charset="0"/>
                </a:rPr>
                <a:t> score, </a:t>
              </a:r>
              <a:r>
                <a:rPr lang="fr-FR" sz="1400" err="1">
                  <a:latin typeface="Neue Haas Grotesk Text Pro" panose="020B0504020202020204" pitchFamily="34" charset="0"/>
                </a:rPr>
                <a:t>dashboard</a:t>
              </a:r>
              <a:r>
                <a:rPr lang="fr-FR" sz="1400">
                  <a:latin typeface="Neue Haas Grotesk Text Pro" panose="020B0504020202020204" pitchFamily="34" charset="0"/>
                </a:rPr>
                <a:t> </a:t>
              </a:r>
              <a:r>
                <a:rPr lang="fr-FR" sz="1400" err="1">
                  <a:latin typeface="Neue Haas Grotesk Text Pro" panose="020B0504020202020204" pitchFamily="34" charset="0"/>
                </a:rPr>
                <a:t>incorporates</a:t>
              </a:r>
              <a:r>
                <a:rPr lang="fr-FR" sz="1400">
                  <a:latin typeface="Neue Haas Grotesk Text Pro" panose="020B0504020202020204" pitchFamily="34" charset="0"/>
                </a:rPr>
                <a:t> </a:t>
              </a:r>
              <a:r>
                <a:rPr lang="fr-FR" sz="1400" err="1">
                  <a:latin typeface="Neue Haas Grotesk Text Pro" panose="020B0504020202020204" pitchFamily="34" charset="0"/>
                </a:rPr>
                <a:t>valuable</a:t>
              </a:r>
              <a:r>
                <a:rPr lang="fr-FR" sz="1400">
                  <a:latin typeface="Neue Haas Grotesk Text Pro" panose="020B0504020202020204" pitchFamily="34" charset="0"/>
                </a:rPr>
                <a:t> </a:t>
              </a:r>
              <a:r>
                <a:rPr lang="fr-FR" sz="1400" err="1">
                  <a:latin typeface="Neue Haas Grotesk Text Pro" panose="020B0504020202020204" pitchFamily="34" charset="0"/>
                </a:rPr>
                <a:t>proprietary</a:t>
              </a:r>
              <a:r>
                <a:rPr lang="fr-FR" sz="1400">
                  <a:latin typeface="Neue Haas Grotesk Text Pro" panose="020B0504020202020204" pitchFamily="34" charset="0"/>
                </a:rPr>
                <a:t> </a:t>
              </a:r>
              <a:r>
                <a:rPr lang="fr-FR" sz="1400" err="1">
                  <a:latin typeface="Neue Haas Grotesk Text Pro" panose="020B0504020202020204" pitchFamily="34" charset="0"/>
                </a:rPr>
                <a:t>features</a:t>
              </a:r>
              <a:r>
                <a:rPr lang="fr-FR" sz="1400">
                  <a:latin typeface="Neue Haas Grotesk Text Pro" panose="020B0504020202020204" pitchFamily="34" charset="0"/>
                </a:rPr>
                <a:t> like a short </a:t>
              </a:r>
              <a:r>
                <a:rPr lang="fr-FR" sz="1400" err="1">
                  <a:latin typeface="Neue Haas Grotesk Text Pro" panose="020B0504020202020204" pitchFamily="34" charset="0"/>
                </a:rPr>
                <a:t>term</a:t>
              </a:r>
              <a:r>
                <a:rPr lang="fr-FR" sz="1400">
                  <a:latin typeface="Neue Haas Grotesk Text Pro" panose="020B0504020202020204" pitchFamily="34" charset="0"/>
                </a:rPr>
                <a:t> social media sentiment </a:t>
              </a:r>
              <a:r>
                <a:rPr lang="fr-FR" sz="1400" err="1">
                  <a:latin typeface="Neue Haas Grotesk Text Pro" panose="020B0504020202020204" pitchFamily="34" charset="0"/>
                </a:rPr>
                <a:t>indicator</a:t>
              </a:r>
              <a:endParaRPr kumimoji="0" lang="fr-FR" sz="1400" i="0" u="none" strike="noStrike" kern="1200" cap="none" spc="0" normalizeH="0" baseline="0" noProof="0">
                <a:ln>
                  <a:noFill/>
                </a:ln>
                <a:effectLst/>
                <a:uLnTx/>
                <a:uFillTx/>
                <a:latin typeface="Neue Haas Grotesk Text Pro" panose="020B0504020202020204" pitchFamily="34" charset="0"/>
              </a:endParaRPr>
            </a:p>
          </p:txBody>
        </p:sp>
      </p:grpSp>
      <p:sp>
        <p:nvSpPr>
          <p:cNvPr id="4" name="Text Placeholder 52">
            <a:extLst>
              <a:ext uri="{FF2B5EF4-FFF2-40B4-BE49-F238E27FC236}">
                <a16:creationId xmlns:a16="http://schemas.microsoft.com/office/drawing/2014/main" id="{D5D1CAC3-F1BF-4A98-B7FE-E669484A4205}"/>
              </a:ext>
            </a:extLst>
          </p:cNvPr>
          <p:cNvSpPr txBox="1">
            <a:spLocks/>
          </p:cNvSpPr>
          <p:nvPr/>
        </p:nvSpPr>
        <p:spPr>
          <a:xfrm>
            <a:off x="339725" y="687138"/>
            <a:ext cx="11512550" cy="281519"/>
          </a:xfrm>
          <a:prstGeom prst="rect">
            <a:avLst/>
          </a:prstGeom>
          <a:noFill/>
          <a:ln>
            <a:solidFill>
              <a:schemeClr val="tx1"/>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latin typeface="Neue Haas Grotesk Text Pro" panose="020B0504020202020204" pitchFamily="34" charset="0"/>
              </a:rPr>
              <a:t>Our objective is to make the process of financial planning more seamless and lower the informational barriers that exist in investing.</a:t>
            </a:r>
            <a:r>
              <a:rPr lang="en-SG" sz="1400">
                <a:latin typeface="Neue Haas Grotesk Text Pro" panose="020B0504020202020204" pitchFamily="34" charset="0"/>
              </a:rPr>
              <a:t> </a:t>
            </a:r>
          </a:p>
        </p:txBody>
      </p:sp>
    </p:spTree>
    <p:extLst>
      <p:ext uri="{BB962C8B-B14F-4D97-AF65-F5344CB8AC3E}">
        <p14:creationId xmlns:p14="http://schemas.microsoft.com/office/powerpoint/2010/main" val="1532740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FAD1817-7DDE-46E3-AF55-B5FDA0603925}"/>
              </a:ext>
            </a:extLst>
          </p:cNvPr>
          <p:cNvGrpSpPr/>
          <p:nvPr/>
        </p:nvGrpSpPr>
        <p:grpSpPr>
          <a:xfrm>
            <a:off x="208390" y="4160536"/>
            <a:ext cx="5892797" cy="1104522"/>
            <a:chOff x="144248" y="4143028"/>
            <a:chExt cx="5892797" cy="1104522"/>
          </a:xfrm>
        </p:grpSpPr>
        <p:graphicFrame>
          <p:nvGraphicFramePr>
            <p:cNvPr id="13" name="Chart 12">
              <a:extLst>
                <a:ext uri="{FF2B5EF4-FFF2-40B4-BE49-F238E27FC236}">
                  <a16:creationId xmlns:a16="http://schemas.microsoft.com/office/drawing/2014/main" id="{9E6A7C1C-F827-4A3F-8892-1B14A45D4768}"/>
                </a:ext>
              </a:extLst>
            </p:cNvPr>
            <p:cNvGraphicFramePr/>
            <p:nvPr/>
          </p:nvGraphicFramePr>
          <p:xfrm>
            <a:off x="144248" y="4143028"/>
            <a:ext cx="1058849" cy="11045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902B82A-2F68-45C8-9D5C-577D98DA0569}"/>
                </a:ext>
              </a:extLst>
            </p:cNvPr>
            <p:cNvGraphicFramePr/>
            <p:nvPr/>
          </p:nvGraphicFramePr>
          <p:xfrm>
            <a:off x="1275214" y="4143028"/>
            <a:ext cx="1058849" cy="11045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A12D9793-36D6-4F52-9AC6-CE3957B1CF8B}"/>
                </a:ext>
              </a:extLst>
            </p:cNvPr>
            <p:cNvGraphicFramePr/>
            <p:nvPr/>
          </p:nvGraphicFramePr>
          <p:xfrm>
            <a:off x="2461207" y="4143028"/>
            <a:ext cx="1058849" cy="11045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2D35BF55-A0DF-44FE-AC2E-FDAD8B5BA261}"/>
                </a:ext>
              </a:extLst>
            </p:cNvPr>
            <p:cNvGraphicFramePr/>
            <p:nvPr/>
          </p:nvGraphicFramePr>
          <p:xfrm>
            <a:off x="3719317" y="4143028"/>
            <a:ext cx="1058849" cy="11045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a:extLst>
                <a:ext uri="{FF2B5EF4-FFF2-40B4-BE49-F238E27FC236}">
                  <a16:creationId xmlns:a16="http://schemas.microsoft.com/office/drawing/2014/main" id="{DF1979EE-5C75-4CD0-9EDF-528B8B1ADCC1}"/>
                </a:ext>
              </a:extLst>
            </p:cNvPr>
            <p:cNvGraphicFramePr/>
            <p:nvPr/>
          </p:nvGraphicFramePr>
          <p:xfrm>
            <a:off x="4978196" y="4143028"/>
            <a:ext cx="1058849" cy="1104522"/>
          </p:xfrm>
          <a:graphic>
            <a:graphicData uri="http://schemas.openxmlformats.org/drawingml/2006/chart">
              <c:chart xmlns:c="http://schemas.openxmlformats.org/drawingml/2006/chart" xmlns:r="http://schemas.openxmlformats.org/officeDocument/2006/relationships" r:id="rId7"/>
            </a:graphicData>
          </a:graphic>
        </p:graphicFrame>
      </p:grpSp>
      <p:sp>
        <p:nvSpPr>
          <p:cNvPr id="64" name="Text Placeholder 49">
            <a:extLst>
              <a:ext uri="{FF2B5EF4-FFF2-40B4-BE49-F238E27FC236}">
                <a16:creationId xmlns:a16="http://schemas.microsoft.com/office/drawing/2014/main" id="{7D160B25-CE0C-471D-8CEA-8A97BB469531}"/>
              </a:ext>
            </a:extLst>
          </p:cNvPr>
          <p:cNvSpPr txBox="1">
            <a:spLocks/>
          </p:cNvSpPr>
          <p:nvPr/>
        </p:nvSpPr>
        <p:spPr>
          <a:xfrm>
            <a:off x="339724" y="1078300"/>
            <a:ext cx="5756276" cy="307575"/>
          </a:xfrm>
          <a:prstGeom prst="rect">
            <a:avLst/>
          </a:prstGeom>
          <a:solidFill>
            <a:srgbClr val="132E57"/>
          </a:solidFill>
          <a:ln w="6350">
            <a:solidFill>
              <a:schemeClr val="bg2">
                <a:lumMod val="90000"/>
              </a:schemeClr>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600" b="1">
                <a:latin typeface="Neue Haas Grotesk Text Pro" panose="020B0504020202020204" pitchFamily="34" charset="0"/>
              </a:rPr>
              <a:t>Risk Assessment</a:t>
            </a:r>
          </a:p>
        </p:txBody>
      </p:sp>
      <p:sp>
        <p:nvSpPr>
          <p:cNvPr id="54" name="Text Placeholder 53">
            <a:extLst>
              <a:ext uri="{FF2B5EF4-FFF2-40B4-BE49-F238E27FC236}">
                <a16:creationId xmlns:a16="http://schemas.microsoft.com/office/drawing/2014/main" id="{42C0E500-EE80-48B2-9E04-63B079303EB5}"/>
              </a:ext>
            </a:extLst>
          </p:cNvPr>
          <p:cNvSpPr>
            <a:spLocks noGrp="1"/>
          </p:cNvSpPr>
          <p:nvPr>
            <p:ph type="body" sz="quarter" idx="16"/>
          </p:nvPr>
        </p:nvSpPr>
        <p:spPr>
          <a:xfrm>
            <a:off x="353379" y="1410761"/>
            <a:ext cx="5602822" cy="500335"/>
          </a:xfrm>
        </p:spPr>
        <p:txBody>
          <a:bodyPr/>
          <a:lstStyle/>
          <a:p>
            <a:r>
              <a:rPr lang="en-US" sz="1500" kern="0">
                <a:solidFill>
                  <a:prstClr val="black"/>
                </a:solidFill>
                <a:latin typeface="Neue Haas Grotesk Text Pro" panose="020B0504020202020204" pitchFamily="34" charset="0"/>
              </a:rPr>
              <a:t>Understanding risk tolerance is essential for investment success</a:t>
            </a:r>
          </a:p>
          <a:p>
            <a:r>
              <a:rPr lang="en-US" sz="1500" kern="0">
                <a:solidFill>
                  <a:prstClr val="black"/>
                </a:solidFill>
                <a:latin typeface="Neue Haas Grotesk Text Pro" panose="020B0504020202020204" pitchFamily="34" charset="0"/>
              </a:rPr>
              <a:t>Key factors include: </a:t>
            </a:r>
          </a:p>
          <a:p>
            <a:endParaRPr lang="en-SG" sz="1400">
              <a:latin typeface="Neue Haas Grotesk Text Pro" panose="020B0504020202020204" pitchFamily="34" charset="0"/>
            </a:endParaRPr>
          </a:p>
        </p:txBody>
      </p:sp>
      <p:sp>
        <p:nvSpPr>
          <p:cNvPr id="55" name="Text Placeholder 54">
            <a:extLst>
              <a:ext uri="{FF2B5EF4-FFF2-40B4-BE49-F238E27FC236}">
                <a16:creationId xmlns:a16="http://schemas.microsoft.com/office/drawing/2014/main" id="{2F096B56-E480-4A7F-96AF-1F39195F2B3B}"/>
              </a:ext>
            </a:extLst>
          </p:cNvPr>
          <p:cNvSpPr>
            <a:spLocks noGrp="1"/>
          </p:cNvSpPr>
          <p:nvPr>
            <p:ph type="body" sz="quarter" idx="17"/>
          </p:nvPr>
        </p:nvSpPr>
        <p:spPr>
          <a:xfrm>
            <a:off x="6181724" y="4254340"/>
            <a:ext cx="5662637" cy="538706"/>
          </a:xfrm>
        </p:spPr>
        <p:txBody>
          <a:bodyPr/>
          <a:lstStyle/>
          <a:p>
            <a:pPr algn="just"/>
            <a:r>
              <a:rPr lang="en-SG" sz="1500">
                <a:latin typeface="Neue Haas Grotesk Text Pro" panose="020B0504020202020204" pitchFamily="34" charset="0"/>
              </a:rPr>
              <a:t>Based on these figures, we compute an estimate of the  </a:t>
            </a:r>
            <a:r>
              <a:rPr lang="en-SG" sz="1500" b="1">
                <a:latin typeface="Neue Haas Grotesk Text Pro" panose="020B0504020202020204" pitchFamily="34" charset="0"/>
              </a:rPr>
              <a:t>monthly deposit needed </a:t>
            </a:r>
            <a:r>
              <a:rPr lang="en-SG" sz="1500">
                <a:latin typeface="Neue Haas Grotesk Text Pro" panose="020B0504020202020204" pitchFamily="34" charset="0"/>
              </a:rPr>
              <a:t>to achieve their target retirement</a:t>
            </a:r>
          </a:p>
          <a:p>
            <a:pPr algn="just"/>
            <a:endParaRPr lang="en-SG" sz="1400">
              <a:latin typeface="Neue Haas Grotesk Text Pro" panose="020B0504020202020204" pitchFamily="34" charset="0"/>
            </a:endParaRPr>
          </a:p>
        </p:txBody>
      </p:sp>
      <p:sp>
        <p:nvSpPr>
          <p:cNvPr id="6" name="Slide Number Placeholder 5">
            <a:extLst>
              <a:ext uri="{FF2B5EF4-FFF2-40B4-BE49-F238E27FC236}">
                <a16:creationId xmlns:a16="http://schemas.microsoft.com/office/drawing/2014/main" id="{8A5EFBE0-BC2C-407A-8FEB-9EB5BE00E03B}"/>
              </a:ext>
            </a:extLst>
          </p:cNvPr>
          <p:cNvSpPr>
            <a:spLocks noGrp="1"/>
          </p:cNvSpPr>
          <p:nvPr>
            <p:ph type="sldNum" sz="quarter" idx="4"/>
          </p:nvPr>
        </p:nvSpPr>
        <p:spPr/>
        <p:txBody>
          <a:bodyPr/>
          <a:lstStyle/>
          <a:p>
            <a:fld id="{F5D0115F-629B-413B-A4C8-7182E324E1C4}" type="slidenum">
              <a:rPr lang="en-SG" smtClean="0">
                <a:latin typeface="Neue Haas Grotesk Text Pro" panose="020B0504020202020204" pitchFamily="34" charset="0"/>
              </a:rPr>
              <a:pPr/>
              <a:t>2</a:t>
            </a:fld>
            <a:endParaRPr lang="en-SG">
              <a:latin typeface="Neue Haas Grotesk Text Pro" panose="020B0504020202020204" pitchFamily="34" charset="0"/>
            </a:endParaRPr>
          </a:p>
        </p:txBody>
      </p:sp>
      <p:sp>
        <p:nvSpPr>
          <p:cNvPr id="11" name="Title 10">
            <a:extLst>
              <a:ext uri="{FF2B5EF4-FFF2-40B4-BE49-F238E27FC236}">
                <a16:creationId xmlns:a16="http://schemas.microsoft.com/office/drawing/2014/main" id="{C8DB44CD-FB56-40FF-9E18-BE1BD7482590}"/>
              </a:ext>
            </a:extLst>
          </p:cNvPr>
          <p:cNvSpPr>
            <a:spLocks noGrp="1"/>
          </p:cNvSpPr>
          <p:nvPr>
            <p:ph type="title"/>
          </p:nvPr>
        </p:nvSpPr>
        <p:spPr/>
        <p:txBody>
          <a:bodyPr/>
          <a:lstStyle/>
          <a:p>
            <a:r>
              <a:rPr lang="en-SG">
                <a:latin typeface="Neue Haas Grotesk Text Pro" panose="020B0504020202020204" pitchFamily="34" charset="0"/>
              </a:rPr>
              <a:t>Detailed Analysis of Solution</a:t>
            </a:r>
          </a:p>
        </p:txBody>
      </p:sp>
      <p:sp>
        <p:nvSpPr>
          <p:cNvPr id="58" name="Text Placeholder 57">
            <a:extLst>
              <a:ext uri="{FF2B5EF4-FFF2-40B4-BE49-F238E27FC236}">
                <a16:creationId xmlns:a16="http://schemas.microsoft.com/office/drawing/2014/main" id="{6311259B-3418-482A-A614-B39782348F1F}"/>
              </a:ext>
            </a:extLst>
          </p:cNvPr>
          <p:cNvSpPr>
            <a:spLocks noGrp="1"/>
          </p:cNvSpPr>
          <p:nvPr>
            <p:ph type="body" sz="quarter" idx="20"/>
          </p:nvPr>
        </p:nvSpPr>
        <p:spPr>
          <a:xfrm>
            <a:off x="6268860" y="1070517"/>
            <a:ext cx="5583238" cy="317000"/>
          </a:xfrm>
          <a:solidFill>
            <a:srgbClr val="132E57"/>
          </a:solidFill>
        </p:spPr>
        <p:txBody>
          <a:bodyPr/>
          <a:lstStyle/>
          <a:p>
            <a:r>
              <a:rPr lang="en-SG" sz="1600" b="1">
                <a:latin typeface="Neue Haas Grotesk Text Pro" panose="020B0504020202020204" pitchFamily="34" charset="0"/>
              </a:rPr>
              <a:t>Retirement Plan and Expected Contributions</a:t>
            </a:r>
          </a:p>
        </p:txBody>
      </p:sp>
      <p:pic>
        <p:nvPicPr>
          <p:cNvPr id="43" name="Picture 42">
            <a:extLst>
              <a:ext uri="{FF2B5EF4-FFF2-40B4-BE49-F238E27FC236}">
                <a16:creationId xmlns:a16="http://schemas.microsoft.com/office/drawing/2014/main" id="{11A95CBD-FF4C-465E-9E76-CD2BADB6CD60}"/>
              </a:ext>
            </a:extLst>
          </p:cNvPr>
          <p:cNvPicPr>
            <a:picLocks noChangeAspect="1"/>
          </p:cNvPicPr>
          <p:nvPr/>
        </p:nvPicPr>
        <p:blipFill>
          <a:blip r:embed="rId8"/>
          <a:stretch>
            <a:fillRect/>
          </a:stretch>
        </p:blipFill>
        <p:spPr>
          <a:xfrm>
            <a:off x="12219866" y="4512494"/>
            <a:ext cx="2758300" cy="1649360"/>
          </a:xfrm>
          <a:prstGeom prst="rect">
            <a:avLst/>
          </a:prstGeom>
        </p:spPr>
      </p:pic>
      <p:pic>
        <p:nvPicPr>
          <p:cNvPr id="47" name="Picture 46">
            <a:extLst>
              <a:ext uri="{FF2B5EF4-FFF2-40B4-BE49-F238E27FC236}">
                <a16:creationId xmlns:a16="http://schemas.microsoft.com/office/drawing/2014/main" id="{E6BEC597-8A8B-4EA6-B278-C5114831CE17}"/>
              </a:ext>
            </a:extLst>
          </p:cNvPr>
          <p:cNvPicPr>
            <a:picLocks noChangeAspect="1"/>
          </p:cNvPicPr>
          <p:nvPr/>
        </p:nvPicPr>
        <p:blipFill>
          <a:blip r:embed="rId9"/>
          <a:stretch>
            <a:fillRect/>
          </a:stretch>
        </p:blipFill>
        <p:spPr>
          <a:xfrm>
            <a:off x="12326627" y="1780238"/>
            <a:ext cx="2030818" cy="1171408"/>
          </a:xfrm>
          <a:prstGeom prst="rect">
            <a:avLst/>
          </a:prstGeom>
        </p:spPr>
      </p:pic>
      <p:sp>
        <p:nvSpPr>
          <p:cNvPr id="14" name="Text Placeholder 53">
            <a:extLst>
              <a:ext uri="{FF2B5EF4-FFF2-40B4-BE49-F238E27FC236}">
                <a16:creationId xmlns:a16="http://schemas.microsoft.com/office/drawing/2014/main" id="{D8AD005C-F299-4B71-8AF9-CD6FC61D1387}"/>
              </a:ext>
            </a:extLst>
          </p:cNvPr>
          <p:cNvSpPr txBox="1">
            <a:spLocks/>
          </p:cNvSpPr>
          <p:nvPr/>
        </p:nvSpPr>
        <p:spPr>
          <a:xfrm>
            <a:off x="334963" y="3953245"/>
            <a:ext cx="5616575" cy="3776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SG" sz="1400">
              <a:latin typeface="Neue Haas Grotesk Text Pro" panose="020B0504020202020204" pitchFamily="34" charset="0"/>
            </a:endParaRPr>
          </a:p>
        </p:txBody>
      </p:sp>
      <p:sp>
        <p:nvSpPr>
          <p:cNvPr id="2" name="Rectangle 1">
            <a:extLst>
              <a:ext uri="{FF2B5EF4-FFF2-40B4-BE49-F238E27FC236}">
                <a16:creationId xmlns:a16="http://schemas.microsoft.com/office/drawing/2014/main" id="{7C6CA18A-864E-4B8B-866B-7512BCE797BD}"/>
              </a:ext>
            </a:extLst>
          </p:cNvPr>
          <p:cNvSpPr/>
          <p:nvPr/>
        </p:nvSpPr>
        <p:spPr>
          <a:xfrm>
            <a:off x="2424696" y="3169601"/>
            <a:ext cx="1460186" cy="50033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a:solidFill>
                  <a:schemeClr val="tx1"/>
                </a:solidFill>
                <a:latin typeface="Neue Haas Grotesk Text Pro" panose="020B0504020202020204" pitchFamily="34" charset="0"/>
              </a:rPr>
              <a:t>Ability to Endure Losses</a:t>
            </a:r>
          </a:p>
        </p:txBody>
      </p:sp>
      <p:sp>
        <p:nvSpPr>
          <p:cNvPr id="4" name="Rectangle 3">
            <a:extLst>
              <a:ext uri="{FF2B5EF4-FFF2-40B4-BE49-F238E27FC236}">
                <a16:creationId xmlns:a16="http://schemas.microsoft.com/office/drawing/2014/main" id="{989A19A2-CB4C-4781-A344-C7E1B3B8DF86}"/>
              </a:ext>
            </a:extLst>
          </p:cNvPr>
          <p:cNvSpPr/>
          <p:nvPr/>
        </p:nvSpPr>
        <p:spPr>
          <a:xfrm>
            <a:off x="353379" y="3170947"/>
            <a:ext cx="1460185" cy="50033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a:solidFill>
                  <a:schemeClr val="tx1"/>
                </a:solidFill>
                <a:latin typeface="Neue Haas Grotesk Text Pro" panose="020B0504020202020204" pitchFamily="34" charset="0"/>
              </a:rPr>
              <a:t>Years to Withdrawal </a:t>
            </a:r>
          </a:p>
        </p:txBody>
      </p:sp>
      <p:sp>
        <p:nvSpPr>
          <p:cNvPr id="26" name="Rectangle 25">
            <a:extLst>
              <a:ext uri="{FF2B5EF4-FFF2-40B4-BE49-F238E27FC236}">
                <a16:creationId xmlns:a16="http://schemas.microsoft.com/office/drawing/2014/main" id="{4E187C70-4A03-4F80-9044-8DC78F957028}"/>
              </a:ext>
            </a:extLst>
          </p:cNvPr>
          <p:cNvSpPr/>
          <p:nvPr/>
        </p:nvSpPr>
        <p:spPr>
          <a:xfrm>
            <a:off x="4496015" y="3165307"/>
            <a:ext cx="1460186" cy="50033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a:solidFill>
                  <a:schemeClr val="tx1"/>
                </a:solidFill>
                <a:latin typeface="Neue Haas Grotesk Text Pro" panose="020B0504020202020204" pitchFamily="34" charset="0"/>
              </a:rPr>
              <a:t>Aversion to Losses</a:t>
            </a:r>
          </a:p>
        </p:txBody>
      </p:sp>
      <p:sp>
        <p:nvSpPr>
          <p:cNvPr id="21" name="Rectangle 20">
            <a:extLst>
              <a:ext uri="{FF2B5EF4-FFF2-40B4-BE49-F238E27FC236}">
                <a16:creationId xmlns:a16="http://schemas.microsoft.com/office/drawing/2014/main" id="{51EB8B8B-DD06-4D8A-9F70-6C62B766AA75}"/>
              </a:ext>
            </a:extLst>
          </p:cNvPr>
          <p:cNvSpPr/>
          <p:nvPr/>
        </p:nvSpPr>
        <p:spPr>
          <a:xfrm>
            <a:off x="336160" y="5443368"/>
            <a:ext cx="2089174" cy="25901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SG" sz="1200" b="1">
                <a:solidFill>
                  <a:schemeClr val="tx1"/>
                </a:solidFill>
                <a:latin typeface="Neue Haas Grotesk Text Pro" panose="020B0504020202020204" pitchFamily="34" charset="0"/>
              </a:rPr>
              <a:t>100% Bond Allocation</a:t>
            </a:r>
          </a:p>
        </p:txBody>
      </p:sp>
      <p:sp>
        <p:nvSpPr>
          <p:cNvPr id="22" name="Rectangle 21">
            <a:extLst>
              <a:ext uri="{FF2B5EF4-FFF2-40B4-BE49-F238E27FC236}">
                <a16:creationId xmlns:a16="http://schemas.microsoft.com/office/drawing/2014/main" id="{762DE48A-6513-4FDC-845B-3C139B381CB4}"/>
              </a:ext>
            </a:extLst>
          </p:cNvPr>
          <p:cNvSpPr/>
          <p:nvPr/>
        </p:nvSpPr>
        <p:spPr>
          <a:xfrm>
            <a:off x="3892520" y="5443368"/>
            <a:ext cx="2089174" cy="25901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SG" sz="1200" b="1">
                <a:solidFill>
                  <a:schemeClr val="tx1"/>
                </a:solidFill>
                <a:latin typeface="Neue Haas Grotesk Text Pro" panose="020B0504020202020204" pitchFamily="34" charset="0"/>
              </a:rPr>
              <a:t>100% Stock Allocation</a:t>
            </a:r>
          </a:p>
        </p:txBody>
      </p:sp>
      <p:cxnSp>
        <p:nvCxnSpPr>
          <p:cNvPr id="28" name="Straight Arrow Connector 27">
            <a:extLst>
              <a:ext uri="{FF2B5EF4-FFF2-40B4-BE49-F238E27FC236}">
                <a16:creationId xmlns:a16="http://schemas.microsoft.com/office/drawing/2014/main" id="{D75D8B61-4E4A-49B5-81F8-1A10A48D5877}"/>
              </a:ext>
            </a:extLst>
          </p:cNvPr>
          <p:cNvCxnSpPr>
            <a:cxnSpLocks/>
          </p:cNvCxnSpPr>
          <p:nvPr/>
        </p:nvCxnSpPr>
        <p:spPr>
          <a:xfrm>
            <a:off x="3065924" y="5241124"/>
            <a:ext cx="0" cy="63003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B1B2F1A3-6FB3-477C-A02B-C12210511111}"/>
              </a:ext>
            </a:extLst>
          </p:cNvPr>
          <p:cNvSpPr/>
          <p:nvPr/>
        </p:nvSpPr>
        <p:spPr>
          <a:xfrm>
            <a:off x="371475" y="5871162"/>
            <a:ext cx="5633159" cy="547206"/>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Neue Haas Grotesk Text Pro" panose="020B0504020202020204" pitchFamily="34" charset="0"/>
              </a:rPr>
              <a:t>Reduces the chance of premature withdrawal and subpar returns</a:t>
            </a:r>
          </a:p>
        </p:txBody>
      </p:sp>
      <p:sp>
        <p:nvSpPr>
          <p:cNvPr id="49" name="Text Placeholder 54">
            <a:extLst>
              <a:ext uri="{FF2B5EF4-FFF2-40B4-BE49-F238E27FC236}">
                <a16:creationId xmlns:a16="http://schemas.microsoft.com/office/drawing/2014/main" id="{626F4D6D-FC1F-4A15-8FDA-F710894E7256}"/>
              </a:ext>
            </a:extLst>
          </p:cNvPr>
          <p:cNvSpPr txBox="1">
            <a:spLocks/>
          </p:cNvSpPr>
          <p:nvPr/>
        </p:nvSpPr>
        <p:spPr>
          <a:xfrm>
            <a:off x="6244985" y="1410761"/>
            <a:ext cx="5662637" cy="5003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Users are asked to estimate their expected expenditure in retirement </a:t>
            </a:r>
          </a:p>
          <a:p>
            <a:pPr algn="just"/>
            <a:r>
              <a:rPr lang="en-SG" sz="1500">
                <a:latin typeface="Neue Haas Grotesk Text Pro" panose="020B0504020202020204" pitchFamily="34" charset="0"/>
              </a:rPr>
              <a:t>Expected returns are estimated based on historical returns and volatility of the various asset classes</a:t>
            </a:r>
          </a:p>
        </p:txBody>
      </p:sp>
      <p:graphicFrame>
        <p:nvGraphicFramePr>
          <p:cNvPr id="51" name="Chart 50">
            <a:extLst>
              <a:ext uri="{FF2B5EF4-FFF2-40B4-BE49-F238E27FC236}">
                <a16:creationId xmlns:a16="http://schemas.microsoft.com/office/drawing/2014/main" id="{30159AFE-188B-4E31-9BD4-9A9BC7BC0959}"/>
              </a:ext>
            </a:extLst>
          </p:cNvPr>
          <p:cNvGraphicFramePr>
            <a:graphicFrameLocks/>
          </p:cNvGraphicFramePr>
          <p:nvPr/>
        </p:nvGraphicFramePr>
        <p:xfrm>
          <a:off x="6291392" y="2350744"/>
          <a:ext cx="5547228" cy="908939"/>
        </p:xfrm>
        <a:graphic>
          <a:graphicData uri="http://schemas.openxmlformats.org/drawingml/2006/chart">
            <c:chart xmlns:c="http://schemas.openxmlformats.org/drawingml/2006/chart" xmlns:r="http://schemas.openxmlformats.org/officeDocument/2006/relationships" r:id="rId10"/>
          </a:graphicData>
        </a:graphic>
      </p:graphicFrame>
      <p:sp>
        <p:nvSpPr>
          <p:cNvPr id="33" name="Rectangle 32">
            <a:extLst>
              <a:ext uri="{FF2B5EF4-FFF2-40B4-BE49-F238E27FC236}">
                <a16:creationId xmlns:a16="http://schemas.microsoft.com/office/drawing/2014/main" id="{3F0D1733-995C-4129-9B7B-C3B280D9C107}"/>
              </a:ext>
            </a:extLst>
          </p:cNvPr>
          <p:cNvSpPr/>
          <p:nvPr/>
        </p:nvSpPr>
        <p:spPr>
          <a:xfrm>
            <a:off x="6268860" y="3198669"/>
            <a:ext cx="5638761" cy="32800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b="1">
                <a:solidFill>
                  <a:schemeClr val="tx1"/>
                </a:solidFill>
                <a:latin typeface="Neue Haas Grotesk Text Pro" panose="020B0504020202020204" pitchFamily="34" charset="0"/>
              </a:rPr>
              <a:t>Based on Historical Returns and Volatility</a:t>
            </a:r>
          </a:p>
        </p:txBody>
      </p:sp>
      <p:grpSp>
        <p:nvGrpSpPr>
          <p:cNvPr id="1028" name="Group 1027">
            <a:extLst>
              <a:ext uri="{FF2B5EF4-FFF2-40B4-BE49-F238E27FC236}">
                <a16:creationId xmlns:a16="http://schemas.microsoft.com/office/drawing/2014/main" id="{715A563C-F0FC-4ED7-BC32-EAB81A2EC6AC}"/>
              </a:ext>
            </a:extLst>
          </p:cNvPr>
          <p:cNvGrpSpPr/>
          <p:nvPr/>
        </p:nvGrpSpPr>
        <p:grpSpPr>
          <a:xfrm>
            <a:off x="6240464" y="3616591"/>
            <a:ext cx="5667157" cy="514786"/>
            <a:chOff x="7311032" y="2032438"/>
            <a:chExt cx="5667157" cy="514786"/>
          </a:xfrm>
          <a:solidFill>
            <a:schemeClr val="tx2"/>
          </a:solidFill>
        </p:grpSpPr>
        <p:sp>
          <p:nvSpPr>
            <p:cNvPr id="42" name="Rectangle 41">
              <a:extLst>
                <a:ext uri="{FF2B5EF4-FFF2-40B4-BE49-F238E27FC236}">
                  <a16:creationId xmlns:a16="http://schemas.microsoft.com/office/drawing/2014/main" id="{0A6CC176-C66A-4D21-AA55-D02A3B6DC3D0}"/>
                </a:ext>
              </a:extLst>
            </p:cNvPr>
            <p:cNvSpPr/>
            <p:nvPr/>
          </p:nvSpPr>
          <p:spPr>
            <a:xfrm>
              <a:off x="7311032" y="2046888"/>
              <a:ext cx="2647058" cy="50033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a:solidFill>
                    <a:schemeClr val="bg1"/>
                  </a:solidFill>
                  <a:latin typeface="Neue Haas Grotesk Text Pro" panose="020B0504020202020204" pitchFamily="34" charset="0"/>
                </a:rPr>
                <a:t>Stocks 80Y CAGR: +7.24%</a:t>
              </a:r>
            </a:p>
            <a:p>
              <a:pPr algn="ctr"/>
              <a:r>
                <a:rPr lang="en-SG" sz="1400">
                  <a:solidFill>
                    <a:schemeClr val="bg1"/>
                  </a:solidFill>
                  <a:latin typeface="Neue Haas Grotesk Text Pro" panose="020B0504020202020204" pitchFamily="34" charset="0"/>
                </a:rPr>
                <a:t>Stocks Yearly Vol: 15.61%</a:t>
              </a:r>
            </a:p>
          </p:txBody>
        </p:sp>
        <p:sp>
          <p:nvSpPr>
            <p:cNvPr id="44" name="Rectangle 43">
              <a:extLst>
                <a:ext uri="{FF2B5EF4-FFF2-40B4-BE49-F238E27FC236}">
                  <a16:creationId xmlns:a16="http://schemas.microsoft.com/office/drawing/2014/main" id="{B0ED1A54-EC4E-4E39-8A18-7FDD26A590D1}"/>
                </a:ext>
              </a:extLst>
            </p:cNvPr>
            <p:cNvSpPr/>
            <p:nvPr/>
          </p:nvSpPr>
          <p:spPr>
            <a:xfrm>
              <a:off x="10331130" y="2032438"/>
              <a:ext cx="2647059" cy="50033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400">
                  <a:solidFill>
                    <a:schemeClr val="bg1"/>
                  </a:solidFill>
                  <a:latin typeface="Neue Haas Grotesk Text Pro" panose="020B0504020202020204" pitchFamily="34" charset="0"/>
                </a:rPr>
                <a:t>Current Savings Bond Yield: 0.95%</a:t>
              </a:r>
            </a:p>
          </p:txBody>
        </p:sp>
      </p:grpSp>
      <p:graphicFrame>
        <p:nvGraphicFramePr>
          <p:cNvPr id="1046" name="Chart 1045">
            <a:extLst>
              <a:ext uri="{FF2B5EF4-FFF2-40B4-BE49-F238E27FC236}">
                <a16:creationId xmlns:a16="http://schemas.microsoft.com/office/drawing/2014/main" id="{166CD5F9-E5BC-44EB-9E0E-97C37375B86B}"/>
              </a:ext>
            </a:extLst>
          </p:cNvPr>
          <p:cNvGraphicFramePr/>
          <p:nvPr/>
        </p:nvGraphicFramePr>
        <p:xfrm>
          <a:off x="6230536" y="4889131"/>
          <a:ext cx="4835154" cy="975335"/>
        </p:xfrm>
        <a:graphic>
          <a:graphicData uri="http://schemas.openxmlformats.org/drawingml/2006/chart">
            <c:chart xmlns:c="http://schemas.openxmlformats.org/drawingml/2006/chart" xmlns:r="http://schemas.openxmlformats.org/officeDocument/2006/relationships" r:id="rId11"/>
          </a:graphicData>
        </a:graphic>
      </p:graphicFrame>
      <p:grpSp>
        <p:nvGrpSpPr>
          <p:cNvPr id="1050" name="Group 1049">
            <a:extLst>
              <a:ext uri="{FF2B5EF4-FFF2-40B4-BE49-F238E27FC236}">
                <a16:creationId xmlns:a16="http://schemas.microsoft.com/office/drawing/2014/main" id="{4A36406D-1142-466F-8353-A13CB3D99FB6}"/>
              </a:ext>
            </a:extLst>
          </p:cNvPr>
          <p:cNvGrpSpPr/>
          <p:nvPr/>
        </p:nvGrpSpPr>
        <p:grpSpPr>
          <a:xfrm>
            <a:off x="10795207" y="4828598"/>
            <a:ext cx="1178503" cy="508576"/>
            <a:chOff x="10794721" y="4919880"/>
            <a:chExt cx="1178503" cy="508576"/>
          </a:xfrm>
        </p:grpSpPr>
        <p:sp>
          <p:nvSpPr>
            <p:cNvPr id="1047" name="Rectangle 1046">
              <a:extLst>
                <a:ext uri="{FF2B5EF4-FFF2-40B4-BE49-F238E27FC236}">
                  <a16:creationId xmlns:a16="http://schemas.microsoft.com/office/drawing/2014/main" id="{65E927A3-D771-435D-A09C-182074A98E4A}"/>
                </a:ext>
              </a:extLst>
            </p:cNvPr>
            <p:cNvSpPr/>
            <p:nvPr/>
          </p:nvSpPr>
          <p:spPr>
            <a:xfrm>
              <a:off x="10794721" y="4919880"/>
              <a:ext cx="1178503" cy="16105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000" b="1">
                  <a:solidFill>
                    <a:schemeClr val="bg1"/>
                  </a:solidFill>
                  <a:latin typeface="Neue Haas Grotesk Text Pro" panose="020B0504020202020204" pitchFamily="34" charset="0"/>
                </a:rPr>
                <a:t>Best Case</a:t>
              </a:r>
            </a:p>
          </p:txBody>
        </p:sp>
        <p:sp>
          <p:nvSpPr>
            <p:cNvPr id="1048" name="Rectangle 1047">
              <a:extLst>
                <a:ext uri="{FF2B5EF4-FFF2-40B4-BE49-F238E27FC236}">
                  <a16:creationId xmlns:a16="http://schemas.microsoft.com/office/drawing/2014/main" id="{C9E47270-2675-46C9-BE08-9BCB59CAACE9}"/>
                </a:ext>
              </a:extLst>
            </p:cNvPr>
            <p:cNvSpPr/>
            <p:nvPr/>
          </p:nvSpPr>
          <p:spPr>
            <a:xfrm>
              <a:off x="10794721" y="5093640"/>
              <a:ext cx="1178503" cy="161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000" b="1">
                  <a:solidFill>
                    <a:schemeClr val="bg1"/>
                  </a:solidFill>
                  <a:latin typeface="Neue Haas Grotesk Text Pro" panose="020B0504020202020204" pitchFamily="34" charset="0"/>
                </a:rPr>
                <a:t>Base Case</a:t>
              </a:r>
            </a:p>
          </p:txBody>
        </p:sp>
        <p:sp>
          <p:nvSpPr>
            <p:cNvPr id="1049" name="Rectangle 1048">
              <a:extLst>
                <a:ext uri="{FF2B5EF4-FFF2-40B4-BE49-F238E27FC236}">
                  <a16:creationId xmlns:a16="http://schemas.microsoft.com/office/drawing/2014/main" id="{BB674CAB-EEE5-4C04-A745-5D169DDCB303}"/>
                </a:ext>
              </a:extLst>
            </p:cNvPr>
            <p:cNvSpPr/>
            <p:nvPr/>
          </p:nvSpPr>
          <p:spPr>
            <a:xfrm>
              <a:off x="10794721" y="5267401"/>
              <a:ext cx="1178503" cy="1610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1000" b="1">
                  <a:solidFill>
                    <a:schemeClr val="bg1"/>
                  </a:solidFill>
                  <a:latin typeface="Neue Haas Grotesk Text Pro" panose="020B0504020202020204" pitchFamily="34" charset="0"/>
                </a:rPr>
                <a:t>Worst Case</a:t>
              </a:r>
            </a:p>
          </p:txBody>
        </p:sp>
      </p:grpSp>
      <p:sp>
        <p:nvSpPr>
          <p:cNvPr id="94" name="Text Placeholder 54">
            <a:extLst>
              <a:ext uri="{FF2B5EF4-FFF2-40B4-BE49-F238E27FC236}">
                <a16:creationId xmlns:a16="http://schemas.microsoft.com/office/drawing/2014/main" id="{ED4EC341-C737-473B-94BE-98C1B608DFF2}"/>
              </a:ext>
            </a:extLst>
          </p:cNvPr>
          <p:cNvSpPr txBox="1">
            <a:spLocks/>
          </p:cNvSpPr>
          <p:nvPr/>
        </p:nvSpPr>
        <p:spPr>
          <a:xfrm>
            <a:off x="6096001" y="5871162"/>
            <a:ext cx="5742620" cy="5387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Using historical returns and volatility as a benchmark, we propose a range of possible returns with 80% confidence</a:t>
            </a:r>
          </a:p>
          <a:p>
            <a:pPr algn="just"/>
            <a:endParaRPr lang="en-SG" sz="1400">
              <a:latin typeface="Neue Haas Grotesk Text Pro" panose="020B0504020202020204" pitchFamily="34" charset="0"/>
            </a:endParaRPr>
          </a:p>
        </p:txBody>
      </p:sp>
      <p:sp>
        <p:nvSpPr>
          <p:cNvPr id="23" name="Text Placeholder 49">
            <a:extLst>
              <a:ext uri="{FF2B5EF4-FFF2-40B4-BE49-F238E27FC236}">
                <a16:creationId xmlns:a16="http://schemas.microsoft.com/office/drawing/2014/main" id="{C2A50ACB-8425-42EB-B6CF-6D96BBC72B61}"/>
              </a:ext>
            </a:extLst>
          </p:cNvPr>
          <p:cNvSpPr txBox="1">
            <a:spLocks/>
          </p:cNvSpPr>
          <p:nvPr/>
        </p:nvSpPr>
        <p:spPr>
          <a:xfrm>
            <a:off x="339724" y="3752851"/>
            <a:ext cx="5611814" cy="303396"/>
          </a:xfrm>
          <a:prstGeom prst="rect">
            <a:avLst/>
          </a:prstGeom>
          <a:solidFill>
            <a:srgbClr val="132E57"/>
          </a:solidFill>
          <a:ln w="6350">
            <a:solidFill>
              <a:schemeClr val="bg2">
                <a:lumMod val="90000"/>
              </a:schemeClr>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a:latin typeface="Neue Haas Grotesk Text Pro" panose="020B0504020202020204" pitchFamily="34" charset="0"/>
              </a:rPr>
              <a:t>% Allocation Depends On Risk Assessment Results </a:t>
            </a:r>
          </a:p>
        </p:txBody>
      </p:sp>
      <p:pic>
        <p:nvPicPr>
          <p:cNvPr id="25" name="Graphic 24" descr="{&quot;Key&quot;:&quot;POWER_USER_SHAPE_ICON&quot;,&quot;Value&quot;:&quot;POWER_USER_SHAPE_ICON_STYLE_1&quot;}">
            <a:extLst>
              <a:ext uri="{FF2B5EF4-FFF2-40B4-BE49-F238E27FC236}">
                <a16:creationId xmlns:a16="http://schemas.microsoft.com/office/drawing/2014/main" id="{ED292E59-55DD-448D-BFCD-BDEFF7589F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2471" y="2314760"/>
            <a:ext cx="762000" cy="762000"/>
          </a:xfrm>
          <a:prstGeom prst="rect">
            <a:avLst/>
          </a:prstGeom>
        </p:spPr>
      </p:pic>
      <p:pic>
        <p:nvPicPr>
          <p:cNvPr id="29" name="Graphic 28" descr="{&quot;Key&quot;:&quot;POWER_USER_SHAPE_ICON&quot;,&quot;Value&quot;:&quot;POWER_USER_SHAPE_ICON_STYLE_1&quot;}">
            <a:extLst>
              <a:ext uri="{FF2B5EF4-FFF2-40B4-BE49-F238E27FC236}">
                <a16:creationId xmlns:a16="http://schemas.microsoft.com/office/drawing/2014/main" id="{57A36F53-A9E3-4F0F-8088-C8322FF4661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78120" y="2355011"/>
            <a:ext cx="762000" cy="762000"/>
          </a:xfrm>
          <a:prstGeom prst="rect">
            <a:avLst/>
          </a:prstGeom>
        </p:spPr>
      </p:pic>
      <p:pic>
        <p:nvPicPr>
          <p:cNvPr id="31" name="Graphic 30" descr="{&quot;Key&quot;:&quot;POWER_USER_SHAPE_ICON&quot;,&quot;Value&quot;:&quot;POWER_USER_SHAPE_ICON_STYLE_1&quot;}">
            <a:extLst>
              <a:ext uri="{FF2B5EF4-FFF2-40B4-BE49-F238E27FC236}">
                <a16:creationId xmlns:a16="http://schemas.microsoft.com/office/drawing/2014/main" id="{D580CD96-4897-41F4-9FB1-719DF6B9BAD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853768" y="2355011"/>
            <a:ext cx="744681" cy="762000"/>
          </a:xfrm>
          <a:prstGeom prst="rect">
            <a:avLst/>
          </a:prstGeom>
        </p:spPr>
      </p:pic>
      <p:sp>
        <p:nvSpPr>
          <p:cNvPr id="45" name="Text Placeholder 52">
            <a:extLst>
              <a:ext uri="{FF2B5EF4-FFF2-40B4-BE49-F238E27FC236}">
                <a16:creationId xmlns:a16="http://schemas.microsoft.com/office/drawing/2014/main" id="{996EFD95-2DD6-47BB-AFEA-9E819FEC7C09}"/>
              </a:ext>
            </a:extLst>
          </p:cNvPr>
          <p:cNvSpPr txBox="1">
            <a:spLocks/>
          </p:cNvSpPr>
          <p:nvPr/>
        </p:nvSpPr>
        <p:spPr>
          <a:xfrm>
            <a:off x="339725" y="687138"/>
            <a:ext cx="11512550" cy="281519"/>
          </a:xfrm>
          <a:prstGeom prst="rect">
            <a:avLst/>
          </a:prstGeom>
          <a:noFill/>
          <a:ln>
            <a:solidFill>
              <a:schemeClr val="tx1"/>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SG" sz="1400">
                <a:latin typeface="Neue Haas Grotesk Text Pro" panose="020B0504020202020204" pitchFamily="34" charset="0"/>
              </a:rPr>
              <a:t>The system automatically calculates expected monthly contributions based on the risk assessment survey and retirement plan inputs.</a:t>
            </a:r>
          </a:p>
        </p:txBody>
      </p:sp>
      <p:grpSp>
        <p:nvGrpSpPr>
          <p:cNvPr id="46" name="Group 45">
            <a:extLst>
              <a:ext uri="{FF2B5EF4-FFF2-40B4-BE49-F238E27FC236}">
                <a16:creationId xmlns:a16="http://schemas.microsoft.com/office/drawing/2014/main" id="{507D1021-1872-4AF2-8C36-3F025B0B718E}"/>
              </a:ext>
            </a:extLst>
          </p:cNvPr>
          <p:cNvGrpSpPr/>
          <p:nvPr/>
        </p:nvGrpSpPr>
        <p:grpSpPr>
          <a:xfrm>
            <a:off x="5497295" y="991904"/>
            <a:ext cx="694589" cy="522903"/>
            <a:chOff x="6782904" y="1074327"/>
            <a:chExt cx="694589" cy="373305"/>
          </a:xfrm>
        </p:grpSpPr>
        <p:sp>
          <p:nvSpPr>
            <p:cNvPr id="48" name="Parallelogram 47">
              <a:extLst>
                <a:ext uri="{FF2B5EF4-FFF2-40B4-BE49-F238E27FC236}">
                  <a16:creationId xmlns:a16="http://schemas.microsoft.com/office/drawing/2014/main" id="{60C8533F-4F27-4403-A4E6-5525370934EA}"/>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2" name="TextBox 51">
              <a:extLst>
                <a:ext uri="{FF2B5EF4-FFF2-40B4-BE49-F238E27FC236}">
                  <a16:creationId xmlns:a16="http://schemas.microsoft.com/office/drawing/2014/main" id="{B85F231D-1133-498F-B563-512A3B259997}"/>
                </a:ext>
              </a:extLst>
            </p:cNvPr>
            <p:cNvSpPr txBox="1"/>
            <p:nvPr/>
          </p:nvSpPr>
          <p:spPr>
            <a:xfrm>
              <a:off x="7107936" y="1078300"/>
              <a:ext cx="286512" cy="369332"/>
            </a:xfrm>
            <a:prstGeom prst="rect">
              <a:avLst/>
            </a:prstGeom>
            <a:solidFill>
              <a:schemeClr val="bg1"/>
            </a:solidFill>
          </p:spPr>
          <p:txBody>
            <a:bodyPr wrap="square" rtlCol="0">
              <a:spAutoFit/>
            </a:bodyPr>
            <a:lstStyle/>
            <a:p>
              <a:endParaRPr lang="en-SG"/>
            </a:p>
          </p:txBody>
        </p:sp>
      </p:grpSp>
      <p:grpSp>
        <p:nvGrpSpPr>
          <p:cNvPr id="56" name="Group 55">
            <a:extLst>
              <a:ext uri="{FF2B5EF4-FFF2-40B4-BE49-F238E27FC236}">
                <a16:creationId xmlns:a16="http://schemas.microsoft.com/office/drawing/2014/main" id="{8CD2D920-79E1-45E6-9D46-3F80F9812474}"/>
              </a:ext>
            </a:extLst>
          </p:cNvPr>
          <p:cNvGrpSpPr/>
          <p:nvPr/>
        </p:nvGrpSpPr>
        <p:grpSpPr>
          <a:xfrm>
            <a:off x="5487135" y="3738216"/>
            <a:ext cx="694589" cy="373305"/>
            <a:chOff x="6782904" y="1074327"/>
            <a:chExt cx="694589" cy="373305"/>
          </a:xfrm>
        </p:grpSpPr>
        <p:sp>
          <p:nvSpPr>
            <p:cNvPr id="57" name="Parallelogram 56">
              <a:extLst>
                <a:ext uri="{FF2B5EF4-FFF2-40B4-BE49-F238E27FC236}">
                  <a16:creationId xmlns:a16="http://schemas.microsoft.com/office/drawing/2014/main" id="{7B176E47-A818-4F6D-870E-0BD6F4FC39B3}"/>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9" name="TextBox 58">
              <a:extLst>
                <a:ext uri="{FF2B5EF4-FFF2-40B4-BE49-F238E27FC236}">
                  <a16:creationId xmlns:a16="http://schemas.microsoft.com/office/drawing/2014/main" id="{4439A4D9-4471-459D-B2B2-F3BF9D04749D}"/>
                </a:ext>
              </a:extLst>
            </p:cNvPr>
            <p:cNvSpPr txBox="1"/>
            <p:nvPr/>
          </p:nvSpPr>
          <p:spPr>
            <a:xfrm>
              <a:off x="7107936" y="1078300"/>
              <a:ext cx="286512" cy="369332"/>
            </a:xfrm>
            <a:prstGeom prst="rect">
              <a:avLst/>
            </a:prstGeom>
            <a:solidFill>
              <a:schemeClr val="bg1"/>
            </a:solidFill>
          </p:spPr>
          <p:txBody>
            <a:bodyPr wrap="square" rtlCol="0">
              <a:spAutoFit/>
            </a:bodyPr>
            <a:lstStyle/>
            <a:p>
              <a:endParaRPr lang="en-SG"/>
            </a:p>
          </p:txBody>
        </p:sp>
      </p:grpSp>
      <p:grpSp>
        <p:nvGrpSpPr>
          <p:cNvPr id="60" name="Group 59">
            <a:extLst>
              <a:ext uri="{FF2B5EF4-FFF2-40B4-BE49-F238E27FC236}">
                <a16:creationId xmlns:a16="http://schemas.microsoft.com/office/drawing/2014/main" id="{41572A3E-DD43-47E8-A75E-C24885927820}"/>
              </a:ext>
            </a:extLst>
          </p:cNvPr>
          <p:cNvGrpSpPr/>
          <p:nvPr/>
        </p:nvGrpSpPr>
        <p:grpSpPr>
          <a:xfrm>
            <a:off x="11384458" y="991904"/>
            <a:ext cx="694589" cy="450730"/>
            <a:chOff x="6782904" y="1074327"/>
            <a:chExt cx="694589" cy="321780"/>
          </a:xfrm>
        </p:grpSpPr>
        <p:sp>
          <p:nvSpPr>
            <p:cNvPr id="61" name="Parallelogram 60">
              <a:extLst>
                <a:ext uri="{FF2B5EF4-FFF2-40B4-BE49-F238E27FC236}">
                  <a16:creationId xmlns:a16="http://schemas.microsoft.com/office/drawing/2014/main" id="{09C72A74-C51A-43C6-96F3-D0AA3D94C942}"/>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2" name="TextBox 61">
              <a:extLst>
                <a:ext uri="{FF2B5EF4-FFF2-40B4-BE49-F238E27FC236}">
                  <a16:creationId xmlns:a16="http://schemas.microsoft.com/office/drawing/2014/main" id="{F376A16F-FB3C-4912-8C2D-EA1296E5CA52}"/>
                </a:ext>
              </a:extLst>
            </p:cNvPr>
            <p:cNvSpPr txBox="1"/>
            <p:nvPr/>
          </p:nvSpPr>
          <p:spPr>
            <a:xfrm>
              <a:off x="7107936" y="1078300"/>
              <a:ext cx="286512" cy="317807"/>
            </a:xfrm>
            <a:prstGeom prst="rect">
              <a:avLst/>
            </a:prstGeom>
            <a:solidFill>
              <a:schemeClr val="bg1"/>
            </a:solidFill>
          </p:spPr>
          <p:txBody>
            <a:bodyPr wrap="square" rtlCol="0">
              <a:noAutofit/>
            </a:bodyPr>
            <a:lstStyle/>
            <a:p>
              <a:endParaRPr lang="en-SG"/>
            </a:p>
          </p:txBody>
        </p:sp>
      </p:grpSp>
      <p:grpSp>
        <p:nvGrpSpPr>
          <p:cNvPr id="30" name="Group 29">
            <a:extLst>
              <a:ext uri="{FF2B5EF4-FFF2-40B4-BE49-F238E27FC236}">
                <a16:creationId xmlns:a16="http://schemas.microsoft.com/office/drawing/2014/main" id="{146D4314-8DC6-4245-8699-A4B69FCCE0B3}"/>
              </a:ext>
            </a:extLst>
          </p:cNvPr>
          <p:cNvGrpSpPr/>
          <p:nvPr/>
        </p:nvGrpSpPr>
        <p:grpSpPr>
          <a:xfrm>
            <a:off x="339725" y="5116288"/>
            <a:ext cx="5664909" cy="280716"/>
            <a:chOff x="339725" y="5972044"/>
            <a:chExt cx="5664909" cy="280716"/>
          </a:xfrm>
        </p:grpSpPr>
        <p:pic>
          <p:nvPicPr>
            <p:cNvPr id="20" name="Picture 19">
              <a:extLst>
                <a:ext uri="{FF2B5EF4-FFF2-40B4-BE49-F238E27FC236}">
                  <a16:creationId xmlns:a16="http://schemas.microsoft.com/office/drawing/2014/main" id="{F6DE9930-A93C-4FD0-9313-C74D8CF36072}"/>
                </a:ext>
              </a:extLst>
            </p:cNvPr>
            <p:cNvPicPr>
              <a:picLocks noChangeAspect="1"/>
            </p:cNvPicPr>
            <p:nvPr/>
          </p:nvPicPr>
          <p:blipFill rotWithShape="1">
            <a:blip r:embed="rId18"/>
            <a:srcRect l="47945" t="-18065"/>
            <a:stretch/>
          </p:blipFill>
          <p:spPr>
            <a:xfrm>
              <a:off x="3065924" y="5972044"/>
              <a:ext cx="2938710" cy="280716"/>
            </a:xfrm>
            <a:prstGeom prst="rect">
              <a:avLst/>
            </a:prstGeom>
          </p:spPr>
        </p:pic>
        <p:pic>
          <p:nvPicPr>
            <p:cNvPr id="27" name="Picture 26">
              <a:extLst>
                <a:ext uri="{FF2B5EF4-FFF2-40B4-BE49-F238E27FC236}">
                  <a16:creationId xmlns:a16="http://schemas.microsoft.com/office/drawing/2014/main" id="{D0D2D4C8-8CBE-47F3-A9EA-593C86F306A3}"/>
                </a:ext>
              </a:extLst>
            </p:cNvPr>
            <p:cNvPicPr>
              <a:picLocks noChangeAspect="1"/>
            </p:cNvPicPr>
            <p:nvPr/>
          </p:nvPicPr>
          <p:blipFill rotWithShape="1">
            <a:blip r:embed="rId19"/>
            <a:srcRect r="51709"/>
            <a:stretch/>
          </p:blipFill>
          <p:spPr>
            <a:xfrm>
              <a:off x="339725" y="6014995"/>
              <a:ext cx="2726200" cy="237765"/>
            </a:xfrm>
            <a:prstGeom prst="rect">
              <a:avLst/>
            </a:prstGeom>
          </p:spPr>
        </p:pic>
      </p:grpSp>
      <p:sp>
        <p:nvSpPr>
          <p:cNvPr id="34" name="TextBox 33">
            <a:extLst>
              <a:ext uri="{FF2B5EF4-FFF2-40B4-BE49-F238E27FC236}">
                <a16:creationId xmlns:a16="http://schemas.microsoft.com/office/drawing/2014/main" id="{B17927CE-8A00-470A-9D11-4B44C93EF319}"/>
              </a:ext>
            </a:extLst>
          </p:cNvPr>
          <p:cNvSpPr txBox="1"/>
          <p:nvPr/>
        </p:nvSpPr>
        <p:spPr>
          <a:xfrm>
            <a:off x="10824908" y="5513596"/>
            <a:ext cx="694792" cy="246221"/>
          </a:xfrm>
          <a:prstGeom prst="rect">
            <a:avLst/>
          </a:prstGeom>
          <a:noFill/>
        </p:spPr>
        <p:txBody>
          <a:bodyPr wrap="square" rtlCol="0">
            <a:spAutoFit/>
          </a:bodyPr>
          <a:lstStyle/>
          <a:p>
            <a:r>
              <a:rPr lang="en-SG" sz="1000" b="1" i="1">
                <a:latin typeface="Neue Haas Grotesk Text Pro" panose="020B0504020202020204" pitchFamily="34" charset="0"/>
              </a:rPr>
              <a:t>Years</a:t>
            </a:r>
          </a:p>
        </p:txBody>
      </p:sp>
    </p:spTree>
    <p:extLst>
      <p:ext uri="{BB962C8B-B14F-4D97-AF65-F5344CB8AC3E}">
        <p14:creationId xmlns:p14="http://schemas.microsoft.com/office/powerpoint/2010/main" val="1220708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A5EFBE0-BC2C-407A-8FEB-9EB5BE00E03B}"/>
              </a:ext>
            </a:extLst>
          </p:cNvPr>
          <p:cNvSpPr>
            <a:spLocks noGrp="1"/>
          </p:cNvSpPr>
          <p:nvPr>
            <p:ph type="sldNum" sz="quarter" idx="4"/>
          </p:nvPr>
        </p:nvSpPr>
        <p:spPr/>
        <p:txBody>
          <a:bodyPr/>
          <a:lstStyle/>
          <a:p>
            <a:fld id="{F5D0115F-629B-413B-A4C8-7182E324E1C4}" type="slidenum">
              <a:rPr lang="en-SG" smtClean="0">
                <a:latin typeface="Neue Haas Grotesk Text Pro" panose="020B0504020202020204" pitchFamily="34" charset="0"/>
              </a:rPr>
              <a:pPr/>
              <a:t>3</a:t>
            </a:fld>
            <a:endParaRPr lang="en-SG">
              <a:latin typeface="Neue Haas Grotesk Text Pro" panose="020B0504020202020204" pitchFamily="34" charset="0"/>
            </a:endParaRPr>
          </a:p>
        </p:txBody>
      </p:sp>
      <p:sp>
        <p:nvSpPr>
          <p:cNvPr id="11" name="Title 10">
            <a:extLst>
              <a:ext uri="{FF2B5EF4-FFF2-40B4-BE49-F238E27FC236}">
                <a16:creationId xmlns:a16="http://schemas.microsoft.com/office/drawing/2014/main" id="{C8DB44CD-FB56-40FF-9E18-BE1BD7482590}"/>
              </a:ext>
            </a:extLst>
          </p:cNvPr>
          <p:cNvSpPr>
            <a:spLocks noGrp="1"/>
          </p:cNvSpPr>
          <p:nvPr>
            <p:ph type="title"/>
          </p:nvPr>
        </p:nvSpPr>
        <p:spPr/>
        <p:txBody>
          <a:bodyPr/>
          <a:lstStyle/>
          <a:p>
            <a:r>
              <a:rPr lang="en-SG">
                <a:latin typeface="Neue Haas Grotesk Text Pro" panose="020B0504020202020204" pitchFamily="34" charset="0"/>
              </a:rPr>
              <a:t>Detailed Analysis of Solution (cont.)</a:t>
            </a:r>
          </a:p>
        </p:txBody>
      </p:sp>
      <p:sp>
        <p:nvSpPr>
          <p:cNvPr id="50" name="Text Placeholder 49">
            <a:extLst>
              <a:ext uri="{FF2B5EF4-FFF2-40B4-BE49-F238E27FC236}">
                <a16:creationId xmlns:a16="http://schemas.microsoft.com/office/drawing/2014/main" id="{AE1B8606-8003-4C85-BAEC-6595E7A37145}"/>
              </a:ext>
            </a:extLst>
          </p:cNvPr>
          <p:cNvSpPr>
            <a:spLocks noGrp="1"/>
          </p:cNvSpPr>
          <p:nvPr>
            <p:ph type="body" sz="quarter" idx="11"/>
          </p:nvPr>
        </p:nvSpPr>
        <p:spPr>
          <a:xfrm>
            <a:off x="339724" y="1078300"/>
            <a:ext cx="6964194" cy="307575"/>
          </a:xfrm>
          <a:solidFill>
            <a:srgbClr val="132E57"/>
          </a:solidFill>
        </p:spPr>
        <p:txBody>
          <a:bodyPr/>
          <a:lstStyle/>
          <a:p>
            <a:r>
              <a:rPr lang="en-SG" sz="1600" b="1">
                <a:latin typeface="Neue Haas Grotesk Text Pro" panose="020B0504020202020204" pitchFamily="34" charset="0"/>
              </a:rPr>
              <a:t>Asset Selection Process</a:t>
            </a:r>
          </a:p>
        </p:txBody>
      </p:sp>
      <p:sp>
        <p:nvSpPr>
          <p:cNvPr id="58" name="Text Placeholder 57">
            <a:extLst>
              <a:ext uri="{FF2B5EF4-FFF2-40B4-BE49-F238E27FC236}">
                <a16:creationId xmlns:a16="http://schemas.microsoft.com/office/drawing/2014/main" id="{6311259B-3418-482A-A614-B39782348F1F}"/>
              </a:ext>
            </a:extLst>
          </p:cNvPr>
          <p:cNvSpPr>
            <a:spLocks noGrp="1"/>
          </p:cNvSpPr>
          <p:nvPr>
            <p:ph type="body" sz="quarter" idx="20"/>
          </p:nvPr>
        </p:nvSpPr>
        <p:spPr>
          <a:xfrm>
            <a:off x="7506586" y="1078300"/>
            <a:ext cx="4351901" cy="297261"/>
          </a:xfrm>
          <a:solidFill>
            <a:srgbClr val="132E57"/>
          </a:solidFill>
        </p:spPr>
        <p:txBody>
          <a:bodyPr/>
          <a:lstStyle/>
          <a:p>
            <a:r>
              <a:rPr lang="en-SG" sz="1600" b="1">
                <a:latin typeface="Neue Haas Grotesk Text Pro" panose="020B0504020202020204" pitchFamily="34" charset="0"/>
              </a:rPr>
              <a:t>Social Media Sentiment Indicator</a:t>
            </a:r>
          </a:p>
        </p:txBody>
      </p:sp>
      <p:sp>
        <p:nvSpPr>
          <p:cNvPr id="53" name="Text Placeholder 52">
            <a:extLst>
              <a:ext uri="{FF2B5EF4-FFF2-40B4-BE49-F238E27FC236}">
                <a16:creationId xmlns:a16="http://schemas.microsoft.com/office/drawing/2014/main" id="{7E379210-2843-4470-824E-80EB620D6485}"/>
              </a:ext>
            </a:extLst>
          </p:cNvPr>
          <p:cNvSpPr>
            <a:spLocks noGrp="1"/>
          </p:cNvSpPr>
          <p:nvPr>
            <p:ph type="body" sz="quarter" idx="15"/>
          </p:nvPr>
        </p:nvSpPr>
        <p:spPr>
          <a:xfrm>
            <a:off x="339725" y="687138"/>
            <a:ext cx="11512550" cy="281519"/>
          </a:xfrm>
        </p:spPr>
        <p:txBody>
          <a:bodyPr/>
          <a:lstStyle/>
          <a:p>
            <a:pPr algn="ctr"/>
            <a:r>
              <a:rPr lang="en-SG" sz="1400">
                <a:latin typeface="Neue Haas Grotesk Text Pro" panose="020B0504020202020204" pitchFamily="34" charset="0"/>
              </a:rPr>
              <a:t>The system then aids users in selecting both bonds and stocks, but most features focus on the aspect of stock selection. </a:t>
            </a:r>
          </a:p>
        </p:txBody>
      </p:sp>
      <p:pic>
        <p:nvPicPr>
          <p:cNvPr id="43" name="Picture 42">
            <a:extLst>
              <a:ext uri="{FF2B5EF4-FFF2-40B4-BE49-F238E27FC236}">
                <a16:creationId xmlns:a16="http://schemas.microsoft.com/office/drawing/2014/main" id="{11A95CBD-FF4C-465E-9E76-CD2BADB6CD60}"/>
              </a:ext>
            </a:extLst>
          </p:cNvPr>
          <p:cNvPicPr>
            <a:picLocks noChangeAspect="1"/>
          </p:cNvPicPr>
          <p:nvPr/>
        </p:nvPicPr>
        <p:blipFill>
          <a:blip r:embed="rId5"/>
          <a:stretch>
            <a:fillRect/>
          </a:stretch>
        </p:blipFill>
        <p:spPr>
          <a:xfrm>
            <a:off x="12219866" y="4512494"/>
            <a:ext cx="2758300" cy="1649360"/>
          </a:xfrm>
          <a:prstGeom prst="rect">
            <a:avLst/>
          </a:prstGeom>
        </p:spPr>
      </p:pic>
      <p:pic>
        <p:nvPicPr>
          <p:cNvPr id="47" name="Picture 46">
            <a:extLst>
              <a:ext uri="{FF2B5EF4-FFF2-40B4-BE49-F238E27FC236}">
                <a16:creationId xmlns:a16="http://schemas.microsoft.com/office/drawing/2014/main" id="{E6BEC597-8A8B-4EA6-B278-C5114831CE17}"/>
              </a:ext>
            </a:extLst>
          </p:cNvPr>
          <p:cNvPicPr>
            <a:picLocks noChangeAspect="1"/>
          </p:cNvPicPr>
          <p:nvPr/>
        </p:nvPicPr>
        <p:blipFill>
          <a:blip r:embed="rId6"/>
          <a:stretch>
            <a:fillRect/>
          </a:stretch>
        </p:blipFill>
        <p:spPr>
          <a:xfrm>
            <a:off x="12326627" y="1780238"/>
            <a:ext cx="2030818" cy="1171408"/>
          </a:xfrm>
          <a:prstGeom prst="rect">
            <a:avLst/>
          </a:prstGeom>
        </p:spPr>
      </p:pic>
      <p:sp>
        <p:nvSpPr>
          <p:cNvPr id="2" name="Text Placeholder 53">
            <a:extLst>
              <a:ext uri="{FF2B5EF4-FFF2-40B4-BE49-F238E27FC236}">
                <a16:creationId xmlns:a16="http://schemas.microsoft.com/office/drawing/2014/main" id="{F0B11BDF-7C78-4080-80D8-9CDFF78E5248}"/>
              </a:ext>
            </a:extLst>
          </p:cNvPr>
          <p:cNvSpPr txBox="1">
            <a:spLocks/>
          </p:cNvSpPr>
          <p:nvPr/>
        </p:nvSpPr>
        <p:spPr>
          <a:xfrm>
            <a:off x="10998710" y="4460612"/>
            <a:ext cx="4351902" cy="125882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SG" sz="1400">
              <a:latin typeface="Neue Haas Grotesk Text Pro" panose="020B0504020202020204" pitchFamily="34" charset="0"/>
            </a:endParaRPr>
          </a:p>
        </p:txBody>
      </p:sp>
      <p:grpSp>
        <p:nvGrpSpPr>
          <p:cNvPr id="171" name="Group 170">
            <a:extLst>
              <a:ext uri="{FF2B5EF4-FFF2-40B4-BE49-F238E27FC236}">
                <a16:creationId xmlns:a16="http://schemas.microsoft.com/office/drawing/2014/main" id="{6DBAAF6C-09F3-4E50-A598-DF5E33914029}"/>
              </a:ext>
            </a:extLst>
          </p:cNvPr>
          <p:cNvGrpSpPr/>
          <p:nvPr/>
        </p:nvGrpSpPr>
        <p:grpSpPr>
          <a:xfrm>
            <a:off x="339724" y="1575148"/>
            <a:ext cx="3211559" cy="1828555"/>
            <a:chOff x="3909863" y="1436615"/>
            <a:chExt cx="3211559" cy="1828555"/>
          </a:xfrm>
        </p:grpSpPr>
        <p:sp>
          <p:nvSpPr>
            <p:cNvPr id="18" name="TextBox 17">
              <a:extLst>
                <a:ext uri="{FF2B5EF4-FFF2-40B4-BE49-F238E27FC236}">
                  <a16:creationId xmlns:a16="http://schemas.microsoft.com/office/drawing/2014/main" id="{3FB306A5-4841-4BDC-A2A6-9000485EA993}"/>
                </a:ext>
              </a:extLst>
            </p:cNvPr>
            <p:cNvSpPr txBox="1"/>
            <p:nvPr/>
          </p:nvSpPr>
          <p:spPr>
            <a:xfrm>
              <a:off x="3909863" y="2126643"/>
              <a:ext cx="1627062" cy="3075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Bonds</a:t>
              </a:r>
            </a:p>
          </p:txBody>
        </p:sp>
        <p:sp>
          <p:nvSpPr>
            <p:cNvPr id="55" name="TextBox 54">
              <a:extLst>
                <a:ext uri="{FF2B5EF4-FFF2-40B4-BE49-F238E27FC236}">
                  <a16:creationId xmlns:a16="http://schemas.microsoft.com/office/drawing/2014/main" id="{8DB60842-93EC-455D-9611-63A9D8EAAED5}"/>
                </a:ext>
              </a:extLst>
            </p:cNvPr>
            <p:cNvSpPr txBox="1"/>
            <p:nvPr/>
          </p:nvSpPr>
          <p:spPr>
            <a:xfrm>
              <a:off x="5494360" y="2126643"/>
              <a:ext cx="162706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effectLst/>
                  <a:uLnTx/>
                  <a:uFillTx/>
                  <a:latin typeface="Neue Haas Grotesk Text Pro" panose="020B0504020202020204" pitchFamily="34" charset="0"/>
                </a:rPr>
                <a:t>Stocks</a:t>
              </a:r>
            </a:p>
          </p:txBody>
        </p:sp>
        <p:grpSp>
          <p:nvGrpSpPr>
            <p:cNvPr id="35" name="Group 34">
              <a:extLst>
                <a:ext uri="{FF2B5EF4-FFF2-40B4-BE49-F238E27FC236}">
                  <a16:creationId xmlns:a16="http://schemas.microsoft.com/office/drawing/2014/main" id="{84C98A58-6B5E-4FE5-B2C0-59CDE1532449}"/>
                </a:ext>
              </a:extLst>
            </p:cNvPr>
            <p:cNvGrpSpPr/>
            <p:nvPr/>
          </p:nvGrpSpPr>
          <p:grpSpPr>
            <a:xfrm>
              <a:off x="4417025" y="1436615"/>
              <a:ext cx="2210385" cy="618347"/>
              <a:chOff x="1999688" y="1762040"/>
              <a:chExt cx="2735738" cy="765310"/>
            </a:xfrm>
          </p:grpSpPr>
          <p:grpSp>
            <p:nvGrpSpPr>
              <p:cNvPr id="63" name="Group 62">
                <a:extLst>
                  <a:ext uri="{FF2B5EF4-FFF2-40B4-BE49-F238E27FC236}">
                    <a16:creationId xmlns:a16="http://schemas.microsoft.com/office/drawing/2014/main" id="{C1CA21E0-82E9-425E-8480-29F6F88C2380}"/>
                  </a:ext>
                </a:extLst>
              </p:cNvPr>
              <p:cNvGrpSpPr/>
              <p:nvPr/>
            </p:nvGrpSpPr>
            <p:grpSpPr>
              <a:xfrm>
                <a:off x="1999688" y="1762040"/>
                <a:ext cx="2735738" cy="765310"/>
                <a:chOff x="3533878" y="4093533"/>
                <a:chExt cx="4126716" cy="1154430"/>
              </a:xfrm>
            </p:grpSpPr>
            <p:sp>
              <p:nvSpPr>
                <p:cNvPr id="64" name="Freeform: Shape 63">
                  <a:extLst>
                    <a:ext uri="{FF2B5EF4-FFF2-40B4-BE49-F238E27FC236}">
                      <a16:creationId xmlns:a16="http://schemas.microsoft.com/office/drawing/2014/main" id="{447C1B19-9500-4381-9E49-5AFD4F8E4678}"/>
                    </a:ext>
                  </a:extLst>
                </p:cNvPr>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nvGrpSpPr>
                <p:cNvPr id="65" name="Group 64">
                  <a:extLst>
                    <a:ext uri="{FF2B5EF4-FFF2-40B4-BE49-F238E27FC236}">
                      <a16:creationId xmlns:a16="http://schemas.microsoft.com/office/drawing/2014/main" id="{4B08B693-9B82-481D-8F6C-A034B001A6DA}"/>
                    </a:ext>
                  </a:extLst>
                </p:cNvPr>
                <p:cNvGrpSpPr/>
                <p:nvPr/>
              </p:nvGrpSpPr>
              <p:grpSpPr>
                <a:xfrm>
                  <a:off x="6554170" y="4093533"/>
                  <a:ext cx="1106424" cy="1106424"/>
                  <a:chOff x="1871333" y="2522497"/>
                  <a:chExt cx="1106424" cy="1106424"/>
                </a:xfrm>
              </p:grpSpPr>
              <p:sp>
                <p:nvSpPr>
                  <p:cNvPr id="69" name="Oval 68">
                    <a:extLst>
                      <a:ext uri="{FF2B5EF4-FFF2-40B4-BE49-F238E27FC236}">
                        <a16:creationId xmlns:a16="http://schemas.microsoft.com/office/drawing/2014/main" id="{A5C2FB54-2E5C-47D6-A77B-E9FB1AB9E97F}"/>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70" name="Oval 69">
                    <a:extLst>
                      <a:ext uri="{FF2B5EF4-FFF2-40B4-BE49-F238E27FC236}">
                        <a16:creationId xmlns:a16="http://schemas.microsoft.com/office/drawing/2014/main" id="{565DC338-12C9-4E8B-8BD0-48633FBBCC27}"/>
                      </a:ext>
                    </a:extLst>
                  </p:cNvPr>
                  <p:cNvSpPr>
                    <a:spLocks noChangeAspect="1"/>
                  </p:cNvSpPr>
                  <p:nvPr/>
                </p:nvSpPr>
                <p:spPr>
                  <a:xfrm>
                    <a:off x="1967346" y="2618510"/>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66" name="Group 65">
                  <a:extLst>
                    <a:ext uri="{FF2B5EF4-FFF2-40B4-BE49-F238E27FC236}">
                      <a16:creationId xmlns:a16="http://schemas.microsoft.com/office/drawing/2014/main" id="{F65BA419-3A4A-4E8E-AE90-BFA0B3A4D2D2}"/>
                    </a:ext>
                  </a:extLst>
                </p:cNvPr>
                <p:cNvGrpSpPr/>
                <p:nvPr/>
              </p:nvGrpSpPr>
              <p:grpSpPr>
                <a:xfrm>
                  <a:off x="3533878" y="4141539"/>
                  <a:ext cx="1106424" cy="1106424"/>
                  <a:chOff x="1871333" y="2522497"/>
                  <a:chExt cx="1106424" cy="1106424"/>
                </a:xfrm>
              </p:grpSpPr>
              <p:sp>
                <p:nvSpPr>
                  <p:cNvPr id="67" name="Oval 66">
                    <a:extLst>
                      <a:ext uri="{FF2B5EF4-FFF2-40B4-BE49-F238E27FC236}">
                        <a16:creationId xmlns:a16="http://schemas.microsoft.com/office/drawing/2014/main" id="{8DE8883D-37F7-445A-9398-121D9C022973}"/>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8" name="Oval 67">
                    <a:extLst>
                      <a:ext uri="{FF2B5EF4-FFF2-40B4-BE49-F238E27FC236}">
                        <a16:creationId xmlns:a16="http://schemas.microsoft.com/office/drawing/2014/main" id="{17568972-F79D-4287-BCD4-F735219D088F}"/>
                      </a:ext>
                    </a:extLst>
                  </p:cNvPr>
                  <p:cNvSpPr>
                    <a:spLocks noChangeAspect="1"/>
                  </p:cNvSpPr>
                  <p:nvPr/>
                </p:nvSpPr>
                <p:spPr>
                  <a:xfrm>
                    <a:off x="1967345" y="2618509"/>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grpSp>
            <p:nvGrpSpPr>
              <p:cNvPr id="25" name="Bank2" descr="{&quot;Key&quot;:&quot;POWER_USER_SHAPE_ICON&quot;,&quot;Value&quot;:&quot;POWER_USER_SHAPE_ICON_STYLE_1&quot;}">
                <a:extLst>
                  <a:ext uri="{FF2B5EF4-FFF2-40B4-BE49-F238E27FC236}">
                    <a16:creationId xmlns:a16="http://schemas.microsoft.com/office/drawing/2014/main" id="{1DAD82DA-EF5D-44B4-A8C4-C9009700B4AF}"/>
                  </a:ext>
                </a:extLst>
              </p:cNvPr>
              <p:cNvGrpSpPr>
                <a:grpSpLocks/>
              </p:cNvGrpSpPr>
              <p:nvPr>
                <p:custDataLst>
                  <p:tags r:id="rId1"/>
                </p:custDataLst>
              </p:nvPr>
            </p:nvGrpSpPr>
            <p:grpSpPr>
              <a:xfrm>
                <a:off x="2181857" y="1959943"/>
                <a:ext cx="367200" cy="369506"/>
                <a:chOff x="6741472" y="3797878"/>
                <a:chExt cx="1062037" cy="750810"/>
              </a:xfrm>
              <a:solidFill>
                <a:schemeClr val="bg1"/>
              </a:solidFill>
            </p:grpSpPr>
            <p:sp>
              <p:nvSpPr>
                <p:cNvPr id="26" name="Rectangle 56">
                  <a:extLst>
                    <a:ext uri="{FF2B5EF4-FFF2-40B4-BE49-F238E27FC236}">
                      <a16:creationId xmlns:a16="http://schemas.microsoft.com/office/drawing/2014/main" id="{02A405D5-D802-4C5B-8C54-7DE4A4906953}"/>
                    </a:ext>
                  </a:extLst>
                </p:cNvPr>
                <p:cNvSpPr>
                  <a:spLocks noChangeArrowheads="1"/>
                </p:cNvSpPr>
                <p:nvPr/>
              </p:nvSpPr>
              <p:spPr bwMode="auto">
                <a:xfrm>
                  <a:off x="6741472" y="4491538"/>
                  <a:ext cx="1062037" cy="57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27" name="Rectangle 57">
                  <a:extLst>
                    <a:ext uri="{FF2B5EF4-FFF2-40B4-BE49-F238E27FC236}">
                      <a16:creationId xmlns:a16="http://schemas.microsoft.com/office/drawing/2014/main" id="{2C565ED7-0B5B-4B1C-9D8C-E6138A64E2B3}"/>
                    </a:ext>
                  </a:extLst>
                </p:cNvPr>
                <p:cNvSpPr>
                  <a:spLocks noChangeArrowheads="1"/>
                </p:cNvSpPr>
                <p:nvPr/>
              </p:nvSpPr>
              <p:spPr bwMode="auto">
                <a:xfrm>
                  <a:off x="6795447" y="4412163"/>
                  <a:ext cx="952501"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28" name="Rectangle 58">
                  <a:extLst>
                    <a:ext uri="{FF2B5EF4-FFF2-40B4-BE49-F238E27FC236}">
                      <a16:creationId xmlns:a16="http://schemas.microsoft.com/office/drawing/2014/main" id="{A46EBCD2-A695-460F-8429-EA671E4AE0E6}"/>
                    </a:ext>
                  </a:extLst>
                </p:cNvPr>
                <p:cNvSpPr>
                  <a:spLocks noChangeArrowheads="1"/>
                </p:cNvSpPr>
                <p:nvPr/>
              </p:nvSpPr>
              <p:spPr bwMode="auto">
                <a:xfrm>
                  <a:off x="6844659" y="4348661"/>
                  <a:ext cx="854075" cy="412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29" name="Freeform 59">
                  <a:extLst>
                    <a:ext uri="{FF2B5EF4-FFF2-40B4-BE49-F238E27FC236}">
                      <a16:creationId xmlns:a16="http://schemas.microsoft.com/office/drawing/2014/main" id="{6E5F9548-D920-4DD2-B67C-19778525E376}"/>
                    </a:ext>
                  </a:extLst>
                </p:cNvPr>
                <p:cNvSpPr>
                  <a:spLocks/>
                </p:cNvSpPr>
                <p:nvPr/>
              </p:nvSpPr>
              <p:spPr bwMode="auto">
                <a:xfrm>
                  <a:off x="7219311" y="4056563"/>
                  <a:ext cx="104775" cy="263525"/>
                </a:xfrm>
                <a:custGeom>
                  <a:avLst/>
                  <a:gdLst>
                    <a:gd name="T0" fmla="*/ 56 w 66"/>
                    <a:gd name="T1" fmla="*/ 166 h 166"/>
                    <a:gd name="T2" fmla="*/ 56 w 66"/>
                    <a:gd name="T3" fmla="*/ 149 h 166"/>
                    <a:gd name="T4" fmla="*/ 61 w 66"/>
                    <a:gd name="T5" fmla="*/ 149 h 166"/>
                    <a:gd name="T6" fmla="*/ 61 w 66"/>
                    <a:gd name="T7" fmla="*/ 141 h 166"/>
                    <a:gd name="T8" fmla="*/ 66 w 66"/>
                    <a:gd name="T9" fmla="*/ 141 h 166"/>
                    <a:gd name="T10" fmla="*/ 66 w 66"/>
                    <a:gd name="T11" fmla="*/ 25 h 166"/>
                    <a:gd name="T12" fmla="*/ 61 w 66"/>
                    <a:gd name="T13" fmla="*/ 25 h 166"/>
                    <a:gd name="T14" fmla="*/ 61 w 66"/>
                    <a:gd name="T15" fmla="*/ 17 h 166"/>
                    <a:gd name="T16" fmla="*/ 56 w 66"/>
                    <a:gd name="T17" fmla="*/ 17 h 166"/>
                    <a:gd name="T18" fmla="*/ 56 w 66"/>
                    <a:gd name="T19" fmla="*/ 0 h 166"/>
                    <a:gd name="T20" fmla="*/ 11 w 66"/>
                    <a:gd name="T21" fmla="*/ 0 h 166"/>
                    <a:gd name="T22" fmla="*/ 11 w 66"/>
                    <a:gd name="T23" fmla="*/ 17 h 166"/>
                    <a:gd name="T24" fmla="*/ 5 w 66"/>
                    <a:gd name="T25" fmla="*/ 17 h 166"/>
                    <a:gd name="T26" fmla="*/ 5 w 66"/>
                    <a:gd name="T27" fmla="*/ 25 h 166"/>
                    <a:gd name="T28" fmla="*/ 0 w 66"/>
                    <a:gd name="T29" fmla="*/ 25 h 166"/>
                    <a:gd name="T30" fmla="*/ 0 w 66"/>
                    <a:gd name="T31" fmla="*/ 141 h 166"/>
                    <a:gd name="T32" fmla="*/ 5 w 66"/>
                    <a:gd name="T33" fmla="*/ 141 h 166"/>
                    <a:gd name="T34" fmla="*/ 5 w 66"/>
                    <a:gd name="T35" fmla="*/ 149 h 166"/>
                    <a:gd name="T36" fmla="*/ 11 w 66"/>
                    <a:gd name="T37" fmla="*/ 149 h 166"/>
                    <a:gd name="T38" fmla="*/ 11 w 66"/>
                    <a:gd name="T39" fmla="*/ 166 h 166"/>
                    <a:gd name="T40" fmla="*/ 56 w 66"/>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56" y="166"/>
                      </a:moveTo>
                      <a:lnTo>
                        <a:pt x="56" y="149"/>
                      </a:lnTo>
                      <a:lnTo>
                        <a:pt x="61" y="149"/>
                      </a:lnTo>
                      <a:lnTo>
                        <a:pt x="61" y="141"/>
                      </a:lnTo>
                      <a:lnTo>
                        <a:pt x="66" y="141"/>
                      </a:lnTo>
                      <a:lnTo>
                        <a:pt x="66" y="25"/>
                      </a:lnTo>
                      <a:lnTo>
                        <a:pt x="61" y="25"/>
                      </a:lnTo>
                      <a:lnTo>
                        <a:pt x="61" y="17"/>
                      </a:lnTo>
                      <a:lnTo>
                        <a:pt x="56" y="17"/>
                      </a:lnTo>
                      <a:lnTo>
                        <a:pt x="56" y="0"/>
                      </a:lnTo>
                      <a:lnTo>
                        <a:pt x="11" y="0"/>
                      </a:lnTo>
                      <a:lnTo>
                        <a:pt x="11" y="17"/>
                      </a:lnTo>
                      <a:lnTo>
                        <a:pt x="5" y="17"/>
                      </a:lnTo>
                      <a:lnTo>
                        <a:pt x="5" y="25"/>
                      </a:lnTo>
                      <a:lnTo>
                        <a:pt x="0" y="25"/>
                      </a:lnTo>
                      <a:lnTo>
                        <a:pt x="0" y="141"/>
                      </a:lnTo>
                      <a:lnTo>
                        <a:pt x="5" y="141"/>
                      </a:lnTo>
                      <a:lnTo>
                        <a:pt x="5" y="149"/>
                      </a:lnTo>
                      <a:lnTo>
                        <a:pt x="11" y="149"/>
                      </a:lnTo>
                      <a:lnTo>
                        <a:pt x="11" y="166"/>
                      </a:lnTo>
                      <a:lnTo>
                        <a:pt x="56"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0" name="Freeform 60">
                  <a:extLst>
                    <a:ext uri="{FF2B5EF4-FFF2-40B4-BE49-F238E27FC236}">
                      <a16:creationId xmlns:a16="http://schemas.microsoft.com/office/drawing/2014/main" id="{D6EE4B00-DF9A-4109-89BC-F7ABEE193AF9}"/>
                    </a:ext>
                  </a:extLst>
                </p:cNvPr>
                <p:cNvSpPr>
                  <a:spLocks/>
                </p:cNvSpPr>
                <p:nvPr/>
              </p:nvSpPr>
              <p:spPr bwMode="auto">
                <a:xfrm>
                  <a:off x="7397109" y="4056563"/>
                  <a:ext cx="104775" cy="263525"/>
                </a:xfrm>
                <a:custGeom>
                  <a:avLst/>
                  <a:gdLst>
                    <a:gd name="T0" fmla="*/ 10 w 66"/>
                    <a:gd name="T1" fmla="*/ 0 h 166"/>
                    <a:gd name="T2" fmla="*/ 10 w 66"/>
                    <a:gd name="T3" fmla="*/ 17 h 166"/>
                    <a:gd name="T4" fmla="*/ 4 w 66"/>
                    <a:gd name="T5" fmla="*/ 17 h 166"/>
                    <a:gd name="T6" fmla="*/ 4 w 66"/>
                    <a:gd name="T7" fmla="*/ 25 h 166"/>
                    <a:gd name="T8" fmla="*/ 0 w 66"/>
                    <a:gd name="T9" fmla="*/ 25 h 166"/>
                    <a:gd name="T10" fmla="*/ 0 w 66"/>
                    <a:gd name="T11" fmla="*/ 141 h 166"/>
                    <a:gd name="T12" fmla="*/ 4 w 66"/>
                    <a:gd name="T13" fmla="*/ 141 h 166"/>
                    <a:gd name="T14" fmla="*/ 4 w 66"/>
                    <a:gd name="T15" fmla="*/ 149 h 166"/>
                    <a:gd name="T16" fmla="*/ 10 w 66"/>
                    <a:gd name="T17" fmla="*/ 149 h 166"/>
                    <a:gd name="T18" fmla="*/ 10 w 66"/>
                    <a:gd name="T19" fmla="*/ 166 h 166"/>
                    <a:gd name="T20" fmla="*/ 55 w 66"/>
                    <a:gd name="T21" fmla="*/ 166 h 166"/>
                    <a:gd name="T22" fmla="*/ 55 w 66"/>
                    <a:gd name="T23" fmla="*/ 149 h 166"/>
                    <a:gd name="T24" fmla="*/ 61 w 66"/>
                    <a:gd name="T25" fmla="*/ 149 h 166"/>
                    <a:gd name="T26" fmla="*/ 61 w 66"/>
                    <a:gd name="T27" fmla="*/ 141 h 166"/>
                    <a:gd name="T28" fmla="*/ 66 w 66"/>
                    <a:gd name="T29" fmla="*/ 141 h 166"/>
                    <a:gd name="T30" fmla="*/ 66 w 66"/>
                    <a:gd name="T31" fmla="*/ 25 h 166"/>
                    <a:gd name="T32" fmla="*/ 61 w 66"/>
                    <a:gd name="T33" fmla="*/ 25 h 166"/>
                    <a:gd name="T34" fmla="*/ 61 w 66"/>
                    <a:gd name="T35" fmla="*/ 17 h 166"/>
                    <a:gd name="T36" fmla="*/ 55 w 66"/>
                    <a:gd name="T37" fmla="*/ 17 h 166"/>
                    <a:gd name="T38" fmla="*/ 55 w 66"/>
                    <a:gd name="T39" fmla="*/ 0 h 166"/>
                    <a:gd name="T40" fmla="*/ 10 w 66"/>
                    <a:gd name="T4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10" y="0"/>
                      </a:moveTo>
                      <a:lnTo>
                        <a:pt x="10" y="17"/>
                      </a:lnTo>
                      <a:lnTo>
                        <a:pt x="4" y="17"/>
                      </a:lnTo>
                      <a:lnTo>
                        <a:pt x="4" y="25"/>
                      </a:lnTo>
                      <a:lnTo>
                        <a:pt x="0" y="25"/>
                      </a:lnTo>
                      <a:lnTo>
                        <a:pt x="0" y="141"/>
                      </a:lnTo>
                      <a:lnTo>
                        <a:pt x="4" y="141"/>
                      </a:lnTo>
                      <a:lnTo>
                        <a:pt x="4" y="149"/>
                      </a:lnTo>
                      <a:lnTo>
                        <a:pt x="10" y="149"/>
                      </a:lnTo>
                      <a:lnTo>
                        <a:pt x="10" y="166"/>
                      </a:lnTo>
                      <a:lnTo>
                        <a:pt x="55" y="166"/>
                      </a:lnTo>
                      <a:lnTo>
                        <a:pt x="55" y="149"/>
                      </a:lnTo>
                      <a:lnTo>
                        <a:pt x="61" y="149"/>
                      </a:lnTo>
                      <a:lnTo>
                        <a:pt x="61" y="141"/>
                      </a:lnTo>
                      <a:lnTo>
                        <a:pt x="66" y="141"/>
                      </a:lnTo>
                      <a:lnTo>
                        <a:pt x="66" y="25"/>
                      </a:lnTo>
                      <a:lnTo>
                        <a:pt x="61" y="25"/>
                      </a:lnTo>
                      <a:lnTo>
                        <a:pt x="61" y="17"/>
                      </a:lnTo>
                      <a:lnTo>
                        <a:pt x="55" y="17"/>
                      </a:lnTo>
                      <a:lnTo>
                        <a:pt x="55"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1" name="Freeform 61">
                  <a:extLst>
                    <a:ext uri="{FF2B5EF4-FFF2-40B4-BE49-F238E27FC236}">
                      <a16:creationId xmlns:a16="http://schemas.microsoft.com/office/drawing/2014/main" id="{41F1684E-7594-4FA6-90CA-6BE38877A198}"/>
                    </a:ext>
                  </a:extLst>
                </p:cNvPr>
                <p:cNvSpPr>
                  <a:spLocks/>
                </p:cNvSpPr>
                <p:nvPr/>
              </p:nvSpPr>
              <p:spPr bwMode="auto">
                <a:xfrm>
                  <a:off x="7043097" y="4056563"/>
                  <a:ext cx="104775" cy="263525"/>
                </a:xfrm>
                <a:custGeom>
                  <a:avLst/>
                  <a:gdLst>
                    <a:gd name="T0" fmla="*/ 55 w 66"/>
                    <a:gd name="T1" fmla="*/ 166 h 166"/>
                    <a:gd name="T2" fmla="*/ 55 w 66"/>
                    <a:gd name="T3" fmla="*/ 149 h 166"/>
                    <a:gd name="T4" fmla="*/ 61 w 66"/>
                    <a:gd name="T5" fmla="*/ 149 h 166"/>
                    <a:gd name="T6" fmla="*/ 61 w 66"/>
                    <a:gd name="T7" fmla="*/ 141 h 166"/>
                    <a:gd name="T8" fmla="*/ 66 w 66"/>
                    <a:gd name="T9" fmla="*/ 141 h 166"/>
                    <a:gd name="T10" fmla="*/ 66 w 66"/>
                    <a:gd name="T11" fmla="*/ 25 h 166"/>
                    <a:gd name="T12" fmla="*/ 61 w 66"/>
                    <a:gd name="T13" fmla="*/ 25 h 166"/>
                    <a:gd name="T14" fmla="*/ 61 w 66"/>
                    <a:gd name="T15" fmla="*/ 17 h 166"/>
                    <a:gd name="T16" fmla="*/ 55 w 66"/>
                    <a:gd name="T17" fmla="*/ 17 h 166"/>
                    <a:gd name="T18" fmla="*/ 55 w 66"/>
                    <a:gd name="T19" fmla="*/ 0 h 166"/>
                    <a:gd name="T20" fmla="*/ 10 w 66"/>
                    <a:gd name="T21" fmla="*/ 0 h 166"/>
                    <a:gd name="T22" fmla="*/ 10 w 66"/>
                    <a:gd name="T23" fmla="*/ 17 h 166"/>
                    <a:gd name="T24" fmla="*/ 5 w 66"/>
                    <a:gd name="T25" fmla="*/ 17 h 166"/>
                    <a:gd name="T26" fmla="*/ 5 w 66"/>
                    <a:gd name="T27" fmla="*/ 25 h 166"/>
                    <a:gd name="T28" fmla="*/ 0 w 66"/>
                    <a:gd name="T29" fmla="*/ 25 h 166"/>
                    <a:gd name="T30" fmla="*/ 0 w 66"/>
                    <a:gd name="T31" fmla="*/ 141 h 166"/>
                    <a:gd name="T32" fmla="*/ 5 w 66"/>
                    <a:gd name="T33" fmla="*/ 141 h 166"/>
                    <a:gd name="T34" fmla="*/ 5 w 66"/>
                    <a:gd name="T35" fmla="*/ 149 h 166"/>
                    <a:gd name="T36" fmla="*/ 10 w 66"/>
                    <a:gd name="T37" fmla="*/ 149 h 166"/>
                    <a:gd name="T38" fmla="*/ 10 w 66"/>
                    <a:gd name="T39" fmla="*/ 166 h 166"/>
                    <a:gd name="T40" fmla="*/ 55 w 66"/>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166">
                      <a:moveTo>
                        <a:pt x="55" y="166"/>
                      </a:moveTo>
                      <a:lnTo>
                        <a:pt x="55" y="149"/>
                      </a:lnTo>
                      <a:lnTo>
                        <a:pt x="61" y="149"/>
                      </a:lnTo>
                      <a:lnTo>
                        <a:pt x="61" y="141"/>
                      </a:lnTo>
                      <a:lnTo>
                        <a:pt x="66" y="141"/>
                      </a:lnTo>
                      <a:lnTo>
                        <a:pt x="66" y="25"/>
                      </a:lnTo>
                      <a:lnTo>
                        <a:pt x="61" y="25"/>
                      </a:lnTo>
                      <a:lnTo>
                        <a:pt x="61" y="17"/>
                      </a:lnTo>
                      <a:lnTo>
                        <a:pt x="55" y="17"/>
                      </a:lnTo>
                      <a:lnTo>
                        <a:pt x="55" y="0"/>
                      </a:lnTo>
                      <a:lnTo>
                        <a:pt x="10" y="0"/>
                      </a:lnTo>
                      <a:lnTo>
                        <a:pt x="10" y="17"/>
                      </a:lnTo>
                      <a:lnTo>
                        <a:pt x="5" y="17"/>
                      </a:lnTo>
                      <a:lnTo>
                        <a:pt x="5" y="25"/>
                      </a:lnTo>
                      <a:lnTo>
                        <a:pt x="0" y="25"/>
                      </a:lnTo>
                      <a:lnTo>
                        <a:pt x="0" y="141"/>
                      </a:lnTo>
                      <a:lnTo>
                        <a:pt x="5" y="141"/>
                      </a:lnTo>
                      <a:lnTo>
                        <a:pt x="5" y="149"/>
                      </a:lnTo>
                      <a:lnTo>
                        <a:pt x="10" y="149"/>
                      </a:lnTo>
                      <a:lnTo>
                        <a:pt x="10" y="166"/>
                      </a:lnTo>
                      <a:lnTo>
                        <a:pt x="55" y="1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2" name="Freeform 62">
                  <a:extLst>
                    <a:ext uri="{FF2B5EF4-FFF2-40B4-BE49-F238E27FC236}">
                      <a16:creationId xmlns:a16="http://schemas.microsoft.com/office/drawing/2014/main" id="{48FC9E9B-DA2E-479A-9901-91A660F97760}"/>
                    </a:ext>
                  </a:extLst>
                </p:cNvPr>
                <p:cNvSpPr>
                  <a:spLocks/>
                </p:cNvSpPr>
                <p:nvPr/>
              </p:nvSpPr>
              <p:spPr bwMode="auto">
                <a:xfrm>
                  <a:off x="6898635" y="4056563"/>
                  <a:ext cx="71436" cy="263525"/>
                </a:xfrm>
                <a:custGeom>
                  <a:avLst/>
                  <a:gdLst>
                    <a:gd name="T0" fmla="*/ 35 w 45"/>
                    <a:gd name="T1" fmla="*/ 149 h 166"/>
                    <a:gd name="T2" fmla="*/ 41 w 45"/>
                    <a:gd name="T3" fmla="*/ 149 h 166"/>
                    <a:gd name="T4" fmla="*/ 41 w 45"/>
                    <a:gd name="T5" fmla="*/ 141 h 166"/>
                    <a:gd name="T6" fmla="*/ 45 w 45"/>
                    <a:gd name="T7" fmla="*/ 141 h 166"/>
                    <a:gd name="T8" fmla="*/ 45 w 45"/>
                    <a:gd name="T9" fmla="*/ 25 h 166"/>
                    <a:gd name="T10" fmla="*/ 41 w 45"/>
                    <a:gd name="T11" fmla="*/ 25 h 166"/>
                    <a:gd name="T12" fmla="*/ 41 w 45"/>
                    <a:gd name="T13" fmla="*/ 17 h 166"/>
                    <a:gd name="T14" fmla="*/ 35 w 45"/>
                    <a:gd name="T15" fmla="*/ 17 h 166"/>
                    <a:gd name="T16" fmla="*/ 35 w 45"/>
                    <a:gd name="T17" fmla="*/ 0 h 166"/>
                    <a:gd name="T18" fmla="*/ 0 w 45"/>
                    <a:gd name="T19" fmla="*/ 0 h 166"/>
                    <a:gd name="T20" fmla="*/ 0 w 45"/>
                    <a:gd name="T21" fmla="*/ 166 h 166"/>
                    <a:gd name="T22" fmla="*/ 35 w 45"/>
                    <a:gd name="T23" fmla="*/ 166 h 166"/>
                    <a:gd name="T24" fmla="*/ 35 w 45"/>
                    <a:gd name="T25" fmla="*/ 14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66">
                      <a:moveTo>
                        <a:pt x="35" y="149"/>
                      </a:moveTo>
                      <a:lnTo>
                        <a:pt x="41" y="149"/>
                      </a:lnTo>
                      <a:lnTo>
                        <a:pt x="41" y="141"/>
                      </a:lnTo>
                      <a:lnTo>
                        <a:pt x="45" y="141"/>
                      </a:lnTo>
                      <a:lnTo>
                        <a:pt x="45" y="25"/>
                      </a:lnTo>
                      <a:lnTo>
                        <a:pt x="41" y="25"/>
                      </a:lnTo>
                      <a:lnTo>
                        <a:pt x="41" y="17"/>
                      </a:lnTo>
                      <a:lnTo>
                        <a:pt x="35" y="17"/>
                      </a:lnTo>
                      <a:lnTo>
                        <a:pt x="35" y="0"/>
                      </a:lnTo>
                      <a:lnTo>
                        <a:pt x="0" y="0"/>
                      </a:lnTo>
                      <a:lnTo>
                        <a:pt x="0" y="166"/>
                      </a:lnTo>
                      <a:lnTo>
                        <a:pt x="35" y="166"/>
                      </a:lnTo>
                      <a:lnTo>
                        <a:pt x="35"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3" name="Freeform 63">
                  <a:extLst>
                    <a:ext uri="{FF2B5EF4-FFF2-40B4-BE49-F238E27FC236}">
                      <a16:creationId xmlns:a16="http://schemas.microsoft.com/office/drawing/2014/main" id="{CC619049-D46E-4FC1-8D40-D39FA71DA819}"/>
                    </a:ext>
                  </a:extLst>
                </p:cNvPr>
                <p:cNvSpPr>
                  <a:spLocks/>
                </p:cNvSpPr>
                <p:nvPr/>
              </p:nvSpPr>
              <p:spPr bwMode="auto">
                <a:xfrm>
                  <a:off x="7566026" y="4051877"/>
                  <a:ext cx="71436" cy="263525"/>
                </a:xfrm>
                <a:custGeom>
                  <a:avLst/>
                  <a:gdLst>
                    <a:gd name="T0" fmla="*/ 11 w 45"/>
                    <a:gd name="T1" fmla="*/ 0 h 166"/>
                    <a:gd name="T2" fmla="*/ 11 w 45"/>
                    <a:gd name="T3" fmla="*/ 17 h 166"/>
                    <a:gd name="T4" fmla="*/ 5 w 45"/>
                    <a:gd name="T5" fmla="*/ 17 h 166"/>
                    <a:gd name="T6" fmla="*/ 5 w 45"/>
                    <a:gd name="T7" fmla="*/ 25 h 166"/>
                    <a:gd name="T8" fmla="*/ 0 w 45"/>
                    <a:gd name="T9" fmla="*/ 25 h 166"/>
                    <a:gd name="T10" fmla="*/ 0 w 45"/>
                    <a:gd name="T11" fmla="*/ 141 h 166"/>
                    <a:gd name="T12" fmla="*/ 5 w 45"/>
                    <a:gd name="T13" fmla="*/ 141 h 166"/>
                    <a:gd name="T14" fmla="*/ 5 w 45"/>
                    <a:gd name="T15" fmla="*/ 149 h 166"/>
                    <a:gd name="T16" fmla="*/ 11 w 45"/>
                    <a:gd name="T17" fmla="*/ 149 h 166"/>
                    <a:gd name="T18" fmla="*/ 11 w 45"/>
                    <a:gd name="T19" fmla="*/ 166 h 166"/>
                    <a:gd name="T20" fmla="*/ 45 w 45"/>
                    <a:gd name="T21" fmla="*/ 166 h 166"/>
                    <a:gd name="T22" fmla="*/ 45 w 45"/>
                    <a:gd name="T23" fmla="*/ 0 h 166"/>
                    <a:gd name="T24" fmla="*/ 11 w 45"/>
                    <a:gd name="T2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66">
                      <a:moveTo>
                        <a:pt x="11" y="0"/>
                      </a:moveTo>
                      <a:lnTo>
                        <a:pt x="11" y="17"/>
                      </a:lnTo>
                      <a:lnTo>
                        <a:pt x="5" y="17"/>
                      </a:lnTo>
                      <a:lnTo>
                        <a:pt x="5" y="25"/>
                      </a:lnTo>
                      <a:lnTo>
                        <a:pt x="0" y="25"/>
                      </a:lnTo>
                      <a:lnTo>
                        <a:pt x="0" y="141"/>
                      </a:lnTo>
                      <a:lnTo>
                        <a:pt x="5" y="141"/>
                      </a:lnTo>
                      <a:lnTo>
                        <a:pt x="5" y="149"/>
                      </a:lnTo>
                      <a:lnTo>
                        <a:pt x="11" y="149"/>
                      </a:lnTo>
                      <a:lnTo>
                        <a:pt x="11" y="166"/>
                      </a:lnTo>
                      <a:lnTo>
                        <a:pt x="45" y="166"/>
                      </a:lnTo>
                      <a:lnTo>
                        <a:pt x="45" y="0"/>
                      </a:ln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34" name="Freeform 64">
                  <a:extLst>
                    <a:ext uri="{FF2B5EF4-FFF2-40B4-BE49-F238E27FC236}">
                      <a16:creationId xmlns:a16="http://schemas.microsoft.com/office/drawing/2014/main" id="{C487B93E-6205-4DF6-9279-7E5F070622B7}"/>
                    </a:ext>
                  </a:extLst>
                </p:cNvPr>
                <p:cNvSpPr>
                  <a:spLocks noEditPoints="1"/>
                </p:cNvSpPr>
                <p:nvPr/>
              </p:nvSpPr>
              <p:spPr bwMode="auto">
                <a:xfrm>
                  <a:off x="6797675" y="3797878"/>
                  <a:ext cx="933450" cy="227013"/>
                </a:xfrm>
                <a:custGeom>
                  <a:avLst/>
                  <a:gdLst>
                    <a:gd name="T0" fmla="*/ 1078 w 5629"/>
                    <a:gd name="T1" fmla="*/ 985 h 1371"/>
                    <a:gd name="T2" fmla="*/ 2815 w 5629"/>
                    <a:gd name="T3" fmla="*/ 358 h 1371"/>
                    <a:gd name="T4" fmla="*/ 4551 w 5629"/>
                    <a:gd name="T5" fmla="*/ 985 h 1371"/>
                    <a:gd name="T6" fmla="*/ 1078 w 5629"/>
                    <a:gd name="T7" fmla="*/ 985 h 1371"/>
                    <a:gd name="T8" fmla="*/ 2815 w 5629"/>
                    <a:gd name="T9" fmla="*/ 0 h 1371"/>
                    <a:gd name="T10" fmla="*/ 0 w 5629"/>
                    <a:gd name="T11" fmla="*/ 1038 h 1371"/>
                    <a:gd name="T12" fmla="*/ 122 w 5629"/>
                    <a:gd name="T13" fmla="*/ 1249 h 1371"/>
                    <a:gd name="T14" fmla="*/ 253 w 5629"/>
                    <a:gd name="T15" fmla="*/ 1249 h 1371"/>
                    <a:gd name="T16" fmla="*/ 253 w 5629"/>
                    <a:gd name="T17" fmla="*/ 1371 h 1371"/>
                    <a:gd name="T18" fmla="*/ 5376 w 5629"/>
                    <a:gd name="T19" fmla="*/ 1371 h 1371"/>
                    <a:gd name="T20" fmla="*/ 5376 w 5629"/>
                    <a:gd name="T21" fmla="*/ 1249 h 1371"/>
                    <a:gd name="T22" fmla="*/ 5507 w 5629"/>
                    <a:gd name="T23" fmla="*/ 1249 h 1371"/>
                    <a:gd name="T24" fmla="*/ 5629 w 5629"/>
                    <a:gd name="T25" fmla="*/ 1038 h 1371"/>
                    <a:gd name="T26" fmla="*/ 2815 w 5629"/>
                    <a:gd name="T27"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29" h="1371">
                      <a:moveTo>
                        <a:pt x="1078" y="985"/>
                      </a:moveTo>
                      <a:lnTo>
                        <a:pt x="2815" y="358"/>
                      </a:lnTo>
                      <a:lnTo>
                        <a:pt x="4551" y="985"/>
                      </a:lnTo>
                      <a:lnTo>
                        <a:pt x="1078" y="985"/>
                      </a:lnTo>
                      <a:close/>
                      <a:moveTo>
                        <a:pt x="2815" y="0"/>
                      </a:moveTo>
                      <a:lnTo>
                        <a:pt x="0" y="1038"/>
                      </a:lnTo>
                      <a:lnTo>
                        <a:pt x="122" y="1249"/>
                      </a:lnTo>
                      <a:lnTo>
                        <a:pt x="253" y="1249"/>
                      </a:lnTo>
                      <a:lnTo>
                        <a:pt x="253" y="1371"/>
                      </a:lnTo>
                      <a:lnTo>
                        <a:pt x="5376" y="1371"/>
                      </a:lnTo>
                      <a:lnTo>
                        <a:pt x="5376" y="1249"/>
                      </a:lnTo>
                      <a:lnTo>
                        <a:pt x="5507" y="1249"/>
                      </a:lnTo>
                      <a:lnTo>
                        <a:pt x="5629" y="1038"/>
                      </a:lnTo>
                      <a:lnTo>
                        <a:pt x="2815"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grpSp>
          <p:grpSp>
            <p:nvGrpSpPr>
              <p:cNvPr id="36" name="Stock_chart" descr="{&quot;Key&quot;:&quot;POWER_USER_SHAPE_ICON&quot;,&quot;Value&quot;:&quot;POWER_USER_SHAPE_ICON_STYLE_1&quot;}">
                <a:extLst>
                  <a:ext uri="{FF2B5EF4-FFF2-40B4-BE49-F238E27FC236}">
                    <a16:creationId xmlns:a16="http://schemas.microsoft.com/office/drawing/2014/main" id="{15BF6F59-658F-4F5E-9A76-AB308A37694F}"/>
                  </a:ext>
                </a:extLst>
              </p:cNvPr>
              <p:cNvGrpSpPr>
                <a:grpSpLocks/>
              </p:cNvGrpSpPr>
              <p:nvPr>
                <p:custDataLst>
                  <p:tags r:id="rId2"/>
                </p:custDataLst>
              </p:nvPr>
            </p:nvGrpSpPr>
            <p:grpSpPr>
              <a:xfrm>
                <a:off x="4196314" y="1961095"/>
                <a:ext cx="367200" cy="367200"/>
                <a:chOff x="3314818" y="3068463"/>
                <a:chExt cx="665162" cy="619125"/>
              </a:xfrm>
              <a:solidFill>
                <a:schemeClr val="bg1"/>
              </a:solidFill>
            </p:grpSpPr>
            <p:sp>
              <p:nvSpPr>
                <p:cNvPr id="37" name="Freeform 16">
                  <a:extLst>
                    <a:ext uri="{FF2B5EF4-FFF2-40B4-BE49-F238E27FC236}">
                      <a16:creationId xmlns:a16="http://schemas.microsoft.com/office/drawing/2014/main" id="{7FEE0646-690C-49E6-901E-80F903209209}"/>
                    </a:ext>
                  </a:extLst>
                </p:cNvPr>
                <p:cNvSpPr>
                  <a:spLocks/>
                </p:cNvSpPr>
                <p:nvPr/>
              </p:nvSpPr>
              <p:spPr bwMode="auto">
                <a:xfrm>
                  <a:off x="3314818" y="3068463"/>
                  <a:ext cx="665162" cy="6191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38" name="Rectangle 95">
                  <a:extLst>
                    <a:ext uri="{FF2B5EF4-FFF2-40B4-BE49-F238E27FC236}">
                      <a16:creationId xmlns:a16="http://schemas.microsoft.com/office/drawing/2014/main" id="{23E759AA-575A-42B9-9665-BCFEA5FA5356}"/>
                    </a:ext>
                  </a:extLst>
                </p:cNvPr>
                <p:cNvSpPr>
                  <a:spLocks noChangeArrowheads="1"/>
                </p:cNvSpPr>
                <p:nvPr/>
              </p:nvSpPr>
              <p:spPr bwMode="auto">
                <a:xfrm>
                  <a:off x="3467680" y="3166887"/>
                  <a:ext cx="115887" cy="161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39" name="Rectangle 96">
                  <a:extLst>
                    <a:ext uri="{FF2B5EF4-FFF2-40B4-BE49-F238E27FC236}">
                      <a16:creationId xmlns:a16="http://schemas.microsoft.com/office/drawing/2014/main" id="{4A5E1B42-722A-4F64-8531-611BBBFC065E}"/>
                    </a:ext>
                  </a:extLst>
                </p:cNvPr>
                <p:cNvSpPr>
                  <a:spLocks noChangeArrowheads="1"/>
                </p:cNvSpPr>
                <p:nvPr/>
              </p:nvSpPr>
              <p:spPr bwMode="auto">
                <a:xfrm>
                  <a:off x="3498828" y="3086460"/>
                  <a:ext cx="46038" cy="7143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0" name="Rectangle 97">
                  <a:extLst>
                    <a:ext uri="{FF2B5EF4-FFF2-40B4-BE49-F238E27FC236}">
                      <a16:creationId xmlns:a16="http://schemas.microsoft.com/office/drawing/2014/main" id="{0A272370-07B0-4705-8F66-2D8604FCD687}"/>
                    </a:ext>
                  </a:extLst>
                </p:cNvPr>
                <p:cNvSpPr>
                  <a:spLocks noChangeArrowheads="1"/>
                </p:cNvSpPr>
                <p:nvPr/>
              </p:nvSpPr>
              <p:spPr bwMode="auto">
                <a:xfrm>
                  <a:off x="3500541" y="3332621"/>
                  <a:ext cx="460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1" name="Rectangle 98">
                  <a:extLst>
                    <a:ext uri="{FF2B5EF4-FFF2-40B4-BE49-F238E27FC236}">
                      <a16:creationId xmlns:a16="http://schemas.microsoft.com/office/drawing/2014/main" id="{F7F88129-C81D-4FD4-BB48-888E27073B5E}"/>
                    </a:ext>
                  </a:extLst>
                </p:cNvPr>
                <p:cNvSpPr>
                  <a:spLocks noChangeArrowheads="1"/>
                </p:cNvSpPr>
                <p:nvPr/>
              </p:nvSpPr>
              <p:spPr bwMode="auto">
                <a:xfrm>
                  <a:off x="3645478" y="3344687"/>
                  <a:ext cx="117476" cy="163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2" name="Rectangle 99">
                  <a:extLst>
                    <a:ext uri="{FF2B5EF4-FFF2-40B4-BE49-F238E27FC236}">
                      <a16:creationId xmlns:a16="http://schemas.microsoft.com/office/drawing/2014/main" id="{26037F7E-4FBB-4431-AA68-464CD2B3C993}"/>
                    </a:ext>
                  </a:extLst>
                </p:cNvPr>
                <p:cNvSpPr>
                  <a:spLocks noChangeArrowheads="1"/>
                </p:cNvSpPr>
                <p:nvPr/>
              </p:nvSpPr>
              <p:spPr bwMode="auto">
                <a:xfrm>
                  <a:off x="3676630" y="3264259"/>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4" name="Rectangle 100">
                  <a:extLst>
                    <a:ext uri="{FF2B5EF4-FFF2-40B4-BE49-F238E27FC236}">
                      <a16:creationId xmlns:a16="http://schemas.microsoft.com/office/drawing/2014/main" id="{52B87A85-98B6-4D4B-8FEC-576DDA685E3E}"/>
                    </a:ext>
                  </a:extLst>
                </p:cNvPr>
                <p:cNvSpPr>
                  <a:spLocks noChangeArrowheads="1"/>
                </p:cNvSpPr>
                <p:nvPr/>
              </p:nvSpPr>
              <p:spPr bwMode="auto">
                <a:xfrm>
                  <a:off x="3678343" y="3512009"/>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5" name="Rectangle 101">
                  <a:extLst>
                    <a:ext uri="{FF2B5EF4-FFF2-40B4-BE49-F238E27FC236}">
                      <a16:creationId xmlns:a16="http://schemas.microsoft.com/office/drawing/2014/main" id="{F4AD8323-96D5-492E-8C02-048533B877FB}"/>
                    </a:ext>
                  </a:extLst>
                </p:cNvPr>
                <p:cNvSpPr>
                  <a:spLocks noChangeArrowheads="1"/>
                </p:cNvSpPr>
                <p:nvPr/>
              </p:nvSpPr>
              <p:spPr bwMode="auto">
                <a:xfrm>
                  <a:off x="3828041" y="3265312"/>
                  <a:ext cx="117476" cy="163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6" name="Rectangle 102">
                  <a:extLst>
                    <a:ext uri="{FF2B5EF4-FFF2-40B4-BE49-F238E27FC236}">
                      <a16:creationId xmlns:a16="http://schemas.microsoft.com/office/drawing/2014/main" id="{DF40A712-CB8E-41FA-8057-6ACF9B877FAD}"/>
                    </a:ext>
                  </a:extLst>
                </p:cNvPr>
                <p:cNvSpPr>
                  <a:spLocks noChangeArrowheads="1"/>
                </p:cNvSpPr>
                <p:nvPr/>
              </p:nvSpPr>
              <p:spPr bwMode="auto">
                <a:xfrm>
                  <a:off x="3862967" y="3166886"/>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sp>
              <p:nvSpPr>
                <p:cNvPr id="48" name="Rectangle 103">
                  <a:extLst>
                    <a:ext uri="{FF2B5EF4-FFF2-40B4-BE49-F238E27FC236}">
                      <a16:creationId xmlns:a16="http://schemas.microsoft.com/office/drawing/2014/main" id="{65F0E708-2F8C-428C-BADF-1282A7AE3793}"/>
                    </a:ext>
                  </a:extLst>
                </p:cNvPr>
                <p:cNvSpPr>
                  <a:spLocks noChangeArrowheads="1"/>
                </p:cNvSpPr>
                <p:nvPr/>
              </p:nvSpPr>
              <p:spPr bwMode="auto">
                <a:xfrm>
                  <a:off x="3862169" y="3403505"/>
                  <a:ext cx="47625"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eue Haas Grotesk Text Pro" panose="020B0504020202020204" pitchFamily="34" charset="0"/>
                  </a:endParaRPr>
                </a:p>
              </p:txBody>
            </p:sp>
          </p:grpSp>
        </p:grpSp>
        <p:sp>
          <p:nvSpPr>
            <p:cNvPr id="73" name="TextBox 72">
              <a:extLst>
                <a:ext uri="{FF2B5EF4-FFF2-40B4-BE49-F238E27FC236}">
                  <a16:creationId xmlns:a16="http://schemas.microsoft.com/office/drawing/2014/main" id="{BA8CDA60-B226-4447-BF9E-97C3D56E3975}"/>
                </a:ext>
              </a:extLst>
            </p:cNvPr>
            <p:cNvSpPr txBox="1"/>
            <p:nvPr/>
          </p:nvSpPr>
          <p:spPr>
            <a:xfrm>
              <a:off x="3909863" y="2426973"/>
              <a:ext cx="1627062" cy="838197"/>
            </a:xfrm>
            <a:prstGeom prst="rect">
              <a:avLst/>
            </a:prstGeom>
            <a:solidFill>
              <a:schemeClr val="accent1"/>
            </a:solidFill>
          </p:spPr>
          <p:txBody>
            <a:bodyPr wrap="square" anchor="ctr">
              <a:noAutofit/>
            </a:bodyPr>
            <a:lstStyle/>
            <a:p>
              <a:pPr algn="ctr"/>
              <a:r>
                <a:rPr lang="en-SG" sz="1200">
                  <a:solidFill>
                    <a:schemeClr val="bg1"/>
                  </a:solidFill>
                  <a:latin typeface="Neue Haas Grotesk Text Pro" panose="020B0504020202020204" pitchFamily="34" charset="0"/>
                </a:rPr>
                <a:t>Compare current bond and fixed deposit yields</a:t>
              </a:r>
              <a:endParaRPr lang="en-SG" sz="1200">
                <a:solidFill>
                  <a:schemeClr val="bg1"/>
                </a:solidFill>
              </a:endParaRPr>
            </a:p>
          </p:txBody>
        </p:sp>
        <p:sp>
          <p:nvSpPr>
            <p:cNvPr id="74" name="TextBox 73">
              <a:extLst>
                <a:ext uri="{FF2B5EF4-FFF2-40B4-BE49-F238E27FC236}">
                  <a16:creationId xmlns:a16="http://schemas.microsoft.com/office/drawing/2014/main" id="{2E0B6A66-2AEE-42D7-B540-0712479A1530}"/>
                </a:ext>
              </a:extLst>
            </p:cNvPr>
            <p:cNvSpPr txBox="1"/>
            <p:nvPr/>
          </p:nvSpPr>
          <p:spPr>
            <a:xfrm>
              <a:off x="5494360" y="2426973"/>
              <a:ext cx="1627062" cy="838197"/>
            </a:xfrm>
            <a:prstGeom prst="rect">
              <a:avLst/>
            </a:prstGeom>
            <a:solidFill>
              <a:schemeClr val="accent2"/>
            </a:solidFill>
          </p:spPr>
          <p:txBody>
            <a:bodyPr wrap="square" anchor="ctr">
              <a:noAutofit/>
            </a:bodyPr>
            <a:lstStyle/>
            <a:p>
              <a:pPr algn="ctr"/>
              <a:r>
                <a:rPr lang="en-US" sz="1200">
                  <a:solidFill>
                    <a:schemeClr val="bg1"/>
                  </a:solidFill>
                  <a:latin typeface="Neue Haas Grotesk Text Pro" panose="020B0504020202020204" pitchFamily="34" charset="0"/>
                </a:rPr>
                <a:t>Filter S&amp;P500 stocks by our proprietary quality indicator</a:t>
              </a:r>
            </a:p>
          </p:txBody>
        </p:sp>
      </p:grpSp>
      <p:grpSp>
        <p:nvGrpSpPr>
          <p:cNvPr id="78" name="Group 77">
            <a:extLst>
              <a:ext uri="{FF2B5EF4-FFF2-40B4-BE49-F238E27FC236}">
                <a16:creationId xmlns:a16="http://schemas.microsoft.com/office/drawing/2014/main" id="{8B03B972-C363-4784-9723-1FABD4418AD4}"/>
              </a:ext>
            </a:extLst>
          </p:cNvPr>
          <p:cNvGrpSpPr/>
          <p:nvPr/>
        </p:nvGrpSpPr>
        <p:grpSpPr>
          <a:xfrm rot="21056994">
            <a:off x="3313103" y="4876933"/>
            <a:ext cx="1073103" cy="1047874"/>
            <a:chOff x="3653042" y="1822721"/>
            <a:chExt cx="3984154" cy="3890489"/>
          </a:xfrm>
        </p:grpSpPr>
        <p:sp>
          <p:nvSpPr>
            <p:cNvPr id="79" name="Freeform: Shape 78">
              <a:extLst>
                <a:ext uri="{FF2B5EF4-FFF2-40B4-BE49-F238E27FC236}">
                  <a16:creationId xmlns:a16="http://schemas.microsoft.com/office/drawing/2014/main" id="{5E8325D6-A396-42E7-8893-DF16A6309DC4}"/>
                </a:ext>
              </a:extLst>
            </p:cNvPr>
            <p:cNvSpPr/>
            <p:nvPr/>
          </p:nvSpPr>
          <p:spPr>
            <a:xfrm rot="2231616">
              <a:off x="5303720" y="1822721"/>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6F695691-49F6-4D02-9764-261BD6152D29}"/>
                </a:ext>
              </a:extLst>
            </p:cNvPr>
            <p:cNvSpPr/>
            <p:nvPr/>
          </p:nvSpPr>
          <p:spPr>
            <a:xfrm rot="7631616">
              <a:off x="5542290" y="3141979"/>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A505710D-F239-4C60-99D5-4B1A6AED4D6C}"/>
                </a:ext>
              </a:extLst>
            </p:cNvPr>
            <p:cNvSpPr/>
            <p:nvPr/>
          </p:nvSpPr>
          <p:spPr>
            <a:xfrm rot="13031616">
              <a:off x="4178640" y="3305303"/>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5175CC05-9391-4B49-98DC-56CA462A353A}"/>
                </a:ext>
              </a:extLst>
            </p:cNvPr>
            <p:cNvSpPr/>
            <p:nvPr/>
          </p:nvSpPr>
          <p:spPr>
            <a:xfrm rot="18431616">
              <a:off x="3966043" y="1951818"/>
              <a:ext cx="1781906" cy="2407907"/>
            </a:xfrm>
            <a:custGeom>
              <a:avLst/>
              <a:gdLst>
                <a:gd name="connsiteX0" fmla="*/ 608533 w 1217066"/>
                <a:gd name="connsiteY0" fmla="*/ 0 h 1644633"/>
                <a:gd name="connsiteX1" fmla="*/ 1217066 w 1217066"/>
                <a:gd name="connsiteY1" fmla="*/ 608533 h 1644633"/>
                <a:gd name="connsiteX2" fmla="*/ 912800 w 1217066"/>
                <a:gd name="connsiteY2" fmla="*/ 608533 h 1644633"/>
                <a:gd name="connsiteX3" fmla="*/ 608533 w 1217066"/>
                <a:gd name="connsiteY3" fmla="*/ 304266 h 1644633"/>
                <a:gd name="connsiteX4" fmla="*/ 304266 w 1217066"/>
                <a:gd name="connsiteY4" fmla="*/ 608533 h 1644633"/>
                <a:gd name="connsiteX5" fmla="*/ 292432 w 1217066"/>
                <a:gd name="connsiteY5" fmla="*/ 608533 h 1644633"/>
                <a:gd name="connsiteX6" fmla="*/ 296851 w 1217066"/>
                <a:gd name="connsiteY6" fmla="*/ 615088 h 1644633"/>
                <a:gd name="connsiteX7" fmla="*/ 300791 w 1217066"/>
                <a:gd name="connsiteY7" fmla="*/ 634602 h 1644633"/>
                <a:gd name="connsiteX8" fmla="*/ 300791 w 1217066"/>
                <a:gd name="connsiteY8" fmla="*/ 1594500 h 1644633"/>
                <a:gd name="connsiteX9" fmla="*/ 250658 w 1217066"/>
                <a:gd name="connsiteY9" fmla="*/ 1644633 h 1644633"/>
                <a:gd name="connsiteX10" fmla="*/ 50134 w 1217066"/>
                <a:gd name="connsiteY10" fmla="*/ 1644633 h 1644633"/>
                <a:gd name="connsiteX11" fmla="*/ 1 w 1217066"/>
                <a:gd name="connsiteY11" fmla="*/ 1594500 h 1644633"/>
                <a:gd name="connsiteX12" fmla="*/ 1 w 1217066"/>
                <a:gd name="connsiteY12" fmla="*/ 634602 h 1644633"/>
                <a:gd name="connsiteX13" fmla="*/ 3941 w 1217066"/>
                <a:gd name="connsiteY13" fmla="*/ 615088 h 1644633"/>
                <a:gd name="connsiteX14" fmla="*/ 8360 w 1217066"/>
                <a:gd name="connsiteY14" fmla="*/ 608533 h 1644633"/>
                <a:gd name="connsiteX15" fmla="*/ 0 w 1217066"/>
                <a:gd name="connsiteY15" fmla="*/ 608533 h 1644633"/>
                <a:gd name="connsiteX16" fmla="*/ 608533 w 1217066"/>
                <a:gd name="connsiteY16" fmla="*/ 0 h 164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7066" h="1644633">
                  <a:moveTo>
                    <a:pt x="608533" y="0"/>
                  </a:moveTo>
                  <a:cubicBezTo>
                    <a:pt x="944616" y="0"/>
                    <a:pt x="1217066" y="272450"/>
                    <a:pt x="1217066" y="608533"/>
                  </a:cubicBezTo>
                  <a:lnTo>
                    <a:pt x="912800" y="608533"/>
                  </a:lnTo>
                  <a:cubicBezTo>
                    <a:pt x="912800" y="440491"/>
                    <a:pt x="776575" y="304266"/>
                    <a:pt x="608533" y="304266"/>
                  </a:cubicBezTo>
                  <a:cubicBezTo>
                    <a:pt x="440491" y="304266"/>
                    <a:pt x="304266" y="440491"/>
                    <a:pt x="304266" y="608533"/>
                  </a:cubicBezTo>
                  <a:lnTo>
                    <a:pt x="292432" y="608533"/>
                  </a:lnTo>
                  <a:lnTo>
                    <a:pt x="296851" y="615088"/>
                  </a:lnTo>
                  <a:cubicBezTo>
                    <a:pt x="299388" y="621086"/>
                    <a:pt x="300791" y="627680"/>
                    <a:pt x="300791" y="634602"/>
                  </a:cubicBezTo>
                  <a:lnTo>
                    <a:pt x="300791" y="1594500"/>
                  </a:lnTo>
                  <a:cubicBezTo>
                    <a:pt x="300791" y="1622188"/>
                    <a:pt x="278346" y="1644633"/>
                    <a:pt x="250658" y="1644633"/>
                  </a:cubicBezTo>
                  <a:lnTo>
                    <a:pt x="50134" y="1644633"/>
                  </a:lnTo>
                  <a:cubicBezTo>
                    <a:pt x="22446" y="1644633"/>
                    <a:pt x="1" y="1622188"/>
                    <a:pt x="1" y="1594500"/>
                  </a:cubicBezTo>
                  <a:lnTo>
                    <a:pt x="1" y="634602"/>
                  </a:lnTo>
                  <a:cubicBezTo>
                    <a:pt x="1" y="627680"/>
                    <a:pt x="1404" y="621086"/>
                    <a:pt x="3941" y="615088"/>
                  </a:cubicBezTo>
                  <a:lnTo>
                    <a:pt x="8360" y="608533"/>
                  </a:lnTo>
                  <a:lnTo>
                    <a:pt x="0" y="608533"/>
                  </a:lnTo>
                  <a:cubicBezTo>
                    <a:pt x="0" y="272450"/>
                    <a:pt x="272450" y="0"/>
                    <a:pt x="608533"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88" name="Group 87">
            <a:extLst>
              <a:ext uri="{FF2B5EF4-FFF2-40B4-BE49-F238E27FC236}">
                <a16:creationId xmlns:a16="http://schemas.microsoft.com/office/drawing/2014/main" id="{8024668F-DBD6-4D0B-B84A-6A850C488DB5}"/>
              </a:ext>
            </a:extLst>
          </p:cNvPr>
          <p:cNvGrpSpPr/>
          <p:nvPr/>
        </p:nvGrpSpPr>
        <p:grpSpPr>
          <a:xfrm>
            <a:off x="379034" y="4119935"/>
            <a:ext cx="2815680" cy="1174553"/>
            <a:chOff x="424645" y="3440071"/>
            <a:chExt cx="2815680" cy="1174553"/>
          </a:xfrm>
        </p:grpSpPr>
        <p:sp>
          <p:nvSpPr>
            <p:cNvPr id="84" name="TextBox 83">
              <a:extLst>
                <a:ext uri="{FF2B5EF4-FFF2-40B4-BE49-F238E27FC236}">
                  <a16:creationId xmlns:a16="http://schemas.microsoft.com/office/drawing/2014/main" id="{EF833A8A-064F-4EC6-A2E8-E45413448871}"/>
                </a:ext>
              </a:extLst>
            </p:cNvPr>
            <p:cNvSpPr txBox="1"/>
            <p:nvPr/>
          </p:nvSpPr>
          <p:spPr>
            <a:xfrm>
              <a:off x="486127" y="3440071"/>
              <a:ext cx="273784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Neue Haas Grotesk Text Pro" panose="020B0504020202020204" pitchFamily="34" charset="0"/>
                </a:rPr>
                <a:t>Business Dynamics</a:t>
              </a:r>
            </a:p>
          </p:txBody>
        </p:sp>
        <p:sp>
          <p:nvSpPr>
            <p:cNvPr id="87" name="TextBox 86">
              <a:extLst>
                <a:ext uri="{FF2B5EF4-FFF2-40B4-BE49-F238E27FC236}">
                  <a16:creationId xmlns:a16="http://schemas.microsoft.com/office/drawing/2014/main" id="{AAAF367A-3B32-4C4F-A57E-AF0049FFF9FE}"/>
                </a:ext>
              </a:extLst>
            </p:cNvPr>
            <p:cNvSpPr txBox="1"/>
            <p:nvPr/>
          </p:nvSpPr>
          <p:spPr>
            <a:xfrm>
              <a:off x="424645" y="3763013"/>
              <a:ext cx="995365" cy="851611"/>
            </a:xfrm>
            <a:prstGeom prst="rect">
              <a:avLst/>
            </a:prstGeom>
            <a:solidFill>
              <a:schemeClr val="tx2"/>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Gross Profit To Total Asset Ratio</a:t>
              </a:r>
            </a:p>
          </p:txBody>
        </p:sp>
        <p:sp>
          <p:nvSpPr>
            <p:cNvPr id="139" name="TextBox 138">
              <a:extLst>
                <a:ext uri="{FF2B5EF4-FFF2-40B4-BE49-F238E27FC236}">
                  <a16:creationId xmlns:a16="http://schemas.microsoft.com/office/drawing/2014/main" id="{7669FB64-D76B-40D8-A385-17E7656F46CC}"/>
                </a:ext>
              </a:extLst>
            </p:cNvPr>
            <p:cNvSpPr txBox="1"/>
            <p:nvPr/>
          </p:nvSpPr>
          <p:spPr>
            <a:xfrm>
              <a:off x="1448433" y="3763012"/>
              <a:ext cx="1791892" cy="851611"/>
            </a:xfrm>
            <a:prstGeom prst="rect">
              <a:avLst/>
            </a:prstGeom>
            <a:solidFill>
              <a:schemeClr val="tx2">
                <a:lumMod val="20000"/>
                <a:lumOff val="80000"/>
              </a:schemeClr>
            </a:solidFill>
          </p:spPr>
          <p:txBody>
            <a:bodyPr wrap="square" rtlCol="0">
              <a:noAutofit/>
            </a:bodyPr>
            <a:lstStyle/>
            <a:p>
              <a:r>
                <a:rPr lang="en-SG" sz="1000">
                  <a:latin typeface="Neue Haas Grotesk Text Pro" panose="020B0504020202020204" pitchFamily="34" charset="0"/>
                </a:rPr>
                <a:t>Indicates how efficient a business is at using its assets. </a:t>
              </a:r>
            </a:p>
            <a:p>
              <a:r>
                <a:rPr lang="en-SG" sz="1000">
                  <a:latin typeface="Neue Haas Grotesk Text Pro" panose="020B0504020202020204" pitchFamily="34" charset="0"/>
                </a:rPr>
                <a:t>Higher = business needs less capital to grow</a:t>
              </a:r>
            </a:p>
          </p:txBody>
        </p:sp>
      </p:grpSp>
      <p:sp>
        <p:nvSpPr>
          <p:cNvPr id="100" name="Text Placeholder 49">
            <a:extLst>
              <a:ext uri="{FF2B5EF4-FFF2-40B4-BE49-F238E27FC236}">
                <a16:creationId xmlns:a16="http://schemas.microsoft.com/office/drawing/2014/main" id="{66394668-D67F-4705-A072-BBCDFBC43268}"/>
              </a:ext>
            </a:extLst>
          </p:cNvPr>
          <p:cNvSpPr txBox="1">
            <a:spLocks/>
          </p:cNvSpPr>
          <p:nvPr/>
        </p:nvSpPr>
        <p:spPr>
          <a:xfrm>
            <a:off x="339724" y="3752850"/>
            <a:ext cx="6964194" cy="307575"/>
          </a:xfrm>
          <a:prstGeom prst="rect">
            <a:avLst/>
          </a:prstGeom>
          <a:solidFill>
            <a:srgbClr val="132E57"/>
          </a:solidFill>
          <a:ln w="6350">
            <a:solidFill>
              <a:schemeClr val="bg2">
                <a:lumMod val="90000"/>
              </a:schemeClr>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600" b="1">
                <a:latin typeface="Neue Haas Grotesk Text Pro" panose="020B0504020202020204" pitchFamily="34" charset="0"/>
              </a:rPr>
              <a:t>Quality Indicator: </a:t>
            </a:r>
            <a:r>
              <a:rPr lang="en-US" sz="1600" b="1">
                <a:latin typeface="Neue Haas Grotesk Text Pro" panose="020B0504020202020204" pitchFamily="34" charset="0"/>
              </a:rPr>
              <a:t>4 Factors for Long Term Business Success</a:t>
            </a:r>
            <a:endParaRPr lang="en-SG" sz="1600" b="1">
              <a:latin typeface="Neue Haas Grotesk Text Pro" panose="020B0504020202020204" pitchFamily="34" charset="0"/>
            </a:endParaRPr>
          </a:p>
        </p:txBody>
      </p:sp>
      <p:sp>
        <p:nvSpPr>
          <p:cNvPr id="108" name="TextBox 107">
            <a:extLst>
              <a:ext uri="{FF2B5EF4-FFF2-40B4-BE49-F238E27FC236}">
                <a16:creationId xmlns:a16="http://schemas.microsoft.com/office/drawing/2014/main" id="{5B8449BC-4A8C-4D76-B188-7319721E5861}"/>
              </a:ext>
            </a:extLst>
          </p:cNvPr>
          <p:cNvSpPr txBox="1"/>
          <p:nvPr/>
        </p:nvSpPr>
        <p:spPr>
          <a:xfrm>
            <a:off x="7495610" y="1486859"/>
            <a:ext cx="4351901" cy="523220"/>
          </a:xfrm>
          <a:prstGeom prst="rect">
            <a:avLst/>
          </a:prstGeom>
          <a:noFill/>
        </p:spPr>
        <p:txBody>
          <a:bodyPr wrap="square">
            <a:spAutoFit/>
          </a:bodyPr>
          <a:lstStyle/>
          <a:p>
            <a:pPr marL="285750" indent="-285750" algn="just">
              <a:buFont typeface="Arial" panose="020B0604020202020204" pitchFamily="34" charset="0"/>
              <a:buChar char="•"/>
            </a:pPr>
            <a:r>
              <a:rPr lang="en-SG" sz="1400">
                <a:latin typeface="Neue Haas Grotesk Text Pro" panose="020B0504020202020204" pitchFamily="34" charset="0"/>
              </a:rPr>
              <a:t>Through stock dashboard, users can access a </a:t>
            </a:r>
            <a:r>
              <a:rPr lang="en-SG" sz="1400" b="1">
                <a:latin typeface="Neue Haas Grotesk Text Pro" panose="020B0504020202020204" pitchFamily="34" charset="0"/>
              </a:rPr>
              <a:t>leading indicator of share prices</a:t>
            </a:r>
          </a:p>
        </p:txBody>
      </p:sp>
      <p:grpSp>
        <p:nvGrpSpPr>
          <p:cNvPr id="131" name="Group 130">
            <a:extLst>
              <a:ext uri="{FF2B5EF4-FFF2-40B4-BE49-F238E27FC236}">
                <a16:creationId xmlns:a16="http://schemas.microsoft.com/office/drawing/2014/main" id="{7C390714-B0B8-481D-B14C-5536D03935EF}"/>
              </a:ext>
            </a:extLst>
          </p:cNvPr>
          <p:cNvGrpSpPr/>
          <p:nvPr/>
        </p:nvGrpSpPr>
        <p:grpSpPr>
          <a:xfrm>
            <a:off x="7495611" y="2150545"/>
            <a:ext cx="4351901" cy="2329967"/>
            <a:chOff x="7495611" y="2369087"/>
            <a:chExt cx="4351901" cy="2329967"/>
          </a:xfrm>
        </p:grpSpPr>
        <p:grpSp>
          <p:nvGrpSpPr>
            <p:cNvPr id="8" name="Group 7">
              <a:extLst>
                <a:ext uri="{FF2B5EF4-FFF2-40B4-BE49-F238E27FC236}">
                  <a16:creationId xmlns:a16="http://schemas.microsoft.com/office/drawing/2014/main" id="{E117930B-8DED-4CDA-9990-A930334BC2DD}"/>
                </a:ext>
              </a:extLst>
            </p:cNvPr>
            <p:cNvGrpSpPr/>
            <p:nvPr/>
          </p:nvGrpSpPr>
          <p:grpSpPr>
            <a:xfrm>
              <a:off x="7495611" y="2369087"/>
              <a:ext cx="4351901" cy="2329967"/>
              <a:chOff x="334963" y="1087244"/>
              <a:chExt cx="5616575" cy="3261732"/>
            </a:xfrm>
          </p:grpSpPr>
          <p:graphicFrame>
            <p:nvGraphicFramePr>
              <p:cNvPr id="5" name="Chart 4">
                <a:extLst>
                  <a:ext uri="{FF2B5EF4-FFF2-40B4-BE49-F238E27FC236}">
                    <a16:creationId xmlns:a16="http://schemas.microsoft.com/office/drawing/2014/main" id="{8B4CDEA0-C0D1-403B-AA81-E25BC493A8D4}"/>
                  </a:ext>
                </a:extLst>
              </p:cNvPr>
              <p:cNvGraphicFramePr>
                <a:graphicFrameLocks/>
              </p:cNvGraphicFramePr>
              <p:nvPr/>
            </p:nvGraphicFramePr>
            <p:xfrm>
              <a:off x="334963" y="1087244"/>
              <a:ext cx="5616575" cy="3261732"/>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a:extLst>
                  <a:ext uri="{FF2B5EF4-FFF2-40B4-BE49-F238E27FC236}">
                    <a16:creationId xmlns:a16="http://schemas.microsoft.com/office/drawing/2014/main" id="{E070E35B-67E6-4EB2-B798-4E592A0DCFC6}"/>
                  </a:ext>
                </a:extLst>
              </p:cNvPr>
              <p:cNvSpPr/>
              <p:nvPr/>
            </p:nvSpPr>
            <p:spPr>
              <a:xfrm>
                <a:off x="2006996" y="1772854"/>
                <a:ext cx="601884" cy="1909361"/>
              </a:xfrm>
              <a:prstGeom prst="rect">
                <a:avLst/>
              </a:prstGeom>
              <a:solidFill>
                <a:schemeClr val="accent2">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4" name="Rectangle 3">
                <a:extLst>
                  <a:ext uri="{FF2B5EF4-FFF2-40B4-BE49-F238E27FC236}">
                    <a16:creationId xmlns:a16="http://schemas.microsoft.com/office/drawing/2014/main" id="{9D25AAD6-2FAC-417D-8D1A-B9DCA171DCD5}"/>
                  </a:ext>
                </a:extLst>
              </p:cNvPr>
              <p:cNvSpPr/>
              <p:nvPr/>
            </p:nvSpPr>
            <p:spPr>
              <a:xfrm>
                <a:off x="4150235" y="1772854"/>
                <a:ext cx="988013" cy="1909361"/>
              </a:xfrm>
              <a:prstGeom prst="rect">
                <a:avLst/>
              </a:prstGeom>
              <a:solidFill>
                <a:schemeClr val="accent2">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cxnSp>
            <p:nvCxnSpPr>
              <p:cNvPr id="13" name="Straight Arrow Connector 12">
                <a:extLst>
                  <a:ext uri="{FF2B5EF4-FFF2-40B4-BE49-F238E27FC236}">
                    <a16:creationId xmlns:a16="http://schemas.microsoft.com/office/drawing/2014/main" id="{BAF965F3-B522-4F0E-8E5B-9F608D0D2969}"/>
                  </a:ext>
                </a:extLst>
              </p:cNvPr>
              <p:cNvCxnSpPr>
                <a:cxnSpLocks/>
              </p:cNvCxnSpPr>
              <p:nvPr/>
            </p:nvCxnSpPr>
            <p:spPr>
              <a:xfrm flipV="1">
                <a:off x="983504" y="2060445"/>
                <a:ext cx="601884" cy="572947"/>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8AE4294-2BB5-4429-BB22-DCD998FD675A}"/>
                  </a:ext>
                </a:extLst>
              </p:cNvPr>
              <p:cNvCxnSpPr>
                <a:cxnSpLocks/>
              </p:cNvCxnSpPr>
              <p:nvPr/>
            </p:nvCxnSpPr>
            <p:spPr>
              <a:xfrm flipV="1">
                <a:off x="3790451" y="1934132"/>
                <a:ext cx="531669" cy="932085"/>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sp>
          <p:nvSpPr>
            <p:cNvPr id="109" name="TextBox 108">
              <a:extLst>
                <a:ext uri="{FF2B5EF4-FFF2-40B4-BE49-F238E27FC236}">
                  <a16:creationId xmlns:a16="http://schemas.microsoft.com/office/drawing/2014/main" id="{BFDD08B0-1D47-4FC1-8A6E-2E2635835354}"/>
                </a:ext>
              </a:extLst>
            </p:cNvPr>
            <p:cNvSpPr txBox="1"/>
            <p:nvPr/>
          </p:nvSpPr>
          <p:spPr>
            <a:xfrm>
              <a:off x="7972526" y="2457891"/>
              <a:ext cx="3244823" cy="409276"/>
            </a:xfrm>
            <a:prstGeom prst="rect">
              <a:avLst/>
            </a:prstGeom>
            <a:solidFill>
              <a:schemeClr val="tx2"/>
            </a:solidFill>
          </p:spPr>
          <p:txBody>
            <a:bodyPr wrap="square" anchor="ctr">
              <a:noAutofit/>
            </a:bodyPr>
            <a:lstStyle/>
            <a:p>
              <a:pPr algn="ctr" rtl="0">
                <a:defRPr sz="1000" b="1" i="0" u="none" strike="noStrike" kern="1200" spc="0" baseline="0">
                  <a:solidFill>
                    <a:prstClr val="black"/>
                  </a:solidFill>
                  <a:latin typeface="Neue Haas Grotesk Text Pro" panose="020B0504020202020204" pitchFamily="34" charset="0"/>
                  <a:ea typeface="Cambria" panose="02040503050406030204" pitchFamily="18" charset="0"/>
                  <a:cs typeface="+mn-cs"/>
                </a:defRPr>
              </a:pPr>
              <a:r>
                <a:rPr lang="en-SG" sz="1050" b="1">
                  <a:solidFill>
                    <a:schemeClr val="bg1"/>
                  </a:solidFill>
                </a:rPr>
                <a:t>Tesla’s 14 day Average Social Media Sentiment Score vs Stock Price, June 2020 to Present</a:t>
              </a:r>
            </a:p>
          </p:txBody>
        </p:sp>
      </p:grpSp>
      <p:grpSp>
        <p:nvGrpSpPr>
          <p:cNvPr id="111" name="Google Shape;1666;p39">
            <a:extLst>
              <a:ext uri="{FF2B5EF4-FFF2-40B4-BE49-F238E27FC236}">
                <a16:creationId xmlns:a16="http://schemas.microsoft.com/office/drawing/2014/main" id="{A5B246E3-8B28-4C00-B9C9-94396AC50906}"/>
              </a:ext>
            </a:extLst>
          </p:cNvPr>
          <p:cNvGrpSpPr/>
          <p:nvPr/>
        </p:nvGrpSpPr>
        <p:grpSpPr>
          <a:xfrm>
            <a:off x="8206170" y="4405173"/>
            <a:ext cx="1120259" cy="2258778"/>
            <a:chOff x="902687" y="1390650"/>
            <a:chExt cx="1669419" cy="3366050"/>
          </a:xfrm>
        </p:grpSpPr>
        <p:sp>
          <p:nvSpPr>
            <p:cNvPr id="116" name="Google Shape;1667;p39">
              <a:extLst>
                <a:ext uri="{FF2B5EF4-FFF2-40B4-BE49-F238E27FC236}">
                  <a16:creationId xmlns:a16="http://schemas.microsoft.com/office/drawing/2014/main" id="{704B49FD-8F7D-46DA-AECB-42DBA8EB73F9}"/>
                </a:ext>
              </a:extLst>
            </p:cNvPr>
            <p:cNvSpPr/>
            <p:nvPr/>
          </p:nvSpPr>
          <p:spPr>
            <a:xfrm>
              <a:off x="902687" y="1708449"/>
              <a:ext cx="1669419" cy="3048251"/>
            </a:xfrm>
            <a:custGeom>
              <a:avLst/>
              <a:gdLst/>
              <a:ahLst/>
              <a:cxnLst/>
              <a:rect l="l" t="t" r="r" b="b"/>
              <a:pathLst>
                <a:path w="51781" h="81737" extrusionOk="0">
                  <a:moveTo>
                    <a:pt x="1894" y="1"/>
                  </a:moveTo>
                  <a:cubicBezTo>
                    <a:pt x="846" y="1"/>
                    <a:pt x="1" y="715"/>
                    <a:pt x="1" y="1608"/>
                  </a:cubicBezTo>
                  <a:lnTo>
                    <a:pt x="1" y="81737"/>
                  </a:lnTo>
                  <a:lnTo>
                    <a:pt x="51781" y="81737"/>
                  </a:lnTo>
                  <a:lnTo>
                    <a:pt x="51781" y="1608"/>
                  </a:lnTo>
                  <a:cubicBezTo>
                    <a:pt x="51781" y="715"/>
                    <a:pt x="50936" y="1"/>
                    <a:pt x="49888" y="1"/>
                  </a:cubicBezTo>
                  <a:lnTo>
                    <a:pt x="34481" y="1"/>
                  </a:lnTo>
                  <a:cubicBezTo>
                    <a:pt x="34505" y="179"/>
                    <a:pt x="34517" y="358"/>
                    <a:pt x="34517" y="548"/>
                  </a:cubicBezTo>
                  <a:cubicBezTo>
                    <a:pt x="34517" y="4620"/>
                    <a:pt x="30647" y="7906"/>
                    <a:pt x="25885" y="7906"/>
                  </a:cubicBezTo>
                  <a:cubicBezTo>
                    <a:pt x="21122" y="7906"/>
                    <a:pt x="17253" y="4608"/>
                    <a:pt x="17253" y="548"/>
                  </a:cubicBezTo>
                  <a:cubicBezTo>
                    <a:pt x="17253" y="370"/>
                    <a:pt x="17265" y="179"/>
                    <a:pt x="17277" y="1"/>
                  </a:cubicBezTo>
                  <a:close/>
                </a:path>
              </a:pathLst>
            </a:custGeom>
            <a:solidFill>
              <a:schemeClr val="accent1">
                <a:lumMod val="20000"/>
                <a:lumOff val="80000"/>
              </a:schemeClr>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17" name="Google Shape;1668;p39">
              <a:extLst>
                <a:ext uri="{FF2B5EF4-FFF2-40B4-BE49-F238E27FC236}">
                  <a16:creationId xmlns:a16="http://schemas.microsoft.com/office/drawing/2014/main" id="{7BB1A72A-AC49-4C8E-881D-2EF08358EC98}"/>
                </a:ext>
              </a:extLst>
            </p:cNvPr>
            <p:cNvSpPr/>
            <p:nvPr/>
          </p:nvSpPr>
          <p:spPr>
            <a:xfrm>
              <a:off x="1399088" y="1702477"/>
              <a:ext cx="672791" cy="361004"/>
            </a:xfrm>
            <a:custGeom>
              <a:avLst/>
              <a:gdLst/>
              <a:ahLst/>
              <a:cxnLst/>
              <a:rect l="l" t="t" r="r" b="b"/>
              <a:pathLst>
                <a:path w="17265" h="9264" extrusionOk="0">
                  <a:moveTo>
                    <a:pt x="36" y="0"/>
                  </a:moveTo>
                  <a:cubicBezTo>
                    <a:pt x="13" y="203"/>
                    <a:pt x="1" y="429"/>
                    <a:pt x="1" y="631"/>
                  </a:cubicBezTo>
                  <a:cubicBezTo>
                    <a:pt x="1" y="5394"/>
                    <a:pt x="3870" y="9263"/>
                    <a:pt x="8633" y="9263"/>
                  </a:cubicBezTo>
                  <a:cubicBezTo>
                    <a:pt x="13395" y="9263"/>
                    <a:pt x="17265" y="5394"/>
                    <a:pt x="17265" y="631"/>
                  </a:cubicBezTo>
                  <a:cubicBezTo>
                    <a:pt x="17265" y="417"/>
                    <a:pt x="17253" y="203"/>
                    <a:pt x="17241" y="0"/>
                  </a:cubicBezTo>
                  <a:lnTo>
                    <a:pt x="14503" y="0"/>
                  </a:lnTo>
                  <a:cubicBezTo>
                    <a:pt x="14526" y="203"/>
                    <a:pt x="14526" y="429"/>
                    <a:pt x="14526" y="631"/>
                  </a:cubicBezTo>
                  <a:cubicBezTo>
                    <a:pt x="14526" y="3894"/>
                    <a:pt x="11883" y="6525"/>
                    <a:pt x="8633" y="6525"/>
                  </a:cubicBezTo>
                  <a:cubicBezTo>
                    <a:pt x="5370" y="6525"/>
                    <a:pt x="2739" y="3882"/>
                    <a:pt x="2739" y="631"/>
                  </a:cubicBezTo>
                  <a:cubicBezTo>
                    <a:pt x="2739" y="417"/>
                    <a:pt x="2751" y="203"/>
                    <a:pt x="2775" y="0"/>
                  </a:cubicBezTo>
                  <a:close/>
                </a:path>
              </a:pathLst>
            </a:custGeom>
            <a:solidFill>
              <a:schemeClr val="tx2"/>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18" name="Google Shape;1669;p39">
              <a:extLst>
                <a:ext uri="{FF2B5EF4-FFF2-40B4-BE49-F238E27FC236}">
                  <a16:creationId xmlns:a16="http://schemas.microsoft.com/office/drawing/2014/main" id="{7B6D422A-BE17-4418-BDBA-18FBBF514F89}"/>
                </a:ext>
              </a:extLst>
            </p:cNvPr>
            <p:cNvSpPr/>
            <p:nvPr/>
          </p:nvSpPr>
          <p:spPr>
            <a:xfrm>
              <a:off x="1399555" y="1390650"/>
              <a:ext cx="670475" cy="311818"/>
            </a:xfrm>
            <a:custGeom>
              <a:avLst/>
              <a:gdLst/>
              <a:ahLst/>
              <a:cxnLst/>
              <a:rect l="l" t="t" r="r" b="b"/>
              <a:pathLst>
                <a:path w="17206" h="8002" extrusionOk="0">
                  <a:moveTo>
                    <a:pt x="8609" y="0"/>
                  </a:moveTo>
                  <a:cubicBezTo>
                    <a:pt x="4049" y="0"/>
                    <a:pt x="346" y="3536"/>
                    <a:pt x="1" y="8001"/>
                  </a:cubicBezTo>
                  <a:lnTo>
                    <a:pt x="2739" y="8001"/>
                  </a:lnTo>
                  <a:cubicBezTo>
                    <a:pt x="3072" y="5037"/>
                    <a:pt x="5573" y="2739"/>
                    <a:pt x="8609" y="2739"/>
                  </a:cubicBezTo>
                  <a:cubicBezTo>
                    <a:pt x="11645" y="2739"/>
                    <a:pt x="14145" y="5049"/>
                    <a:pt x="14467" y="8001"/>
                  </a:cubicBezTo>
                  <a:lnTo>
                    <a:pt x="17205" y="8001"/>
                  </a:lnTo>
                  <a:cubicBezTo>
                    <a:pt x="16884" y="3536"/>
                    <a:pt x="13157" y="0"/>
                    <a:pt x="8609" y="0"/>
                  </a:cubicBezTo>
                  <a:close/>
                </a:path>
              </a:pathLst>
            </a:custGeom>
            <a:solidFill>
              <a:schemeClr val="tx2"/>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20" name="Google Shape;1671;p39">
              <a:extLst>
                <a:ext uri="{FF2B5EF4-FFF2-40B4-BE49-F238E27FC236}">
                  <a16:creationId xmlns:a16="http://schemas.microsoft.com/office/drawing/2014/main" id="{9848EFC0-74C6-407F-864B-0FA6CE75A6DA}"/>
                </a:ext>
              </a:extLst>
            </p:cNvPr>
            <p:cNvSpPr/>
            <p:nvPr/>
          </p:nvSpPr>
          <p:spPr>
            <a:xfrm>
              <a:off x="1052791" y="2759360"/>
              <a:ext cx="1369233" cy="31"/>
            </a:xfrm>
            <a:custGeom>
              <a:avLst/>
              <a:gdLst/>
              <a:ahLst/>
              <a:cxnLst/>
              <a:rect l="l" t="t" r="r" b="b"/>
              <a:pathLst>
                <a:path w="42470" h="1" fill="none" extrusionOk="0">
                  <a:moveTo>
                    <a:pt x="0" y="1"/>
                  </a:moveTo>
                  <a:lnTo>
                    <a:pt x="42470" y="1"/>
                  </a:lnTo>
                </a:path>
              </a:pathLst>
            </a:custGeom>
            <a:noFill/>
            <a:ln w="19050" cap="flat" cmpd="sng">
              <a:solidFill>
                <a:schemeClr val="dk1"/>
              </a:solidFill>
              <a:prstDash val="solid"/>
              <a:miter lim="11906"/>
              <a:headEnd type="none" w="sm" len="sm"/>
              <a:tailEnd type="none" w="sm" len="sm"/>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grpSp>
      <p:grpSp>
        <p:nvGrpSpPr>
          <p:cNvPr id="112" name="Google Shape;1672;p39">
            <a:extLst>
              <a:ext uri="{FF2B5EF4-FFF2-40B4-BE49-F238E27FC236}">
                <a16:creationId xmlns:a16="http://schemas.microsoft.com/office/drawing/2014/main" id="{807C5E6B-206D-48A2-AAA3-E9257C17905A}"/>
              </a:ext>
            </a:extLst>
          </p:cNvPr>
          <p:cNvGrpSpPr/>
          <p:nvPr/>
        </p:nvGrpSpPr>
        <p:grpSpPr>
          <a:xfrm>
            <a:off x="8306896" y="4871265"/>
            <a:ext cx="918821" cy="1567075"/>
            <a:chOff x="1052790" y="2085225"/>
            <a:chExt cx="1369235" cy="2335267"/>
          </a:xfrm>
        </p:grpSpPr>
        <p:sp>
          <p:nvSpPr>
            <p:cNvPr id="114" name="Google Shape;1673;p39">
              <a:extLst>
                <a:ext uri="{FF2B5EF4-FFF2-40B4-BE49-F238E27FC236}">
                  <a16:creationId xmlns:a16="http://schemas.microsoft.com/office/drawing/2014/main" id="{77A0260A-DEA0-4796-9508-27194D189460}"/>
                </a:ext>
              </a:extLst>
            </p:cNvPr>
            <p:cNvSpPr txBox="1"/>
            <p:nvPr/>
          </p:nvSpPr>
          <p:spPr>
            <a:xfrm>
              <a:off x="1091474" y="2085225"/>
              <a:ext cx="1307099" cy="536074"/>
            </a:xfrm>
            <a:prstGeom prst="rect">
              <a:avLst/>
            </a:prstGeom>
            <a:noFill/>
            <a:ln>
              <a:noFill/>
            </a:ln>
          </p:spPr>
          <p:txBody>
            <a:bodyPr spcFirstLastPara="1" wrap="square" lIns="0" tIns="121900" rIns="0" bIns="121900" anchor="ctr" anchorCtr="0">
              <a:noAutofit/>
            </a:bodyPr>
            <a:lstStyle/>
            <a:p>
              <a:pPr algn="ctr"/>
              <a:r>
                <a:rPr lang="en" sz="1000" b="1">
                  <a:solidFill>
                    <a:schemeClr val="dk1"/>
                  </a:solidFill>
                  <a:latin typeface="Neue Haas Grotesk Text Pro" panose="020B0504020202020204" pitchFamily="34" charset="0"/>
                  <a:ea typeface="Fira Sans"/>
                  <a:cs typeface="Fira Sans"/>
                  <a:sym typeface="Fira Sans"/>
                </a:rPr>
                <a:t>Machine Learning</a:t>
              </a:r>
              <a:endParaRPr sz="1000" b="1">
                <a:solidFill>
                  <a:schemeClr val="dk1"/>
                </a:solidFill>
                <a:latin typeface="Neue Haas Grotesk Text Pro" panose="020B0504020202020204" pitchFamily="34" charset="0"/>
                <a:ea typeface="Fira Sans"/>
                <a:cs typeface="Fira Sans"/>
                <a:sym typeface="Fira Sans"/>
              </a:endParaRPr>
            </a:p>
          </p:txBody>
        </p:sp>
        <p:sp>
          <p:nvSpPr>
            <p:cNvPr id="115" name="Google Shape;1674;p39">
              <a:extLst>
                <a:ext uri="{FF2B5EF4-FFF2-40B4-BE49-F238E27FC236}">
                  <a16:creationId xmlns:a16="http://schemas.microsoft.com/office/drawing/2014/main" id="{596E6911-19DF-4C8C-9443-6BCC320C2FE3}"/>
                </a:ext>
              </a:extLst>
            </p:cNvPr>
            <p:cNvSpPr txBox="1"/>
            <p:nvPr/>
          </p:nvSpPr>
          <p:spPr>
            <a:xfrm>
              <a:off x="1052790" y="3009511"/>
              <a:ext cx="1369235" cy="1410981"/>
            </a:xfrm>
            <a:prstGeom prst="rect">
              <a:avLst/>
            </a:prstGeom>
            <a:noFill/>
            <a:ln>
              <a:noFill/>
            </a:ln>
          </p:spPr>
          <p:txBody>
            <a:bodyPr spcFirstLastPara="1" wrap="square" lIns="0" tIns="121900" rIns="0" bIns="121900" anchor="ctr" anchorCtr="0">
              <a:noAutofit/>
            </a:bodyPr>
            <a:lstStyle/>
            <a:p>
              <a:pPr algn="ctr"/>
              <a:r>
                <a:rPr lang="en-US" sz="900">
                  <a:solidFill>
                    <a:schemeClr val="dk1"/>
                  </a:solidFill>
                  <a:latin typeface="Neue Haas Grotesk Text Pro" panose="020B0504020202020204" pitchFamily="34" charset="0"/>
                  <a:ea typeface="Fira Sans"/>
                  <a:cs typeface="Fira Sans"/>
                  <a:sym typeface="Fira Sans"/>
                </a:rPr>
                <a:t>Measure sentiment of social media content, weighted by popularity of content</a:t>
              </a:r>
            </a:p>
          </p:txBody>
        </p:sp>
      </p:grpSp>
      <p:sp>
        <p:nvSpPr>
          <p:cNvPr id="113" name="Google Shape;1675;p39">
            <a:extLst>
              <a:ext uri="{FF2B5EF4-FFF2-40B4-BE49-F238E27FC236}">
                <a16:creationId xmlns:a16="http://schemas.microsoft.com/office/drawing/2014/main" id="{1DB73631-7355-4844-841D-20423AC251DC}"/>
              </a:ext>
            </a:extLst>
          </p:cNvPr>
          <p:cNvSpPr txBox="1"/>
          <p:nvPr/>
        </p:nvSpPr>
        <p:spPr>
          <a:xfrm>
            <a:off x="8551659" y="4479391"/>
            <a:ext cx="433631" cy="304186"/>
          </a:xfrm>
          <a:prstGeom prst="rect">
            <a:avLst/>
          </a:prstGeom>
          <a:noFill/>
          <a:ln>
            <a:noFill/>
          </a:ln>
        </p:spPr>
        <p:txBody>
          <a:bodyPr spcFirstLastPara="1" wrap="square" lIns="121900" tIns="121900" rIns="121900" bIns="121900" anchor="ctr" anchorCtr="0">
            <a:noAutofit/>
          </a:bodyPr>
          <a:lstStyle/>
          <a:p>
            <a:pPr algn="ctr"/>
            <a:r>
              <a:rPr lang="en" sz="1000" b="1">
                <a:solidFill>
                  <a:schemeClr val="dk1"/>
                </a:solidFill>
                <a:latin typeface="Neue Haas Grotesk Text Pro" panose="020B0504020202020204" pitchFamily="34" charset="0"/>
                <a:ea typeface="Fira Sans"/>
                <a:cs typeface="Fira Sans"/>
                <a:sym typeface="Fira Sans"/>
              </a:rPr>
              <a:t>01</a:t>
            </a:r>
            <a:endParaRPr sz="1000" b="1">
              <a:solidFill>
                <a:schemeClr val="dk1"/>
              </a:solidFill>
              <a:latin typeface="Neue Haas Grotesk Text Pro" panose="020B0504020202020204" pitchFamily="34" charset="0"/>
              <a:ea typeface="Fira Sans"/>
              <a:cs typeface="Fira Sans"/>
              <a:sym typeface="Fira Sans"/>
            </a:endParaRPr>
          </a:p>
        </p:txBody>
      </p:sp>
      <p:grpSp>
        <p:nvGrpSpPr>
          <p:cNvPr id="122" name="Google Shape;1666;p39">
            <a:extLst>
              <a:ext uri="{FF2B5EF4-FFF2-40B4-BE49-F238E27FC236}">
                <a16:creationId xmlns:a16="http://schemas.microsoft.com/office/drawing/2014/main" id="{44450948-0C3C-4BE0-BF62-7B040F55987A}"/>
              </a:ext>
            </a:extLst>
          </p:cNvPr>
          <p:cNvGrpSpPr/>
          <p:nvPr/>
        </p:nvGrpSpPr>
        <p:grpSpPr>
          <a:xfrm>
            <a:off x="10026013" y="4405173"/>
            <a:ext cx="1120259" cy="2270242"/>
            <a:chOff x="902687" y="1390650"/>
            <a:chExt cx="1669419" cy="3210553"/>
          </a:xfrm>
        </p:grpSpPr>
        <p:sp>
          <p:nvSpPr>
            <p:cNvPr id="127" name="Google Shape;1667;p39">
              <a:extLst>
                <a:ext uri="{FF2B5EF4-FFF2-40B4-BE49-F238E27FC236}">
                  <a16:creationId xmlns:a16="http://schemas.microsoft.com/office/drawing/2014/main" id="{7855F043-A1C0-43B0-9748-8A9B7673944D}"/>
                </a:ext>
              </a:extLst>
            </p:cNvPr>
            <p:cNvSpPr/>
            <p:nvPr/>
          </p:nvSpPr>
          <p:spPr>
            <a:xfrm>
              <a:off x="902687" y="1708450"/>
              <a:ext cx="1669419" cy="2892753"/>
            </a:xfrm>
            <a:custGeom>
              <a:avLst/>
              <a:gdLst/>
              <a:ahLst/>
              <a:cxnLst/>
              <a:rect l="l" t="t" r="r" b="b"/>
              <a:pathLst>
                <a:path w="51781" h="81737" extrusionOk="0">
                  <a:moveTo>
                    <a:pt x="1894" y="1"/>
                  </a:moveTo>
                  <a:cubicBezTo>
                    <a:pt x="846" y="1"/>
                    <a:pt x="1" y="715"/>
                    <a:pt x="1" y="1608"/>
                  </a:cubicBezTo>
                  <a:lnTo>
                    <a:pt x="1" y="81737"/>
                  </a:lnTo>
                  <a:lnTo>
                    <a:pt x="51781" y="81737"/>
                  </a:lnTo>
                  <a:lnTo>
                    <a:pt x="51781" y="1608"/>
                  </a:lnTo>
                  <a:cubicBezTo>
                    <a:pt x="51781" y="715"/>
                    <a:pt x="50936" y="1"/>
                    <a:pt x="49888" y="1"/>
                  </a:cubicBezTo>
                  <a:lnTo>
                    <a:pt x="34481" y="1"/>
                  </a:lnTo>
                  <a:cubicBezTo>
                    <a:pt x="34505" y="179"/>
                    <a:pt x="34517" y="358"/>
                    <a:pt x="34517" y="548"/>
                  </a:cubicBezTo>
                  <a:cubicBezTo>
                    <a:pt x="34517" y="4620"/>
                    <a:pt x="30647" y="7906"/>
                    <a:pt x="25885" y="7906"/>
                  </a:cubicBezTo>
                  <a:cubicBezTo>
                    <a:pt x="21122" y="7906"/>
                    <a:pt x="17253" y="4608"/>
                    <a:pt x="17253" y="548"/>
                  </a:cubicBezTo>
                  <a:cubicBezTo>
                    <a:pt x="17253" y="370"/>
                    <a:pt x="17265" y="179"/>
                    <a:pt x="17277" y="1"/>
                  </a:cubicBezTo>
                  <a:close/>
                </a:path>
              </a:pathLst>
            </a:custGeom>
            <a:solidFill>
              <a:schemeClr val="accent1">
                <a:lumMod val="20000"/>
                <a:lumOff val="80000"/>
              </a:schemeClr>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28" name="Google Shape;1668;p39">
              <a:extLst>
                <a:ext uri="{FF2B5EF4-FFF2-40B4-BE49-F238E27FC236}">
                  <a16:creationId xmlns:a16="http://schemas.microsoft.com/office/drawing/2014/main" id="{9BFBAA0F-67BF-43A2-97D0-C43D872E4898}"/>
                </a:ext>
              </a:extLst>
            </p:cNvPr>
            <p:cNvSpPr/>
            <p:nvPr/>
          </p:nvSpPr>
          <p:spPr>
            <a:xfrm>
              <a:off x="1399088" y="1702477"/>
              <a:ext cx="672791" cy="361004"/>
            </a:xfrm>
            <a:custGeom>
              <a:avLst/>
              <a:gdLst/>
              <a:ahLst/>
              <a:cxnLst/>
              <a:rect l="l" t="t" r="r" b="b"/>
              <a:pathLst>
                <a:path w="17265" h="9264" extrusionOk="0">
                  <a:moveTo>
                    <a:pt x="36" y="0"/>
                  </a:moveTo>
                  <a:cubicBezTo>
                    <a:pt x="13" y="203"/>
                    <a:pt x="1" y="429"/>
                    <a:pt x="1" y="631"/>
                  </a:cubicBezTo>
                  <a:cubicBezTo>
                    <a:pt x="1" y="5394"/>
                    <a:pt x="3870" y="9263"/>
                    <a:pt x="8633" y="9263"/>
                  </a:cubicBezTo>
                  <a:cubicBezTo>
                    <a:pt x="13395" y="9263"/>
                    <a:pt x="17265" y="5394"/>
                    <a:pt x="17265" y="631"/>
                  </a:cubicBezTo>
                  <a:cubicBezTo>
                    <a:pt x="17265" y="417"/>
                    <a:pt x="17253" y="203"/>
                    <a:pt x="17241" y="0"/>
                  </a:cubicBezTo>
                  <a:lnTo>
                    <a:pt x="14503" y="0"/>
                  </a:lnTo>
                  <a:cubicBezTo>
                    <a:pt x="14526" y="203"/>
                    <a:pt x="14526" y="429"/>
                    <a:pt x="14526" y="631"/>
                  </a:cubicBezTo>
                  <a:cubicBezTo>
                    <a:pt x="14526" y="3894"/>
                    <a:pt x="11883" y="6525"/>
                    <a:pt x="8633" y="6525"/>
                  </a:cubicBezTo>
                  <a:cubicBezTo>
                    <a:pt x="5370" y="6525"/>
                    <a:pt x="2739" y="3882"/>
                    <a:pt x="2739" y="631"/>
                  </a:cubicBezTo>
                  <a:cubicBezTo>
                    <a:pt x="2739" y="417"/>
                    <a:pt x="2751" y="203"/>
                    <a:pt x="2775" y="0"/>
                  </a:cubicBezTo>
                  <a:close/>
                </a:path>
              </a:pathLst>
            </a:custGeom>
            <a:solidFill>
              <a:schemeClr val="tx2"/>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29" name="Google Shape;1669;p39">
              <a:extLst>
                <a:ext uri="{FF2B5EF4-FFF2-40B4-BE49-F238E27FC236}">
                  <a16:creationId xmlns:a16="http://schemas.microsoft.com/office/drawing/2014/main" id="{2E3400FB-B99B-4811-9945-06F708E40302}"/>
                </a:ext>
              </a:extLst>
            </p:cNvPr>
            <p:cNvSpPr/>
            <p:nvPr/>
          </p:nvSpPr>
          <p:spPr>
            <a:xfrm>
              <a:off x="1399555" y="1390650"/>
              <a:ext cx="670475" cy="311818"/>
            </a:xfrm>
            <a:custGeom>
              <a:avLst/>
              <a:gdLst/>
              <a:ahLst/>
              <a:cxnLst/>
              <a:rect l="l" t="t" r="r" b="b"/>
              <a:pathLst>
                <a:path w="17206" h="8002" extrusionOk="0">
                  <a:moveTo>
                    <a:pt x="8609" y="0"/>
                  </a:moveTo>
                  <a:cubicBezTo>
                    <a:pt x="4049" y="0"/>
                    <a:pt x="346" y="3536"/>
                    <a:pt x="1" y="8001"/>
                  </a:cubicBezTo>
                  <a:lnTo>
                    <a:pt x="2739" y="8001"/>
                  </a:lnTo>
                  <a:cubicBezTo>
                    <a:pt x="3072" y="5037"/>
                    <a:pt x="5573" y="2739"/>
                    <a:pt x="8609" y="2739"/>
                  </a:cubicBezTo>
                  <a:cubicBezTo>
                    <a:pt x="11645" y="2739"/>
                    <a:pt x="14145" y="5049"/>
                    <a:pt x="14467" y="8001"/>
                  </a:cubicBezTo>
                  <a:lnTo>
                    <a:pt x="17205" y="8001"/>
                  </a:lnTo>
                  <a:cubicBezTo>
                    <a:pt x="16884" y="3536"/>
                    <a:pt x="13157" y="0"/>
                    <a:pt x="8609" y="0"/>
                  </a:cubicBezTo>
                  <a:close/>
                </a:path>
              </a:pathLst>
            </a:custGeom>
            <a:solidFill>
              <a:schemeClr val="tx2"/>
            </a:solidFill>
            <a:ln>
              <a:noFill/>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sp>
          <p:nvSpPr>
            <p:cNvPr id="130" name="Google Shape;1671;p39">
              <a:extLst>
                <a:ext uri="{FF2B5EF4-FFF2-40B4-BE49-F238E27FC236}">
                  <a16:creationId xmlns:a16="http://schemas.microsoft.com/office/drawing/2014/main" id="{6637948D-874B-4D04-9CEA-68DA66EC033D}"/>
                </a:ext>
              </a:extLst>
            </p:cNvPr>
            <p:cNvSpPr/>
            <p:nvPr/>
          </p:nvSpPr>
          <p:spPr>
            <a:xfrm>
              <a:off x="1052791" y="2689539"/>
              <a:ext cx="1369233" cy="31"/>
            </a:xfrm>
            <a:custGeom>
              <a:avLst/>
              <a:gdLst/>
              <a:ahLst/>
              <a:cxnLst/>
              <a:rect l="l" t="t" r="r" b="b"/>
              <a:pathLst>
                <a:path w="42470" h="1" fill="none" extrusionOk="0">
                  <a:moveTo>
                    <a:pt x="0" y="1"/>
                  </a:moveTo>
                  <a:lnTo>
                    <a:pt x="42470" y="1"/>
                  </a:lnTo>
                </a:path>
              </a:pathLst>
            </a:custGeom>
            <a:noFill/>
            <a:ln w="19050" cap="flat" cmpd="sng">
              <a:solidFill>
                <a:schemeClr val="dk1"/>
              </a:solidFill>
              <a:prstDash val="solid"/>
              <a:miter lim="11906"/>
              <a:headEnd type="none" w="sm" len="sm"/>
              <a:tailEnd type="none" w="sm" len="sm"/>
            </a:ln>
          </p:spPr>
          <p:txBody>
            <a:bodyPr spcFirstLastPara="1" wrap="square" lIns="121900" tIns="121900" rIns="121900" bIns="121900" anchor="ctr" anchorCtr="0">
              <a:noAutofit/>
            </a:bodyPr>
            <a:lstStyle/>
            <a:p>
              <a:endParaRPr sz="1000">
                <a:latin typeface="Neue Haas Grotesk Text Pro" panose="020B0504020202020204" pitchFamily="34" charset="0"/>
              </a:endParaRPr>
            </a:p>
          </p:txBody>
        </p:sp>
      </p:grpSp>
      <p:grpSp>
        <p:nvGrpSpPr>
          <p:cNvPr id="123" name="Google Shape;1672;p39">
            <a:extLst>
              <a:ext uri="{FF2B5EF4-FFF2-40B4-BE49-F238E27FC236}">
                <a16:creationId xmlns:a16="http://schemas.microsoft.com/office/drawing/2014/main" id="{9A6CB37B-223A-47C4-A1F1-27517F96DA0C}"/>
              </a:ext>
            </a:extLst>
          </p:cNvPr>
          <p:cNvGrpSpPr/>
          <p:nvPr/>
        </p:nvGrpSpPr>
        <p:grpSpPr>
          <a:xfrm>
            <a:off x="10126739" y="4915680"/>
            <a:ext cx="918821" cy="1539088"/>
            <a:chOff x="1052790" y="2112604"/>
            <a:chExt cx="1369235" cy="2176562"/>
          </a:xfrm>
        </p:grpSpPr>
        <p:sp>
          <p:nvSpPr>
            <p:cNvPr id="125" name="Google Shape;1673;p39">
              <a:extLst>
                <a:ext uri="{FF2B5EF4-FFF2-40B4-BE49-F238E27FC236}">
                  <a16:creationId xmlns:a16="http://schemas.microsoft.com/office/drawing/2014/main" id="{52B93263-94E0-480C-8E59-12D28D591727}"/>
                </a:ext>
              </a:extLst>
            </p:cNvPr>
            <p:cNvSpPr txBox="1"/>
            <p:nvPr/>
          </p:nvSpPr>
          <p:spPr>
            <a:xfrm>
              <a:off x="1091474" y="2112604"/>
              <a:ext cx="1307099" cy="536074"/>
            </a:xfrm>
            <a:prstGeom prst="rect">
              <a:avLst/>
            </a:prstGeom>
            <a:noFill/>
            <a:ln>
              <a:noFill/>
            </a:ln>
          </p:spPr>
          <p:txBody>
            <a:bodyPr spcFirstLastPara="1" wrap="square" lIns="0" tIns="121900" rIns="0" bIns="121900" anchor="ctr" anchorCtr="0">
              <a:noAutofit/>
            </a:bodyPr>
            <a:lstStyle/>
            <a:p>
              <a:pPr algn="ctr"/>
              <a:r>
                <a:rPr lang="en" sz="1000" b="1">
                  <a:solidFill>
                    <a:schemeClr val="dk1"/>
                  </a:solidFill>
                  <a:latin typeface="Neue Haas Grotesk Text Pro" panose="020B0504020202020204" pitchFamily="34" charset="0"/>
                  <a:ea typeface="Fira Sans"/>
                  <a:cs typeface="Fira Sans"/>
                  <a:sym typeface="Fira Sans"/>
                </a:rPr>
                <a:t>Investment Decisions</a:t>
              </a:r>
              <a:endParaRPr sz="1000" b="1">
                <a:solidFill>
                  <a:schemeClr val="dk1"/>
                </a:solidFill>
                <a:latin typeface="Neue Haas Grotesk Text Pro" panose="020B0504020202020204" pitchFamily="34" charset="0"/>
                <a:ea typeface="Fira Sans"/>
                <a:cs typeface="Fira Sans"/>
                <a:sym typeface="Fira Sans"/>
              </a:endParaRPr>
            </a:p>
          </p:txBody>
        </p:sp>
        <p:sp>
          <p:nvSpPr>
            <p:cNvPr id="126" name="Google Shape;1674;p39">
              <a:extLst>
                <a:ext uri="{FF2B5EF4-FFF2-40B4-BE49-F238E27FC236}">
                  <a16:creationId xmlns:a16="http://schemas.microsoft.com/office/drawing/2014/main" id="{AEC94756-FFAA-4616-AA39-F0FA13B0ECC0}"/>
                </a:ext>
              </a:extLst>
            </p:cNvPr>
            <p:cNvSpPr txBox="1"/>
            <p:nvPr/>
          </p:nvSpPr>
          <p:spPr>
            <a:xfrm>
              <a:off x="1052790" y="2934026"/>
              <a:ext cx="1369235" cy="1355140"/>
            </a:xfrm>
            <a:prstGeom prst="rect">
              <a:avLst/>
            </a:prstGeom>
            <a:noFill/>
            <a:ln>
              <a:noFill/>
            </a:ln>
          </p:spPr>
          <p:txBody>
            <a:bodyPr spcFirstLastPara="1" wrap="square" lIns="0" tIns="121900" rIns="0" bIns="121900" anchor="ctr" anchorCtr="0">
              <a:noAutofit/>
            </a:bodyPr>
            <a:lstStyle/>
            <a:p>
              <a:pPr algn="ctr"/>
              <a:r>
                <a:rPr lang="en-US" sz="900">
                  <a:solidFill>
                    <a:schemeClr val="dk1"/>
                  </a:solidFill>
                  <a:latin typeface="Neue Haas Grotesk Text Pro" panose="020B0504020202020204" pitchFamily="34" charset="0"/>
                  <a:ea typeface="Fira Sans"/>
                  <a:cs typeface="Fira Sans"/>
                  <a:sym typeface="Fira Sans"/>
                </a:rPr>
                <a:t>Based on above trend, positive sentiment tends to build up prior to a significant advancement in share prices</a:t>
              </a:r>
            </a:p>
          </p:txBody>
        </p:sp>
      </p:grpSp>
      <p:sp>
        <p:nvSpPr>
          <p:cNvPr id="124" name="Google Shape;1675;p39">
            <a:extLst>
              <a:ext uri="{FF2B5EF4-FFF2-40B4-BE49-F238E27FC236}">
                <a16:creationId xmlns:a16="http://schemas.microsoft.com/office/drawing/2014/main" id="{ABD2DCE6-1AB5-4E92-8488-5F152779AE99}"/>
              </a:ext>
            </a:extLst>
          </p:cNvPr>
          <p:cNvSpPr txBox="1"/>
          <p:nvPr/>
        </p:nvSpPr>
        <p:spPr>
          <a:xfrm>
            <a:off x="10371502" y="4483380"/>
            <a:ext cx="433631" cy="320537"/>
          </a:xfrm>
          <a:prstGeom prst="rect">
            <a:avLst/>
          </a:prstGeom>
          <a:noFill/>
          <a:ln>
            <a:noFill/>
          </a:ln>
        </p:spPr>
        <p:txBody>
          <a:bodyPr spcFirstLastPara="1" wrap="square" lIns="121900" tIns="121900" rIns="121900" bIns="121900" anchor="ctr" anchorCtr="0">
            <a:noAutofit/>
          </a:bodyPr>
          <a:lstStyle/>
          <a:p>
            <a:pPr algn="ctr"/>
            <a:r>
              <a:rPr lang="en" sz="1000" b="1">
                <a:solidFill>
                  <a:schemeClr val="dk1"/>
                </a:solidFill>
                <a:latin typeface="Neue Haas Grotesk Text Pro" panose="020B0504020202020204" pitchFamily="34" charset="0"/>
                <a:ea typeface="Fira Sans"/>
                <a:cs typeface="Fira Sans"/>
                <a:sym typeface="Fira Sans"/>
              </a:rPr>
              <a:t>02</a:t>
            </a:r>
            <a:endParaRPr sz="1000" b="1">
              <a:solidFill>
                <a:schemeClr val="dk1"/>
              </a:solidFill>
              <a:latin typeface="Neue Haas Grotesk Text Pro" panose="020B0504020202020204" pitchFamily="34" charset="0"/>
              <a:ea typeface="Fira Sans"/>
              <a:cs typeface="Fira Sans"/>
              <a:sym typeface="Fira Sans"/>
            </a:endParaRPr>
          </a:p>
        </p:txBody>
      </p:sp>
      <p:grpSp>
        <p:nvGrpSpPr>
          <p:cNvPr id="151" name="Group 150">
            <a:extLst>
              <a:ext uri="{FF2B5EF4-FFF2-40B4-BE49-F238E27FC236}">
                <a16:creationId xmlns:a16="http://schemas.microsoft.com/office/drawing/2014/main" id="{CC5CCA1A-1D1E-4ADA-B6E5-34886450E7B7}"/>
              </a:ext>
            </a:extLst>
          </p:cNvPr>
          <p:cNvGrpSpPr/>
          <p:nvPr/>
        </p:nvGrpSpPr>
        <p:grpSpPr>
          <a:xfrm>
            <a:off x="379034" y="5507252"/>
            <a:ext cx="2817127" cy="1156699"/>
            <a:chOff x="424645" y="5599298"/>
            <a:chExt cx="2817127" cy="1156699"/>
          </a:xfrm>
        </p:grpSpPr>
        <p:grpSp>
          <p:nvGrpSpPr>
            <p:cNvPr id="101" name="Group 100">
              <a:extLst>
                <a:ext uri="{FF2B5EF4-FFF2-40B4-BE49-F238E27FC236}">
                  <a16:creationId xmlns:a16="http://schemas.microsoft.com/office/drawing/2014/main" id="{51BC2975-B0D1-4657-B1BB-427DB3A2457D}"/>
                </a:ext>
              </a:extLst>
            </p:cNvPr>
            <p:cNvGrpSpPr/>
            <p:nvPr/>
          </p:nvGrpSpPr>
          <p:grpSpPr>
            <a:xfrm>
              <a:off x="424645" y="5599298"/>
              <a:ext cx="2799323" cy="1156699"/>
              <a:chOff x="424645" y="3409149"/>
              <a:chExt cx="2799323" cy="1156699"/>
            </a:xfrm>
          </p:grpSpPr>
          <p:sp>
            <p:nvSpPr>
              <p:cNvPr id="102" name="TextBox 101">
                <a:extLst>
                  <a:ext uri="{FF2B5EF4-FFF2-40B4-BE49-F238E27FC236}">
                    <a16:creationId xmlns:a16="http://schemas.microsoft.com/office/drawing/2014/main" id="{5892ABF7-01CD-4B02-862E-9BBA5EB48985}"/>
                  </a:ext>
                </a:extLst>
              </p:cNvPr>
              <p:cNvSpPr txBox="1"/>
              <p:nvPr/>
            </p:nvSpPr>
            <p:spPr>
              <a:xfrm>
                <a:off x="424645" y="3409149"/>
                <a:ext cx="279932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Neue Haas Grotesk Text Pro" panose="020B0504020202020204" pitchFamily="34" charset="0"/>
                  </a:rPr>
                  <a:t>Cyclicality</a:t>
                </a:r>
              </a:p>
            </p:txBody>
          </p:sp>
          <p:sp>
            <p:nvSpPr>
              <p:cNvPr id="103" name="TextBox 102">
                <a:extLst>
                  <a:ext uri="{FF2B5EF4-FFF2-40B4-BE49-F238E27FC236}">
                    <a16:creationId xmlns:a16="http://schemas.microsoft.com/office/drawing/2014/main" id="{7DBD9DEE-0B87-4EF3-8F07-6DC26E1AB0F5}"/>
                  </a:ext>
                </a:extLst>
              </p:cNvPr>
              <p:cNvSpPr txBox="1"/>
              <p:nvPr/>
            </p:nvSpPr>
            <p:spPr>
              <a:xfrm>
                <a:off x="424645" y="3704074"/>
                <a:ext cx="995365" cy="861774"/>
              </a:xfrm>
              <a:prstGeom prst="rect">
                <a:avLst/>
              </a:prstGeom>
              <a:solidFill>
                <a:srgbClr val="A5A5A5"/>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Stock’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Historical Beta</a:t>
                </a:r>
              </a:p>
            </p:txBody>
          </p:sp>
        </p:grpSp>
        <p:sp>
          <p:nvSpPr>
            <p:cNvPr id="143" name="TextBox 142">
              <a:extLst>
                <a:ext uri="{FF2B5EF4-FFF2-40B4-BE49-F238E27FC236}">
                  <a16:creationId xmlns:a16="http://schemas.microsoft.com/office/drawing/2014/main" id="{E9991230-985F-4EB9-B3D9-14A0F7662CFA}"/>
                </a:ext>
              </a:extLst>
            </p:cNvPr>
            <p:cNvSpPr txBox="1"/>
            <p:nvPr/>
          </p:nvSpPr>
          <p:spPr>
            <a:xfrm>
              <a:off x="1449880" y="5894223"/>
              <a:ext cx="1791892" cy="861774"/>
            </a:xfrm>
            <a:prstGeom prst="rect">
              <a:avLst/>
            </a:prstGeom>
            <a:solidFill>
              <a:schemeClr val="bg2"/>
            </a:solidFill>
          </p:spPr>
          <p:txBody>
            <a:bodyPr wrap="square" rtlCol="0">
              <a:spAutoFit/>
            </a:bodyPr>
            <a:lstStyle/>
            <a:p>
              <a:r>
                <a:rPr lang="en-SG" sz="1000">
                  <a:latin typeface="Neue Haas Grotesk Text Pro" panose="020B0504020202020204" pitchFamily="34" charset="0"/>
                </a:rPr>
                <a:t>Indicates how efficient a business is at using its assets. </a:t>
              </a:r>
            </a:p>
            <a:p>
              <a:r>
                <a:rPr lang="en-SG" sz="1000">
                  <a:latin typeface="Neue Haas Grotesk Text Pro" panose="020B0504020202020204" pitchFamily="34" charset="0"/>
                </a:rPr>
                <a:t>Higher = business needs less capital to grow</a:t>
              </a:r>
            </a:p>
          </p:txBody>
        </p:sp>
      </p:grpSp>
      <p:grpSp>
        <p:nvGrpSpPr>
          <p:cNvPr id="144" name="Group 143">
            <a:extLst>
              <a:ext uri="{FF2B5EF4-FFF2-40B4-BE49-F238E27FC236}">
                <a16:creationId xmlns:a16="http://schemas.microsoft.com/office/drawing/2014/main" id="{68203529-80DC-470A-B439-F1E92D9A9D23}"/>
              </a:ext>
            </a:extLst>
          </p:cNvPr>
          <p:cNvGrpSpPr/>
          <p:nvPr/>
        </p:nvGrpSpPr>
        <p:grpSpPr>
          <a:xfrm>
            <a:off x="4504594" y="4119935"/>
            <a:ext cx="2803506" cy="1174553"/>
            <a:chOff x="424645" y="3440071"/>
            <a:chExt cx="2803506" cy="1174553"/>
          </a:xfrm>
        </p:grpSpPr>
        <p:sp>
          <p:nvSpPr>
            <p:cNvPr id="145" name="TextBox 144">
              <a:extLst>
                <a:ext uri="{FF2B5EF4-FFF2-40B4-BE49-F238E27FC236}">
                  <a16:creationId xmlns:a16="http://schemas.microsoft.com/office/drawing/2014/main" id="{2293A803-C824-4CA4-9006-E705AACD0F99}"/>
                </a:ext>
              </a:extLst>
            </p:cNvPr>
            <p:cNvSpPr txBox="1"/>
            <p:nvPr/>
          </p:nvSpPr>
          <p:spPr>
            <a:xfrm>
              <a:off x="486127" y="3440071"/>
              <a:ext cx="273784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Neue Haas Grotesk Text Pro" panose="020B0504020202020204" pitchFamily="34" charset="0"/>
                </a:rPr>
                <a:t>Growth Potential</a:t>
              </a:r>
            </a:p>
          </p:txBody>
        </p:sp>
        <p:sp>
          <p:nvSpPr>
            <p:cNvPr id="146" name="TextBox 145">
              <a:extLst>
                <a:ext uri="{FF2B5EF4-FFF2-40B4-BE49-F238E27FC236}">
                  <a16:creationId xmlns:a16="http://schemas.microsoft.com/office/drawing/2014/main" id="{C34CC682-E482-40E6-B5A1-3F9EF2FFA361}"/>
                </a:ext>
              </a:extLst>
            </p:cNvPr>
            <p:cNvSpPr txBox="1"/>
            <p:nvPr/>
          </p:nvSpPr>
          <p:spPr>
            <a:xfrm>
              <a:off x="424645" y="3763013"/>
              <a:ext cx="995365" cy="851611"/>
            </a:xfrm>
            <a:prstGeom prst="rect">
              <a:avLst/>
            </a:prstGeom>
            <a:solidFill>
              <a:schemeClr val="accent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Avg. of Past And Future Revenue Growth Rates</a:t>
              </a:r>
            </a:p>
          </p:txBody>
        </p:sp>
        <p:sp>
          <p:nvSpPr>
            <p:cNvPr id="147" name="TextBox 146">
              <a:extLst>
                <a:ext uri="{FF2B5EF4-FFF2-40B4-BE49-F238E27FC236}">
                  <a16:creationId xmlns:a16="http://schemas.microsoft.com/office/drawing/2014/main" id="{620501B2-C7C3-4509-93EE-4BC93A3DF1DF}"/>
                </a:ext>
              </a:extLst>
            </p:cNvPr>
            <p:cNvSpPr txBox="1"/>
            <p:nvPr/>
          </p:nvSpPr>
          <p:spPr>
            <a:xfrm>
              <a:off x="1442270" y="3763012"/>
              <a:ext cx="1785881" cy="851611"/>
            </a:xfrm>
            <a:prstGeom prst="rect">
              <a:avLst/>
            </a:prstGeom>
            <a:solidFill>
              <a:schemeClr val="accent1">
                <a:lumMod val="20000"/>
                <a:lumOff val="80000"/>
              </a:schemeClr>
            </a:solidFill>
          </p:spPr>
          <p:txBody>
            <a:bodyPr wrap="square" rtlCol="0" anchor="ctr">
              <a:noAutofit/>
            </a:bodyPr>
            <a:lstStyle/>
            <a:p>
              <a:r>
                <a:rPr lang="en-US" sz="1000">
                  <a:latin typeface="Neue Haas Grotesk Text Pro" panose="020B0504020202020204" pitchFamily="34" charset="0"/>
                </a:rPr>
                <a:t>Most direct way to indicate the forward growth potential of the business. Higher = more growth potential</a:t>
              </a:r>
            </a:p>
          </p:txBody>
        </p:sp>
      </p:grpSp>
      <p:grpSp>
        <p:nvGrpSpPr>
          <p:cNvPr id="152" name="Group 151">
            <a:extLst>
              <a:ext uri="{FF2B5EF4-FFF2-40B4-BE49-F238E27FC236}">
                <a16:creationId xmlns:a16="http://schemas.microsoft.com/office/drawing/2014/main" id="{A508BF3C-F79E-47BC-A22C-9E40F32BD3B8}"/>
              </a:ext>
            </a:extLst>
          </p:cNvPr>
          <p:cNvGrpSpPr/>
          <p:nvPr/>
        </p:nvGrpSpPr>
        <p:grpSpPr>
          <a:xfrm>
            <a:off x="4504594" y="5507252"/>
            <a:ext cx="2799324" cy="1156699"/>
            <a:chOff x="424645" y="5599298"/>
            <a:chExt cx="2799324" cy="1156699"/>
          </a:xfrm>
        </p:grpSpPr>
        <p:grpSp>
          <p:nvGrpSpPr>
            <p:cNvPr id="153" name="Group 152">
              <a:extLst>
                <a:ext uri="{FF2B5EF4-FFF2-40B4-BE49-F238E27FC236}">
                  <a16:creationId xmlns:a16="http://schemas.microsoft.com/office/drawing/2014/main" id="{65B79BC0-5AB8-409E-A0FD-836848DFBE3D}"/>
                </a:ext>
              </a:extLst>
            </p:cNvPr>
            <p:cNvGrpSpPr/>
            <p:nvPr/>
          </p:nvGrpSpPr>
          <p:grpSpPr>
            <a:xfrm>
              <a:off x="424645" y="5599298"/>
              <a:ext cx="2799323" cy="1156699"/>
              <a:chOff x="424645" y="3409149"/>
              <a:chExt cx="2799323" cy="1156699"/>
            </a:xfrm>
          </p:grpSpPr>
          <p:sp>
            <p:nvSpPr>
              <p:cNvPr id="155" name="TextBox 154">
                <a:extLst>
                  <a:ext uri="{FF2B5EF4-FFF2-40B4-BE49-F238E27FC236}">
                    <a16:creationId xmlns:a16="http://schemas.microsoft.com/office/drawing/2014/main" id="{0C81E0CB-A623-48E7-9B0E-EEA4BA381541}"/>
                  </a:ext>
                </a:extLst>
              </p:cNvPr>
              <p:cNvSpPr txBox="1"/>
              <p:nvPr/>
            </p:nvSpPr>
            <p:spPr>
              <a:xfrm>
                <a:off x="424645" y="3409149"/>
                <a:ext cx="279932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Neue Haas Grotesk Text Pro" panose="020B0504020202020204" pitchFamily="34" charset="0"/>
                  </a:rPr>
                  <a:t>Prudency</a:t>
                </a:r>
              </a:p>
            </p:txBody>
          </p:sp>
          <p:sp>
            <p:nvSpPr>
              <p:cNvPr id="156" name="TextBox 155">
                <a:extLst>
                  <a:ext uri="{FF2B5EF4-FFF2-40B4-BE49-F238E27FC236}">
                    <a16:creationId xmlns:a16="http://schemas.microsoft.com/office/drawing/2014/main" id="{5D968B24-4B6E-43A5-9A56-454950F16BCE}"/>
                  </a:ext>
                </a:extLst>
              </p:cNvPr>
              <p:cNvSpPr txBox="1"/>
              <p:nvPr/>
            </p:nvSpPr>
            <p:spPr>
              <a:xfrm>
                <a:off x="424645" y="3704074"/>
                <a:ext cx="995365" cy="861774"/>
              </a:xfrm>
              <a:prstGeom prst="rect">
                <a:avLst/>
              </a:prstGeom>
              <a:solidFill>
                <a:schemeClr val="accent2"/>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Debt to Market </a:t>
                </a:r>
                <a:r>
                  <a:rPr lang="en-US" sz="1050" b="1" kern="0">
                    <a:solidFill>
                      <a:schemeClr val="bg1"/>
                    </a:solidFill>
                    <a:latin typeface="Neue Haas Grotesk Text Pro" panose="020B0504020202020204" pitchFamily="34" charset="0"/>
                  </a:rPr>
                  <a:t>C</a:t>
                </a:r>
                <a:r>
                  <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rPr>
                  <a:t>ap </a:t>
                </a:r>
                <a:r>
                  <a:rPr lang="en-US" sz="1050" b="1" kern="0">
                    <a:solidFill>
                      <a:schemeClr val="bg1"/>
                    </a:solidFill>
                    <a:latin typeface="Neue Haas Grotesk Text Pro" panose="020B0504020202020204" pitchFamily="34" charset="0"/>
                  </a:rPr>
                  <a:t>R</a:t>
                </a:r>
                <a:r>
                  <a:rPr kumimoji="0" lang="en-US" sz="1050" b="1" u="none" strike="noStrike" kern="0" cap="none" spc="0" normalizeH="0" baseline="0" noProof="0" err="1">
                    <a:ln>
                      <a:noFill/>
                    </a:ln>
                    <a:solidFill>
                      <a:schemeClr val="bg1"/>
                    </a:solidFill>
                    <a:effectLst/>
                    <a:uLnTx/>
                    <a:uFillTx/>
                    <a:latin typeface="Neue Haas Grotesk Text Pro" panose="020B0504020202020204" pitchFamily="34" charset="0"/>
                  </a:rPr>
                  <a:t>atio</a:t>
                </a:r>
                <a:endParaRPr kumimoji="0" lang="en-US" sz="1050" b="1" u="none" strike="noStrike" kern="0" cap="none" spc="0" normalizeH="0" baseline="0" noProof="0">
                  <a:ln>
                    <a:noFill/>
                  </a:ln>
                  <a:solidFill>
                    <a:schemeClr val="bg1"/>
                  </a:solidFill>
                  <a:effectLst/>
                  <a:uLnTx/>
                  <a:uFillTx/>
                  <a:latin typeface="Neue Haas Grotesk Text Pro" panose="020B0504020202020204" pitchFamily="34" charset="0"/>
                </a:endParaRPr>
              </a:p>
            </p:txBody>
          </p:sp>
        </p:grpSp>
        <p:sp>
          <p:nvSpPr>
            <p:cNvPr id="154" name="TextBox 153">
              <a:extLst>
                <a:ext uri="{FF2B5EF4-FFF2-40B4-BE49-F238E27FC236}">
                  <a16:creationId xmlns:a16="http://schemas.microsoft.com/office/drawing/2014/main" id="{368A85B0-2894-4E87-858C-3E6D165123D2}"/>
                </a:ext>
              </a:extLst>
            </p:cNvPr>
            <p:cNvSpPr txBox="1"/>
            <p:nvPr/>
          </p:nvSpPr>
          <p:spPr>
            <a:xfrm>
              <a:off x="1443027" y="5894222"/>
              <a:ext cx="1780942" cy="861773"/>
            </a:xfrm>
            <a:prstGeom prst="rect">
              <a:avLst/>
            </a:prstGeom>
            <a:solidFill>
              <a:schemeClr val="accent2">
                <a:lumMod val="20000"/>
                <a:lumOff val="80000"/>
              </a:schemeClr>
            </a:solidFill>
          </p:spPr>
          <p:txBody>
            <a:bodyPr wrap="square" rtlCol="0" anchor="ctr">
              <a:noAutofit/>
            </a:bodyPr>
            <a:lstStyle/>
            <a:p>
              <a:r>
                <a:rPr lang="en-US" sz="1000">
                  <a:latin typeface="Neue Haas Grotesk Text Pro" panose="020B0504020202020204" pitchFamily="34" charset="0"/>
                </a:rPr>
                <a:t>Shows the share of debt used to fund the capital structure relative to equity. Lower = less risky</a:t>
              </a:r>
            </a:p>
          </p:txBody>
        </p:sp>
      </p:grpSp>
      <p:pic>
        <p:nvPicPr>
          <p:cNvPr id="158" name="Picture 157">
            <a:extLst>
              <a:ext uri="{FF2B5EF4-FFF2-40B4-BE49-F238E27FC236}">
                <a16:creationId xmlns:a16="http://schemas.microsoft.com/office/drawing/2014/main" id="{F7A3E872-501E-4D78-B480-68B6F8AB89D5}"/>
              </a:ext>
            </a:extLst>
          </p:cNvPr>
          <p:cNvPicPr>
            <a:picLocks noChangeAspect="1"/>
          </p:cNvPicPr>
          <p:nvPr/>
        </p:nvPicPr>
        <p:blipFill>
          <a:blip r:embed="rId8"/>
          <a:stretch>
            <a:fillRect/>
          </a:stretch>
        </p:blipFill>
        <p:spPr>
          <a:xfrm>
            <a:off x="3678896" y="1818137"/>
            <a:ext cx="3289448" cy="1585566"/>
          </a:xfrm>
          <a:prstGeom prst="rect">
            <a:avLst/>
          </a:prstGeom>
          <a:effectLst>
            <a:outerShdw blurRad="50800" dist="38100" dir="2700000" algn="tl" rotWithShape="0">
              <a:prstClr val="black">
                <a:alpha val="40000"/>
              </a:prstClr>
            </a:outerShdw>
          </a:effectLst>
        </p:spPr>
      </p:pic>
      <p:grpSp>
        <p:nvGrpSpPr>
          <p:cNvPr id="164" name="Group 163">
            <a:extLst>
              <a:ext uri="{FF2B5EF4-FFF2-40B4-BE49-F238E27FC236}">
                <a16:creationId xmlns:a16="http://schemas.microsoft.com/office/drawing/2014/main" id="{53D00D67-EF29-4E04-99AB-21ADEB472B4C}"/>
              </a:ext>
            </a:extLst>
          </p:cNvPr>
          <p:cNvGrpSpPr/>
          <p:nvPr/>
        </p:nvGrpSpPr>
        <p:grpSpPr>
          <a:xfrm>
            <a:off x="6782904" y="1074327"/>
            <a:ext cx="694589" cy="373305"/>
            <a:chOff x="6782904" y="1074327"/>
            <a:chExt cx="694589" cy="373305"/>
          </a:xfrm>
        </p:grpSpPr>
        <p:sp>
          <p:nvSpPr>
            <p:cNvPr id="162" name="Parallelogram 161">
              <a:extLst>
                <a:ext uri="{FF2B5EF4-FFF2-40B4-BE49-F238E27FC236}">
                  <a16:creationId xmlns:a16="http://schemas.microsoft.com/office/drawing/2014/main" id="{31F01393-3D40-4E36-AC7C-3AFE3C6D0B7F}"/>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63" name="TextBox 162">
              <a:extLst>
                <a:ext uri="{FF2B5EF4-FFF2-40B4-BE49-F238E27FC236}">
                  <a16:creationId xmlns:a16="http://schemas.microsoft.com/office/drawing/2014/main" id="{0A8B1588-0E21-4062-8F74-8FD712DA95B0}"/>
                </a:ext>
              </a:extLst>
            </p:cNvPr>
            <p:cNvSpPr txBox="1"/>
            <p:nvPr/>
          </p:nvSpPr>
          <p:spPr>
            <a:xfrm>
              <a:off x="7107936" y="1078300"/>
              <a:ext cx="286512" cy="369332"/>
            </a:xfrm>
            <a:prstGeom prst="rect">
              <a:avLst/>
            </a:prstGeom>
            <a:solidFill>
              <a:schemeClr val="bg1"/>
            </a:solidFill>
          </p:spPr>
          <p:txBody>
            <a:bodyPr wrap="square" rtlCol="0">
              <a:spAutoFit/>
            </a:bodyPr>
            <a:lstStyle/>
            <a:p>
              <a:endParaRPr lang="en-SG"/>
            </a:p>
          </p:txBody>
        </p:sp>
      </p:grpSp>
      <p:grpSp>
        <p:nvGrpSpPr>
          <p:cNvPr id="165" name="Group 164">
            <a:extLst>
              <a:ext uri="{FF2B5EF4-FFF2-40B4-BE49-F238E27FC236}">
                <a16:creationId xmlns:a16="http://schemas.microsoft.com/office/drawing/2014/main" id="{9FAFD19C-00D1-4C18-BEBD-794A06582708}"/>
              </a:ext>
            </a:extLst>
          </p:cNvPr>
          <p:cNvGrpSpPr/>
          <p:nvPr/>
        </p:nvGrpSpPr>
        <p:grpSpPr>
          <a:xfrm>
            <a:off x="11443645" y="1074327"/>
            <a:ext cx="694589" cy="373305"/>
            <a:chOff x="6782904" y="1074327"/>
            <a:chExt cx="694589" cy="373305"/>
          </a:xfrm>
        </p:grpSpPr>
        <p:sp>
          <p:nvSpPr>
            <p:cNvPr id="166" name="Parallelogram 165">
              <a:extLst>
                <a:ext uri="{FF2B5EF4-FFF2-40B4-BE49-F238E27FC236}">
                  <a16:creationId xmlns:a16="http://schemas.microsoft.com/office/drawing/2014/main" id="{F33DC3F8-2406-4615-8A94-FD603C4C060F}"/>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67" name="TextBox 166">
              <a:extLst>
                <a:ext uri="{FF2B5EF4-FFF2-40B4-BE49-F238E27FC236}">
                  <a16:creationId xmlns:a16="http://schemas.microsoft.com/office/drawing/2014/main" id="{3AC12B8A-C95D-4B1A-9BD7-04496A8F2FEF}"/>
                </a:ext>
              </a:extLst>
            </p:cNvPr>
            <p:cNvSpPr txBox="1"/>
            <p:nvPr/>
          </p:nvSpPr>
          <p:spPr>
            <a:xfrm>
              <a:off x="7107936" y="1078300"/>
              <a:ext cx="286512" cy="369332"/>
            </a:xfrm>
            <a:prstGeom prst="rect">
              <a:avLst/>
            </a:prstGeom>
            <a:solidFill>
              <a:schemeClr val="bg1"/>
            </a:solidFill>
          </p:spPr>
          <p:txBody>
            <a:bodyPr wrap="square" rtlCol="0">
              <a:spAutoFit/>
            </a:bodyPr>
            <a:lstStyle/>
            <a:p>
              <a:endParaRPr lang="en-SG"/>
            </a:p>
          </p:txBody>
        </p:sp>
      </p:grpSp>
      <p:grpSp>
        <p:nvGrpSpPr>
          <p:cNvPr id="168" name="Group 167">
            <a:extLst>
              <a:ext uri="{FF2B5EF4-FFF2-40B4-BE49-F238E27FC236}">
                <a16:creationId xmlns:a16="http://schemas.microsoft.com/office/drawing/2014/main" id="{EBC73E4C-FE39-4F9C-880F-4FAA5338E2BD}"/>
              </a:ext>
            </a:extLst>
          </p:cNvPr>
          <p:cNvGrpSpPr/>
          <p:nvPr/>
        </p:nvGrpSpPr>
        <p:grpSpPr>
          <a:xfrm>
            <a:off x="6782904" y="3744678"/>
            <a:ext cx="694589" cy="373305"/>
            <a:chOff x="6782904" y="1074327"/>
            <a:chExt cx="694589" cy="373305"/>
          </a:xfrm>
        </p:grpSpPr>
        <p:sp>
          <p:nvSpPr>
            <p:cNvPr id="169" name="Parallelogram 168">
              <a:extLst>
                <a:ext uri="{FF2B5EF4-FFF2-40B4-BE49-F238E27FC236}">
                  <a16:creationId xmlns:a16="http://schemas.microsoft.com/office/drawing/2014/main" id="{C5763EE1-3C2C-4457-BBD0-80B19B9ED9D3}"/>
                </a:ext>
              </a:extLst>
            </p:cNvPr>
            <p:cNvSpPr/>
            <p:nvPr/>
          </p:nvSpPr>
          <p:spPr>
            <a:xfrm>
              <a:off x="6782904" y="107432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70" name="TextBox 169">
              <a:extLst>
                <a:ext uri="{FF2B5EF4-FFF2-40B4-BE49-F238E27FC236}">
                  <a16:creationId xmlns:a16="http://schemas.microsoft.com/office/drawing/2014/main" id="{2BF461F2-75AD-46FF-A837-86109536DBE7}"/>
                </a:ext>
              </a:extLst>
            </p:cNvPr>
            <p:cNvSpPr txBox="1"/>
            <p:nvPr/>
          </p:nvSpPr>
          <p:spPr>
            <a:xfrm>
              <a:off x="7107936" y="1078300"/>
              <a:ext cx="286512" cy="369332"/>
            </a:xfrm>
            <a:prstGeom prst="rect">
              <a:avLst/>
            </a:prstGeom>
            <a:solidFill>
              <a:schemeClr val="bg1"/>
            </a:solidFill>
          </p:spPr>
          <p:txBody>
            <a:bodyPr wrap="square" rtlCol="0">
              <a:spAutoFit/>
            </a:bodyPr>
            <a:lstStyle/>
            <a:p>
              <a:endParaRPr lang="en-SG"/>
            </a:p>
          </p:txBody>
        </p:sp>
      </p:grpSp>
    </p:spTree>
    <p:extLst>
      <p:ext uri="{BB962C8B-B14F-4D97-AF65-F5344CB8AC3E}">
        <p14:creationId xmlns:p14="http://schemas.microsoft.com/office/powerpoint/2010/main" val="480103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phic 12" descr="{&quot;Key&quot;:&quot;POWER_USER_SHAPE_ICON&quot;,&quot;Value&quot;:&quot;POWER_USER_SHAPE_ICON_STYLE_1&quot;}">
            <a:extLst>
              <a:ext uri="{FF2B5EF4-FFF2-40B4-BE49-F238E27FC236}">
                <a16:creationId xmlns:a16="http://schemas.microsoft.com/office/drawing/2014/main" id="{835847B3-1619-4CB2-8DD7-DF2D19942D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69020" y="1593393"/>
            <a:ext cx="762000" cy="762000"/>
          </a:xfrm>
          <a:prstGeom prst="rect">
            <a:avLst/>
          </a:prstGeom>
        </p:spPr>
      </p:pic>
      <p:sp>
        <p:nvSpPr>
          <p:cNvPr id="4" name="Title 1"/>
          <p:cNvSpPr>
            <a:spLocks noGrp="1"/>
          </p:cNvSpPr>
          <p:nvPr>
            <p:ph type="title"/>
          </p:nvPr>
        </p:nvSpPr>
        <p:spPr/>
        <p:txBody>
          <a:bodyPr/>
          <a:lstStyle/>
          <a:p>
            <a:r>
              <a:rPr lang="en-US">
                <a:latin typeface="Neue Haas Grotesk Text Pro" panose="020B0504020202020204" pitchFamily="34" charset="0"/>
              </a:rPr>
              <a:t>Defining the Business Case: How Are We Different From Existing Solutions?</a:t>
            </a:r>
          </a:p>
        </p:txBody>
      </p:sp>
      <p:sp>
        <p:nvSpPr>
          <p:cNvPr id="59" name="Rectangle 58">
            <a:extLst>
              <a:ext uri="{FF2B5EF4-FFF2-40B4-BE49-F238E27FC236}">
                <a16:creationId xmlns:a16="http://schemas.microsoft.com/office/drawing/2014/main" id="{8E862CE8-7D58-4099-8D90-9F541FFC4D9D}"/>
              </a:ext>
            </a:extLst>
          </p:cNvPr>
          <p:cNvSpPr/>
          <p:nvPr/>
        </p:nvSpPr>
        <p:spPr>
          <a:xfrm>
            <a:off x="2546950" y="1597448"/>
            <a:ext cx="2089203" cy="1979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Lots of online information about financial planning</a:t>
            </a:r>
          </a:p>
          <a:p>
            <a:pPr marR="0" lvl="0" algn="l" defTabSz="914400" rtl="0" eaLnBrk="1" fontAlgn="auto" latinLnBrk="0" hangingPunct="1">
              <a:lnSpc>
                <a:spcPct val="100000"/>
              </a:lnSpc>
              <a:spcBef>
                <a:spcPts val="0"/>
              </a:spcBef>
              <a:spcAft>
                <a:spcPts val="300"/>
              </a:spcAft>
              <a:buClrTx/>
              <a:buSzTx/>
              <a:tabLst/>
              <a:defRPr/>
            </a:pPr>
            <a:endParaRPr lang="en-US" sz="1500" kern="0">
              <a:solidFill>
                <a:prstClr val="black"/>
              </a:solidFill>
              <a:latin typeface="Neue Haas Grotesk Text Pro" panose="020B050402020202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b="1" kern="0">
                <a:solidFill>
                  <a:prstClr val="black"/>
                </a:solidFill>
                <a:latin typeface="Neue Haas Grotesk Text Pro" panose="020B0504020202020204" pitchFamily="34" charset="0"/>
              </a:rPr>
              <a:t>Lack an easy-to-use</a:t>
            </a:r>
            <a:r>
              <a:rPr lang="en-US" sz="1500" kern="0">
                <a:solidFill>
                  <a:prstClr val="black"/>
                </a:solidFill>
                <a:latin typeface="Neue Haas Grotesk Text Pro" panose="020B0504020202020204" pitchFamily="34" charset="0"/>
              </a:rPr>
              <a:t> financial planning tool</a:t>
            </a:r>
          </a:p>
        </p:txBody>
      </p:sp>
      <p:sp>
        <p:nvSpPr>
          <p:cNvPr id="60" name="Rectangle 59">
            <a:extLst>
              <a:ext uri="{FF2B5EF4-FFF2-40B4-BE49-F238E27FC236}">
                <a16:creationId xmlns:a16="http://schemas.microsoft.com/office/drawing/2014/main" id="{A9575954-F84A-466D-8E6F-847BBCAFE977}"/>
              </a:ext>
            </a:extLst>
          </p:cNvPr>
          <p:cNvSpPr/>
          <p:nvPr/>
        </p:nvSpPr>
        <p:spPr>
          <a:xfrm>
            <a:off x="6095349" y="1982427"/>
            <a:ext cx="2089203" cy="12090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Risk assessment tools are available, </a:t>
            </a:r>
            <a:r>
              <a:rPr lang="en-US" sz="1500" b="1" kern="0">
                <a:solidFill>
                  <a:prstClr val="black"/>
                </a:solidFill>
                <a:latin typeface="Neue Haas Grotesk Text Pro" panose="020B0504020202020204" pitchFamily="34" charset="0"/>
              </a:rPr>
              <a:t>without specific advice </a:t>
            </a:r>
            <a:r>
              <a:rPr lang="en-US" sz="1500" kern="0">
                <a:solidFill>
                  <a:prstClr val="black"/>
                </a:solidFill>
                <a:latin typeface="Neue Haas Grotesk Text Pro" panose="020B0504020202020204" pitchFamily="34" charset="0"/>
              </a:rPr>
              <a:t>and guidance</a:t>
            </a:r>
          </a:p>
        </p:txBody>
      </p:sp>
      <p:sp>
        <p:nvSpPr>
          <p:cNvPr id="61" name="Rectangle 60">
            <a:extLst>
              <a:ext uri="{FF2B5EF4-FFF2-40B4-BE49-F238E27FC236}">
                <a16:creationId xmlns:a16="http://schemas.microsoft.com/office/drawing/2014/main" id="{3561AC9C-8947-40C0-8FAB-5A28B87A4888}"/>
              </a:ext>
            </a:extLst>
          </p:cNvPr>
          <p:cNvSpPr/>
          <p:nvPr/>
        </p:nvSpPr>
        <p:spPr>
          <a:xfrm>
            <a:off x="9763072" y="1707322"/>
            <a:ext cx="2224489" cy="1488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Lots of information about different selection methodolog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Easy to get lost without requisite knowledge</a:t>
            </a:r>
          </a:p>
        </p:txBody>
      </p:sp>
      <p:sp>
        <p:nvSpPr>
          <p:cNvPr id="27" name="Text Placeholder 1">
            <a:extLst>
              <a:ext uri="{FF2B5EF4-FFF2-40B4-BE49-F238E27FC236}">
                <a16:creationId xmlns:a16="http://schemas.microsoft.com/office/drawing/2014/main" id="{4AD08266-89B3-4A99-A1DF-64C0F5B54360}"/>
              </a:ext>
            </a:extLst>
          </p:cNvPr>
          <p:cNvSpPr>
            <a:spLocks noGrp="1"/>
          </p:cNvSpPr>
          <p:nvPr>
            <p:ph type="body" sz="quarter" idx="15"/>
          </p:nvPr>
        </p:nvSpPr>
        <p:spPr>
          <a:xfrm>
            <a:off x="339725" y="682960"/>
            <a:ext cx="11512550" cy="285698"/>
          </a:xfrm>
        </p:spPr>
        <p:txBody>
          <a:bodyPr/>
          <a:lstStyle/>
          <a:p>
            <a:pPr algn="ctr"/>
            <a:r>
              <a:rPr lang="en-US" sz="1400">
                <a:latin typeface="Neue Haas Grotesk Text Pro" panose="020B0504020202020204" pitchFamily="34" charset="0"/>
              </a:rPr>
              <a:t>We differ by providing a one-stop service for financial planning, risk tolerance evaluation, and investment selection. </a:t>
            </a:r>
            <a:endParaRPr lang="en-SG" sz="1400">
              <a:latin typeface="Neue Haas Grotesk Text Pro" panose="020B0504020202020204" pitchFamily="34" charset="0"/>
            </a:endParaRPr>
          </a:p>
        </p:txBody>
      </p:sp>
      <p:sp>
        <p:nvSpPr>
          <p:cNvPr id="16" name="Rectangle 15">
            <a:extLst>
              <a:ext uri="{FF2B5EF4-FFF2-40B4-BE49-F238E27FC236}">
                <a16:creationId xmlns:a16="http://schemas.microsoft.com/office/drawing/2014/main" id="{47236E05-E731-4D6B-B198-2A64BC6DB62F}"/>
              </a:ext>
            </a:extLst>
          </p:cNvPr>
          <p:cNvSpPr/>
          <p:nvPr/>
        </p:nvSpPr>
        <p:spPr>
          <a:xfrm>
            <a:off x="322263" y="1572323"/>
            <a:ext cx="1101316" cy="185667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00" b="1">
              <a:solidFill>
                <a:schemeClr val="tx1"/>
              </a:solidFill>
              <a:latin typeface="Neue Haas Grotesk Text Pro" panose="020B0504020202020204" pitchFamily="34" charset="0"/>
              <a:cs typeface="Arial" panose="020B0604020202020204" pitchFamily="34" charset="0"/>
            </a:endParaRPr>
          </a:p>
          <a:p>
            <a:pPr algn="ctr"/>
            <a:endParaRPr lang="en-US" sz="1500" b="1">
              <a:solidFill>
                <a:schemeClr val="tx1"/>
              </a:solidFill>
              <a:latin typeface="Neue Haas Grotesk Text Pro" panose="020B0504020202020204" pitchFamily="34" charset="0"/>
              <a:cs typeface="Arial" panose="020B0604020202020204" pitchFamily="34" charset="0"/>
            </a:endParaRPr>
          </a:p>
          <a:p>
            <a:pPr algn="ctr"/>
            <a:endParaRPr lang="en-US" sz="1500" b="1">
              <a:solidFill>
                <a:schemeClr val="tx1"/>
              </a:solidFill>
              <a:latin typeface="Neue Haas Grotesk Text Pro" panose="020B0504020202020204" pitchFamily="34" charset="0"/>
              <a:cs typeface="Arial" panose="020B0604020202020204" pitchFamily="34" charset="0"/>
            </a:endParaRPr>
          </a:p>
          <a:p>
            <a:pPr algn="ctr"/>
            <a:endParaRPr lang="en-US" sz="1500" b="1">
              <a:solidFill>
                <a:schemeClr val="tx1"/>
              </a:solidFill>
              <a:latin typeface="Neue Haas Grotesk Text Pro" panose="020B0504020202020204" pitchFamily="34" charset="0"/>
              <a:cs typeface="Arial" panose="020B0604020202020204" pitchFamily="34" charset="0"/>
            </a:endParaRPr>
          </a:p>
          <a:p>
            <a:pPr algn="ctr"/>
            <a:r>
              <a:rPr lang="en-US" sz="1500" b="1">
                <a:solidFill>
                  <a:schemeClr val="tx1"/>
                </a:solidFill>
                <a:latin typeface="Neue Haas Grotesk Text Pro" panose="020B0504020202020204" pitchFamily="34" charset="0"/>
                <a:cs typeface="Arial" panose="020B0604020202020204" pitchFamily="34" charset="0"/>
              </a:rPr>
              <a:t>Existing Solutions</a:t>
            </a:r>
          </a:p>
        </p:txBody>
      </p:sp>
      <p:sp>
        <p:nvSpPr>
          <p:cNvPr id="19" name="Rectangle 18">
            <a:extLst>
              <a:ext uri="{FF2B5EF4-FFF2-40B4-BE49-F238E27FC236}">
                <a16:creationId xmlns:a16="http://schemas.microsoft.com/office/drawing/2014/main" id="{50E4A49F-81FE-45B8-8AAD-963DE039BE8F}"/>
              </a:ext>
            </a:extLst>
          </p:cNvPr>
          <p:cNvSpPr/>
          <p:nvPr/>
        </p:nvSpPr>
        <p:spPr>
          <a:xfrm>
            <a:off x="341459" y="3751206"/>
            <a:ext cx="1097476" cy="255751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b="1">
              <a:solidFill>
                <a:schemeClr val="tx1"/>
              </a:solidFill>
              <a:latin typeface="Neue Haas Grotesk Text Pro" panose="020B0504020202020204" pitchFamily="34" charset="0"/>
              <a:cs typeface="Arial" panose="020B0604020202020204" pitchFamily="34" charset="0"/>
            </a:endParaRPr>
          </a:p>
          <a:p>
            <a:pPr algn="ctr"/>
            <a:endParaRPr lang="en-US" sz="1600" b="1">
              <a:solidFill>
                <a:schemeClr val="tx1"/>
              </a:solidFill>
              <a:latin typeface="Neue Haas Grotesk Text Pro" panose="020B0504020202020204" pitchFamily="34" charset="0"/>
              <a:cs typeface="Arial" panose="020B0604020202020204" pitchFamily="34" charset="0"/>
            </a:endParaRPr>
          </a:p>
          <a:p>
            <a:pPr algn="ctr"/>
            <a:endParaRPr lang="en-US" sz="1600" b="1">
              <a:solidFill>
                <a:schemeClr val="tx1"/>
              </a:solidFill>
              <a:latin typeface="Neue Haas Grotesk Text Pro" panose="020B0504020202020204" pitchFamily="34" charset="0"/>
              <a:cs typeface="Arial" panose="020B0604020202020204" pitchFamily="34" charset="0"/>
            </a:endParaRPr>
          </a:p>
          <a:p>
            <a:pPr algn="ctr"/>
            <a:r>
              <a:rPr lang="en-US" sz="1600" b="1">
                <a:solidFill>
                  <a:schemeClr val="tx1"/>
                </a:solidFill>
                <a:latin typeface="Neue Haas Grotesk Text Pro" panose="020B0504020202020204" pitchFamily="34" charset="0"/>
                <a:cs typeface="Arial" panose="020B0604020202020204" pitchFamily="34" charset="0"/>
              </a:rPr>
              <a:t>Our Solution</a:t>
            </a:r>
          </a:p>
        </p:txBody>
      </p:sp>
      <p:sp>
        <p:nvSpPr>
          <p:cNvPr id="2" name="TextBox 1">
            <a:extLst>
              <a:ext uri="{FF2B5EF4-FFF2-40B4-BE49-F238E27FC236}">
                <a16:creationId xmlns:a16="http://schemas.microsoft.com/office/drawing/2014/main" id="{BBBB454A-F44D-4DC0-8A47-A1DDBB81D1FE}"/>
              </a:ext>
            </a:extLst>
          </p:cNvPr>
          <p:cNvSpPr txBox="1"/>
          <p:nvPr/>
        </p:nvSpPr>
        <p:spPr>
          <a:xfrm>
            <a:off x="8697825" y="1093613"/>
            <a:ext cx="3160663" cy="338554"/>
          </a:xfrm>
          <a:prstGeom prst="rect">
            <a:avLst/>
          </a:prstGeom>
          <a:solidFill>
            <a:srgbClr val="132E57"/>
          </a:solidFill>
        </p:spPr>
        <p:txBody>
          <a:bodyPr wrap="square" rtlCol="0">
            <a:spAutoFit/>
          </a:bodyPr>
          <a:lstStyle/>
          <a:p>
            <a:r>
              <a:rPr lang="en-US" altLang="zh-CN" sz="1600" b="1">
                <a:solidFill>
                  <a:schemeClr val="bg1"/>
                </a:solidFill>
                <a:latin typeface="Neue Haas Grotesk Text Pro" panose="020B0504020202020204" pitchFamily="34" charset="0"/>
              </a:rPr>
              <a:t>Investment Selection </a:t>
            </a:r>
            <a:endParaRPr lang="en-CA" sz="1600" b="1">
              <a:solidFill>
                <a:schemeClr val="bg1"/>
              </a:solidFill>
              <a:latin typeface="Neue Haas Grotesk Text Pro" panose="020B0504020202020204" pitchFamily="34" charset="0"/>
            </a:endParaRPr>
          </a:p>
        </p:txBody>
      </p:sp>
      <p:sp>
        <p:nvSpPr>
          <p:cNvPr id="5" name="TextBox 4">
            <a:extLst>
              <a:ext uri="{FF2B5EF4-FFF2-40B4-BE49-F238E27FC236}">
                <a16:creationId xmlns:a16="http://schemas.microsoft.com/office/drawing/2014/main" id="{163D9FA3-CB8E-4A28-AB70-F1ED9FA3FF9E}"/>
              </a:ext>
            </a:extLst>
          </p:cNvPr>
          <p:cNvSpPr txBox="1"/>
          <p:nvPr/>
        </p:nvSpPr>
        <p:spPr>
          <a:xfrm>
            <a:off x="5130876" y="1093613"/>
            <a:ext cx="3160663" cy="338554"/>
          </a:xfrm>
          <a:prstGeom prst="rect">
            <a:avLst/>
          </a:prstGeom>
          <a:solidFill>
            <a:srgbClr val="132E57"/>
          </a:solidFill>
        </p:spPr>
        <p:txBody>
          <a:bodyPr wrap="square" rtlCol="0">
            <a:spAutoFit/>
          </a:bodyPr>
          <a:lstStyle/>
          <a:p>
            <a:r>
              <a:rPr lang="en-US" altLang="zh-CN" sz="1600" b="1">
                <a:solidFill>
                  <a:schemeClr val="bg1"/>
                </a:solidFill>
                <a:latin typeface="Neue Haas Grotesk Text Pro" panose="020B0504020202020204" pitchFamily="34" charset="0"/>
              </a:rPr>
              <a:t>Evaluating Risk Tolerance </a:t>
            </a:r>
            <a:endParaRPr lang="en-CA" sz="1600" b="1">
              <a:solidFill>
                <a:schemeClr val="bg1"/>
              </a:solidFill>
              <a:latin typeface="Neue Haas Grotesk Text Pro" panose="020B0504020202020204" pitchFamily="34" charset="0"/>
            </a:endParaRPr>
          </a:p>
        </p:txBody>
      </p:sp>
      <p:sp>
        <p:nvSpPr>
          <p:cNvPr id="6" name="TextBox 5">
            <a:extLst>
              <a:ext uri="{FF2B5EF4-FFF2-40B4-BE49-F238E27FC236}">
                <a16:creationId xmlns:a16="http://schemas.microsoft.com/office/drawing/2014/main" id="{0E9D2D55-3DF1-4B38-B830-8F2C04654181}"/>
              </a:ext>
            </a:extLst>
          </p:cNvPr>
          <p:cNvSpPr txBox="1"/>
          <p:nvPr/>
        </p:nvSpPr>
        <p:spPr>
          <a:xfrm>
            <a:off x="1573357" y="1098021"/>
            <a:ext cx="3160663" cy="338554"/>
          </a:xfrm>
          <a:prstGeom prst="rect">
            <a:avLst/>
          </a:prstGeom>
          <a:solidFill>
            <a:srgbClr val="132E57"/>
          </a:solidFill>
        </p:spPr>
        <p:txBody>
          <a:bodyPr wrap="square" rtlCol="0">
            <a:spAutoFit/>
          </a:bodyPr>
          <a:lstStyle/>
          <a:p>
            <a:r>
              <a:rPr lang="en-US" altLang="zh-CN" sz="1600" b="1">
                <a:solidFill>
                  <a:schemeClr val="bg1"/>
                </a:solidFill>
                <a:latin typeface="Neue Haas Grotesk Text Pro" panose="020B0504020202020204" pitchFamily="34" charset="0"/>
              </a:rPr>
              <a:t>Financial Planning</a:t>
            </a:r>
            <a:endParaRPr lang="en-CA" sz="1600" b="1">
              <a:solidFill>
                <a:schemeClr val="bg1"/>
              </a:solidFill>
              <a:latin typeface="Neue Haas Grotesk Text Pro" panose="020B0504020202020204" pitchFamily="34" charset="0"/>
            </a:endParaRPr>
          </a:p>
        </p:txBody>
      </p:sp>
      <p:sp>
        <p:nvSpPr>
          <p:cNvPr id="10" name="Rectangle 9">
            <a:extLst>
              <a:ext uri="{FF2B5EF4-FFF2-40B4-BE49-F238E27FC236}">
                <a16:creationId xmlns:a16="http://schemas.microsoft.com/office/drawing/2014/main" id="{C1426B1D-64F9-479E-B029-1E3060B627CA}"/>
              </a:ext>
            </a:extLst>
          </p:cNvPr>
          <p:cNvSpPr/>
          <p:nvPr/>
        </p:nvSpPr>
        <p:spPr>
          <a:xfrm>
            <a:off x="6232182" y="3834494"/>
            <a:ext cx="2120837" cy="2582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We provide a </a:t>
            </a:r>
            <a:r>
              <a:rPr lang="en-US" sz="1500" b="1" kern="0">
                <a:solidFill>
                  <a:prstClr val="black"/>
                </a:solidFill>
                <a:latin typeface="Neue Haas Grotesk Text Pro" panose="020B0504020202020204" pitchFamily="34" charset="0"/>
              </a:rPr>
              <a:t>recommended asset equity-bond allocation </a:t>
            </a:r>
          </a:p>
          <a:p>
            <a:pPr marR="0" lvl="0" algn="l" defTabSz="914400" rtl="0" eaLnBrk="1" fontAlgn="auto" latinLnBrk="0" hangingPunct="1">
              <a:lnSpc>
                <a:spcPct val="100000"/>
              </a:lnSpc>
              <a:spcBef>
                <a:spcPts val="0"/>
              </a:spcBef>
              <a:spcAft>
                <a:spcPts val="300"/>
              </a:spcAft>
              <a:buClrTx/>
              <a:buSzTx/>
              <a:tabLst/>
              <a:defRPr/>
            </a:pPr>
            <a:endParaRPr lang="en-US" sz="1500" kern="0">
              <a:solidFill>
                <a:prstClr val="black"/>
              </a:solidFill>
              <a:latin typeface="Neue Haas Grotesk Text Pro" panose="020B050402020202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Guided by conventional wisdom on asset allo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0" cap="none" spc="0" normalizeH="0" baseline="0" noProof="0">
              <a:ln>
                <a:noFill/>
              </a:ln>
              <a:solidFill>
                <a:prstClr val="black"/>
              </a:solidFill>
              <a:effectLst/>
              <a:uLnTx/>
              <a:uFillTx/>
              <a:latin typeface="Neue Haas Grotesk Text Pro" panose="020B0504020202020204" pitchFamily="34" charset="0"/>
            </a:endParaRPr>
          </a:p>
        </p:txBody>
      </p:sp>
      <p:sp>
        <p:nvSpPr>
          <p:cNvPr id="12" name="Rectangle 11">
            <a:extLst>
              <a:ext uri="{FF2B5EF4-FFF2-40B4-BE49-F238E27FC236}">
                <a16:creationId xmlns:a16="http://schemas.microsoft.com/office/drawing/2014/main" id="{FF9441DD-A579-4858-9BA3-5077B73ACA5B}"/>
              </a:ext>
            </a:extLst>
          </p:cNvPr>
          <p:cNvSpPr/>
          <p:nvPr/>
        </p:nvSpPr>
        <p:spPr>
          <a:xfrm>
            <a:off x="9866723" y="3757944"/>
            <a:ext cx="2120838" cy="2557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We provide a stock screener and resources for bond selection</a:t>
            </a:r>
          </a:p>
          <a:p>
            <a:pPr marR="0" lvl="0" algn="l" defTabSz="914400" rtl="0" eaLnBrk="1" fontAlgn="auto" latinLnBrk="0" hangingPunct="1">
              <a:lnSpc>
                <a:spcPct val="100000"/>
              </a:lnSpc>
              <a:spcBef>
                <a:spcPts val="0"/>
              </a:spcBef>
              <a:spcAft>
                <a:spcPts val="300"/>
              </a:spcAft>
              <a:buClrTx/>
              <a:buSzTx/>
              <a:tabLst/>
              <a:defRPr/>
            </a:pPr>
            <a:endParaRPr lang="en-US" sz="1500" kern="0">
              <a:solidFill>
                <a:prstClr val="black"/>
              </a:solidFill>
              <a:latin typeface="Neue Haas Grotesk Text Pro" panose="020B050402020202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b="1" kern="0">
                <a:solidFill>
                  <a:prstClr val="black"/>
                </a:solidFill>
                <a:latin typeface="Neue Haas Grotesk Text Pro" panose="020B0504020202020204" pitchFamily="34" charset="0"/>
              </a:rPr>
              <a:t>Business quality score</a:t>
            </a:r>
            <a:r>
              <a:rPr lang="en-US" sz="1500" kern="0">
                <a:solidFill>
                  <a:prstClr val="black"/>
                </a:solidFill>
                <a:latin typeface="Neue Haas Grotesk Text Pro" panose="020B0504020202020204" pitchFamily="34" charset="0"/>
              </a:rPr>
              <a:t> and </a:t>
            </a:r>
            <a:r>
              <a:rPr lang="en-US" sz="1500" b="1" kern="0">
                <a:solidFill>
                  <a:prstClr val="black"/>
                </a:solidFill>
                <a:latin typeface="Neue Haas Grotesk Text Pro" panose="020B0504020202020204" pitchFamily="34" charset="0"/>
              </a:rPr>
              <a:t>real-time sentiment score </a:t>
            </a:r>
            <a:r>
              <a:rPr lang="en-US" sz="1500" kern="0">
                <a:solidFill>
                  <a:prstClr val="black"/>
                </a:solidFill>
                <a:latin typeface="Neue Haas Grotesk Text Pro" panose="020B0504020202020204" pitchFamily="34" charset="0"/>
              </a:rPr>
              <a:t>guides investment decisions</a:t>
            </a:r>
          </a:p>
        </p:txBody>
      </p:sp>
      <p:sp>
        <p:nvSpPr>
          <p:cNvPr id="14" name="Rectangle 13">
            <a:extLst>
              <a:ext uri="{FF2B5EF4-FFF2-40B4-BE49-F238E27FC236}">
                <a16:creationId xmlns:a16="http://schemas.microsoft.com/office/drawing/2014/main" id="{BE4FB690-87E7-4A97-98A0-1732B3F0EFB2}"/>
              </a:ext>
            </a:extLst>
          </p:cNvPr>
          <p:cNvSpPr/>
          <p:nvPr/>
        </p:nvSpPr>
        <p:spPr>
          <a:xfrm>
            <a:off x="2559715" y="3834494"/>
            <a:ext cx="2120837" cy="2394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kern="0">
                <a:solidFill>
                  <a:prstClr val="black"/>
                </a:solidFill>
                <a:latin typeface="Neue Haas Grotesk Text Pro" panose="020B0504020202020204" pitchFamily="34" charset="0"/>
              </a:rPr>
              <a:t>One-stop solution for planning of key financial milestones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500" b="1" kern="0">
              <a:solidFill>
                <a:prstClr val="black"/>
              </a:solidFill>
              <a:latin typeface="Neue Haas Grotesk Text Pro" panose="020B0504020202020204" pitchFamily="34" charset="0"/>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500" b="1" kern="0">
                <a:solidFill>
                  <a:prstClr val="black"/>
                </a:solidFill>
                <a:latin typeface="Neue Haas Grotesk Text Pro" panose="020B0504020202020204" pitchFamily="34" charset="0"/>
              </a:rPr>
              <a:t>Recommends a minimum monthly contribution</a:t>
            </a:r>
            <a:r>
              <a:rPr lang="en-US" sz="1500" kern="0">
                <a:solidFill>
                  <a:prstClr val="black"/>
                </a:solidFill>
                <a:latin typeface="Neue Haas Grotesk Text Pro" panose="020B0504020202020204" pitchFamily="34" charset="0"/>
              </a:rPr>
              <a:t> to achieve financial target</a:t>
            </a:r>
            <a:endParaRPr lang="en-US" sz="1500" b="1" kern="0">
              <a:solidFill>
                <a:prstClr val="black"/>
              </a:solidFill>
              <a:latin typeface="Neue Haas Grotesk Text Pro" panose="020B0504020202020204" pitchFamily="34" charset="0"/>
            </a:endParaRPr>
          </a:p>
        </p:txBody>
      </p:sp>
      <p:cxnSp>
        <p:nvCxnSpPr>
          <p:cNvPr id="53" name="Straight Connector 52">
            <a:extLst>
              <a:ext uri="{FF2B5EF4-FFF2-40B4-BE49-F238E27FC236}">
                <a16:creationId xmlns:a16="http://schemas.microsoft.com/office/drawing/2014/main" id="{CCD8DE5D-A850-4E09-8396-1E4F496290E2}"/>
              </a:ext>
            </a:extLst>
          </p:cNvPr>
          <p:cNvCxnSpPr>
            <a:cxnSpLocks/>
          </p:cNvCxnSpPr>
          <p:nvPr/>
        </p:nvCxnSpPr>
        <p:spPr>
          <a:xfrm>
            <a:off x="1573357" y="3616258"/>
            <a:ext cx="3160662" cy="0"/>
          </a:xfrm>
          <a:prstGeom prst="line">
            <a:avLst/>
          </a:prstGeom>
          <a:ln w="63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A770808-A928-4A27-BA0F-BB7F7D1ADED4}"/>
              </a:ext>
            </a:extLst>
          </p:cNvPr>
          <p:cNvCxnSpPr>
            <a:cxnSpLocks/>
          </p:cNvCxnSpPr>
          <p:nvPr/>
        </p:nvCxnSpPr>
        <p:spPr>
          <a:xfrm>
            <a:off x="5177994" y="3624023"/>
            <a:ext cx="3160662" cy="0"/>
          </a:xfrm>
          <a:prstGeom prst="line">
            <a:avLst/>
          </a:prstGeom>
          <a:ln w="63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75A6D54-4974-4EA7-9613-233583B2C6BE}"/>
              </a:ext>
            </a:extLst>
          </p:cNvPr>
          <p:cNvCxnSpPr>
            <a:cxnSpLocks/>
          </p:cNvCxnSpPr>
          <p:nvPr/>
        </p:nvCxnSpPr>
        <p:spPr>
          <a:xfrm>
            <a:off x="8691613" y="3616258"/>
            <a:ext cx="3160662" cy="0"/>
          </a:xfrm>
          <a:prstGeom prst="line">
            <a:avLst/>
          </a:prstGeom>
          <a:ln w="6350">
            <a:solidFill>
              <a:schemeClr val="tx1"/>
            </a:solidFill>
            <a:prstDash val="lgDash"/>
          </a:ln>
        </p:spPr>
        <p:style>
          <a:lnRef idx="1">
            <a:schemeClr val="accent1"/>
          </a:lnRef>
          <a:fillRef idx="0">
            <a:schemeClr val="accent1"/>
          </a:fillRef>
          <a:effectRef idx="0">
            <a:schemeClr val="accent1"/>
          </a:effectRef>
          <a:fontRef idx="minor">
            <a:schemeClr val="tx1"/>
          </a:fontRef>
        </p:style>
      </p:cxnSp>
      <p:pic>
        <p:nvPicPr>
          <p:cNvPr id="1028" name="Picture 4" descr="Access Icons - Download Free Vector Icons | Noun Project">
            <a:extLst>
              <a:ext uri="{FF2B5EF4-FFF2-40B4-BE49-F238E27FC236}">
                <a16:creationId xmlns:a16="http://schemas.microsoft.com/office/drawing/2014/main" id="{E7F34AB4-6005-4580-B59C-BAB9F1BA97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5745" y="4293982"/>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ow And Support Existing Projects, Icon By Xoxo For - Protection  Humanitarian Icon, HD Png Download - kindpng">
            <a:extLst>
              <a:ext uri="{FF2B5EF4-FFF2-40B4-BE49-F238E27FC236}">
                <a16:creationId xmlns:a16="http://schemas.microsoft.com/office/drawing/2014/main" id="{770BD0E8-8088-4404-AA5F-26E2C9FDCB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310" y="1965379"/>
            <a:ext cx="687773" cy="654157"/>
          </a:xfrm>
          <a:prstGeom prst="rect">
            <a:avLst/>
          </a:prstGeom>
          <a:solidFill>
            <a:schemeClr val="bg1"/>
          </a:solidFill>
        </p:spPr>
      </p:pic>
      <p:pic>
        <p:nvPicPr>
          <p:cNvPr id="17" name="Graphic 16" descr="{&quot;Key&quot;:&quot;POWER_USER_SHAPE_ICON&quot;,&quot;Value&quot;:&quot;POWER_USER_SHAPE_ICON_STYLE_1&quot;}">
            <a:extLst>
              <a:ext uri="{FF2B5EF4-FFF2-40B4-BE49-F238E27FC236}">
                <a16:creationId xmlns:a16="http://schemas.microsoft.com/office/drawing/2014/main" id="{9A911835-9E17-4C79-A95C-545031F50C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69020" y="2619536"/>
            <a:ext cx="762000" cy="762000"/>
          </a:xfrm>
          <a:prstGeom prst="rect">
            <a:avLst/>
          </a:prstGeom>
        </p:spPr>
      </p:pic>
      <p:pic>
        <p:nvPicPr>
          <p:cNvPr id="20" name="Graphic 19" descr="{&quot;Key&quot;:&quot;POWER_USER_SHAPE_ICON&quot;,&quot;Value&quot;:&quot;POWER_USER_SHAPE_ICON_STYLE_1&quot;}">
            <a:extLst>
              <a:ext uri="{FF2B5EF4-FFF2-40B4-BE49-F238E27FC236}">
                <a16:creationId xmlns:a16="http://schemas.microsoft.com/office/drawing/2014/main" id="{3987939D-48E8-45F9-A18B-83AD3E947E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69020" y="4062940"/>
            <a:ext cx="762000" cy="762000"/>
          </a:xfrm>
          <a:prstGeom prst="rect">
            <a:avLst/>
          </a:prstGeom>
        </p:spPr>
      </p:pic>
      <p:pic>
        <p:nvPicPr>
          <p:cNvPr id="22" name="Graphic 21" descr="{&quot;Key&quot;:&quot;POWER_USER_SHAPE_ICON&quot;,&quot;Value&quot;:&quot;POWER_USER_SHAPE_ICON_STYLE_1&quot;}">
            <a:extLst>
              <a:ext uri="{FF2B5EF4-FFF2-40B4-BE49-F238E27FC236}">
                <a16:creationId xmlns:a16="http://schemas.microsoft.com/office/drawing/2014/main" id="{D7F85F58-D01D-4B20-A4E6-7716674DDFE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69020" y="5310175"/>
            <a:ext cx="762000" cy="762000"/>
          </a:xfrm>
          <a:prstGeom prst="rect">
            <a:avLst/>
          </a:prstGeom>
        </p:spPr>
      </p:pic>
      <p:pic>
        <p:nvPicPr>
          <p:cNvPr id="24" name="Graphic 23" descr="{&quot;Key&quot;:&quot;POWER_USER_SHAPE_ICON&quot;,&quot;Value&quot;:&quot;POWER_USER_SHAPE_ICON_STYLE_1&quot;}">
            <a:extLst>
              <a:ext uri="{FF2B5EF4-FFF2-40B4-BE49-F238E27FC236}">
                <a16:creationId xmlns:a16="http://schemas.microsoft.com/office/drawing/2014/main" id="{0CD62674-4543-4EC0-AB26-A3D1A49CA5D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73687" y="2171291"/>
            <a:ext cx="762000" cy="762000"/>
          </a:xfrm>
          <a:prstGeom prst="rect">
            <a:avLst/>
          </a:prstGeom>
        </p:spPr>
      </p:pic>
      <p:pic>
        <p:nvPicPr>
          <p:cNvPr id="26" name="Graphic 25" descr="{&quot;Key&quot;:&quot;POWER_USER_SHAPE_ICON&quot;,&quot;Value&quot;:&quot;POWER_USER_SHAPE_ICON_STYLE_1&quot;}">
            <a:extLst>
              <a:ext uri="{FF2B5EF4-FFF2-40B4-BE49-F238E27FC236}">
                <a16:creationId xmlns:a16="http://schemas.microsoft.com/office/drawing/2014/main" id="{62D0EEDB-4281-471A-BEBF-FDA8DAC2E49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91006" y="4062940"/>
            <a:ext cx="744681" cy="762000"/>
          </a:xfrm>
          <a:prstGeom prst="rect">
            <a:avLst/>
          </a:prstGeom>
        </p:spPr>
      </p:pic>
      <p:pic>
        <p:nvPicPr>
          <p:cNvPr id="29" name="Graphic 28" descr="{&quot;Key&quot;:&quot;POWER_USER_SHAPE_ICON&quot;,&quot;Value&quot;:&quot;POWER_USER_SHAPE_ICON_STYLE_1&quot;}">
            <a:extLst>
              <a:ext uri="{FF2B5EF4-FFF2-40B4-BE49-F238E27FC236}">
                <a16:creationId xmlns:a16="http://schemas.microsoft.com/office/drawing/2014/main" id="{94701AA9-3FE9-4C4F-85DC-1941E7BB772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291006" y="5310175"/>
            <a:ext cx="744681" cy="762000"/>
          </a:xfrm>
          <a:prstGeom prst="rect">
            <a:avLst/>
          </a:prstGeom>
        </p:spPr>
      </p:pic>
      <p:pic>
        <p:nvPicPr>
          <p:cNvPr id="31" name="Graphic 30" descr="{&quot;Key&quot;:&quot;POWER_USER_SHAPE_ICON&quot;,&quot;Value&quot;:&quot;POWER_USER_SHAPE_ICON_STYLE_1&quot;}">
            <a:extLst>
              <a:ext uri="{FF2B5EF4-FFF2-40B4-BE49-F238E27FC236}">
                <a16:creationId xmlns:a16="http://schemas.microsoft.com/office/drawing/2014/main" id="{9BB55CED-F590-482A-9853-990FAB3B20D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897878" y="2171291"/>
            <a:ext cx="762000" cy="762000"/>
          </a:xfrm>
          <a:prstGeom prst="rect">
            <a:avLst/>
          </a:prstGeom>
        </p:spPr>
      </p:pic>
      <p:pic>
        <p:nvPicPr>
          <p:cNvPr id="36" name="Graphic 35" descr="{&quot;Key&quot;:&quot;POWER_USER_SHAPE_ICON&quot;,&quot;Value&quot;:&quot;POWER_USER_SHAPE_ICON_STYLE_1&quot;}">
            <a:extLst>
              <a:ext uri="{FF2B5EF4-FFF2-40B4-BE49-F238E27FC236}">
                <a16:creationId xmlns:a16="http://schemas.microsoft.com/office/drawing/2014/main" id="{05F5B26E-0917-490E-B502-8E647715F5E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897878" y="4062940"/>
            <a:ext cx="762000" cy="762000"/>
          </a:xfrm>
          <a:prstGeom prst="rect">
            <a:avLst/>
          </a:prstGeom>
        </p:spPr>
      </p:pic>
      <p:pic>
        <p:nvPicPr>
          <p:cNvPr id="38" name="Graphic 37" descr="{&quot;Key&quot;:&quot;POWER_USER_SHAPE_ICON&quot;,&quot;Value&quot;:&quot;POWER_USER_SHAPE_ICON_STYLE_1&quot;}">
            <a:extLst>
              <a:ext uri="{FF2B5EF4-FFF2-40B4-BE49-F238E27FC236}">
                <a16:creationId xmlns:a16="http://schemas.microsoft.com/office/drawing/2014/main" id="{B86D013D-9BBD-4FA4-9EC1-04DD57AA077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897878" y="5310175"/>
            <a:ext cx="762000" cy="762000"/>
          </a:xfrm>
          <a:prstGeom prst="rect">
            <a:avLst/>
          </a:prstGeom>
        </p:spPr>
      </p:pic>
      <p:sp>
        <p:nvSpPr>
          <p:cNvPr id="7" name="Parallelogram 6">
            <a:extLst>
              <a:ext uri="{FF2B5EF4-FFF2-40B4-BE49-F238E27FC236}">
                <a16:creationId xmlns:a16="http://schemas.microsoft.com/office/drawing/2014/main" id="{D9BE1FBB-147E-445F-89C3-23DECD554227}"/>
              </a:ext>
            </a:extLst>
          </p:cNvPr>
          <p:cNvSpPr/>
          <p:nvPr/>
        </p:nvSpPr>
        <p:spPr>
          <a:xfrm>
            <a:off x="4377295" y="1093613"/>
            <a:ext cx="694589" cy="338554"/>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4" name="Parallelogram 33">
            <a:extLst>
              <a:ext uri="{FF2B5EF4-FFF2-40B4-BE49-F238E27FC236}">
                <a16:creationId xmlns:a16="http://schemas.microsoft.com/office/drawing/2014/main" id="{5F45FC76-A406-4B3C-AB25-C199F55C9B1E}"/>
              </a:ext>
            </a:extLst>
          </p:cNvPr>
          <p:cNvSpPr/>
          <p:nvPr/>
        </p:nvSpPr>
        <p:spPr>
          <a:xfrm>
            <a:off x="7944244" y="1093613"/>
            <a:ext cx="694589" cy="338554"/>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35" name="Parallelogram 34">
            <a:extLst>
              <a:ext uri="{FF2B5EF4-FFF2-40B4-BE49-F238E27FC236}">
                <a16:creationId xmlns:a16="http://schemas.microsoft.com/office/drawing/2014/main" id="{CAADAE0D-C110-4F41-99DA-7ECE24EE8BB3}"/>
              </a:ext>
            </a:extLst>
          </p:cNvPr>
          <p:cNvSpPr/>
          <p:nvPr/>
        </p:nvSpPr>
        <p:spPr>
          <a:xfrm>
            <a:off x="11504981" y="1093613"/>
            <a:ext cx="644348" cy="338554"/>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custDataLst>
      <p:tags r:id="rId1"/>
    </p:custDataLst>
    <p:extLst>
      <p:ext uri="{BB962C8B-B14F-4D97-AF65-F5344CB8AC3E}">
        <p14:creationId xmlns:p14="http://schemas.microsoft.com/office/powerpoint/2010/main" val="1084403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 Placeholder 49">
            <a:extLst>
              <a:ext uri="{FF2B5EF4-FFF2-40B4-BE49-F238E27FC236}">
                <a16:creationId xmlns:a16="http://schemas.microsoft.com/office/drawing/2014/main" id="{AF7D1D09-6E0B-4EC7-96F9-39D120327F46}"/>
              </a:ext>
            </a:extLst>
          </p:cNvPr>
          <p:cNvSpPr txBox="1">
            <a:spLocks/>
          </p:cNvSpPr>
          <p:nvPr/>
        </p:nvSpPr>
        <p:spPr>
          <a:xfrm>
            <a:off x="6267648" y="1078300"/>
            <a:ext cx="5584627" cy="307575"/>
          </a:xfrm>
          <a:prstGeom prst="rect">
            <a:avLst/>
          </a:prstGeom>
          <a:solidFill>
            <a:srgbClr val="132E57"/>
          </a:solidFill>
          <a:ln w="6350">
            <a:solidFill>
              <a:schemeClr val="bg2">
                <a:lumMod val="90000"/>
              </a:schemeClr>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600" b="1">
                <a:latin typeface="Neue Haas Grotesk Text Pro" panose="020B0504020202020204" pitchFamily="34" charset="0"/>
              </a:rPr>
              <a:t> Areas of Improvement and Further Monetisation</a:t>
            </a:r>
          </a:p>
        </p:txBody>
      </p:sp>
      <p:sp>
        <p:nvSpPr>
          <p:cNvPr id="54" name="Text Placeholder 53">
            <a:extLst>
              <a:ext uri="{FF2B5EF4-FFF2-40B4-BE49-F238E27FC236}">
                <a16:creationId xmlns:a16="http://schemas.microsoft.com/office/drawing/2014/main" id="{42C0E500-EE80-48B2-9E04-63B079303EB5}"/>
              </a:ext>
            </a:extLst>
          </p:cNvPr>
          <p:cNvSpPr>
            <a:spLocks noGrp="1"/>
          </p:cNvSpPr>
          <p:nvPr>
            <p:ph type="body" sz="quarter" idx="16"/>
          </p:nvPr>
        </p:nvSpPr>
        <p:spPr>
          <a:xfrm>
            <a:off x="724077" y="1594265"/>
            <a:ext cx="4847769" cy="317000"/>
          </a:xfrm>
        </p:spPr>
        <p:txBody>
          <a:bodyPr/>
          <a:lstStyle/>
          <a:p>
            <a:pPr marL="0" indent="0">
              <a:buNone/>
            </a:pPr>
            <a:r>
              <a:rPr lang="en-SG" sz="1500" b="1">
                <a:latin typeface="Neue Haas Grotesk Text Pro" panose="020B0504020202020204" pitchFamily="34" charset="0"/>
              </a:rPr>
              <a:t>Several features to keep users engaged</a:t>
            </a:r>
          </a:p>
        </p:txBody>
      </p:sp>
      <p:sp>
        <p:nvSpPr>
          <p:cNvPr id="55" name="Text Placeholder 54">
            <a:extLst>
              <a:ext uri="{FF2B5EF4-FFF2-40B4-BE49-F238E27FC236}">
                <a16:creationId xmlns:a16="http://schemas.microsoft.com/office/drawing/2014/main" id="{2F096B56-E480-4A7F-96AF-1F39195F2B3B}"/>
              </a:ext>
            </a:extLst>
          </p:cNvPr>
          <p:cNvSpPr>
            <a:spLocks noGrp="1"/>
          </p:cNvSpPr>
          <p:nvPr>
            <p:ph type="body" sz="quarter" idx="17"/>
          </p:nvPr>
        </p:nvSpPr>
        <p:spPr>
          <a:xfrm>
            <a:off x="6828532" y="5302192"/>
            <a:ext cx="4847769" cy="1302933"/>
          </a:xfrm>
          <a:noFill/>
          <a:ln>
            <a:noFill/>
          </a:ln>
        </p:spPr>
        <p:txBody>
          <a:bodyPr/>
          <a:lstStyle/>
          <a:p>
            <a:pPr marL="0" indent="0">
              <a:buNone/>
            </a:pPr>
            <a:r>
              <a:rPr lang="en-US" sz="1600" kern="0">
                <a:solidFill>
                  <a:prstClr val="black"/>
                </a:solidFill>
                <a:latin typeface="Neue Haas Grotesk Text Pro" panose="020B0504020202020204" pitchFamily="34" charset="0"/>
              </a:rPr>
              <a:t>Widening the variety of investing styles (beyond just stocks and bonds in general) to accommodate more specific preferences</a:t>
            </a:r>
          </a:p>
          <a:p>
            <a:pPr marL="0" indent="0">
              <a:buNone/>
            </a:pPr>
            <a:r>
              <a:rPr lang="en-US" sz="1600" kern="0">
                <a:solidFill>
                  <a:prstClr val="black"/>
                </a:solidFill>
                <a:latin typeface="Neue Haas Grotesk Text Pro" panose="020B0504020202020204" pitchFamily="34" charset="0"/>
              </a:rPr>
              <a:t>Partnering financial institutions e.g. brokerages for referral revenue</a:t>
            </a:r>
            <a:endParaRPr lang="en-SG" sz="1600">
              <a:latin typeface="Neue Haas Grotesk Text Pro" panose="020B0504020202020204" pitchFamily="34" charset="0"/>
            </a:endParaRPr>
          </a:p>
          <a:p>
            <a:pPr lvl="1"/>
            <a:endParaRPr lang="en-SG" sz="1600">
              <a:latin typeface="Neue Haas Grotesk Text Pro" panose="020B0504020202020204" pitchFamily="34" charset="0"/>
            </a:endParaRPr>
          </a:p>
          <a:p>
            <a:endParaRPr lang="en-SG" sz="1600">
              <a:latin typeface="Neue Haas Grotesk Text Pro" panose="020B0504020202020204" pitchFamily="34" charset="0"/>
            </a:endParaRPr>
          </a:p>
        </p:txBody>
      </p:sp>
      <p:sp>
        <p:nvSpPr>
          <p:cNvPr id="6" name="Slide Number Placeholder 5">
            <a:extLst>
              <a:ext uri="{FF2B5EF4-FFF2-40B4-BE49-F238E27FC236}">
                <a16:creationId xmlns:a16="http://schemas.microsoft.com/office/drawing/2014/main" id="{8A5EFBE0-BC2C-407A-8FEB-9EB5BE00E03B}"/>
              </a:ext>
            </a:extLst>
          </p:cNvPr>
          <p:cNvSpPr>
            <a:spLocks noGrp="1"/>
          </p:cNvSpPr>
          <p:nvPr>
            <p:ph type="sldNum" sz="quarter" idx="4"/>
          </p:nvPr>
        </p:nvSpPr>
        <p:spPr/>
        <p:txBody>
          <a:bodyPr/>
          <a:lstStyle/>
          <a:p>
            <a:fld id="{F5D0115F-629B-413B-A4C8-7182E324E1C4}" type="slidenum">
              <a:rPr lang="en-SG" smtClean="0">
                <a:latin typeface="Neue Haas Grotesk Text Pro" panose="020B0504020202020204" pitchFamily="34" charset="0"/>
              </a:rPr>
              <a:pPr/>
              <a:t>5</a:t>
            </a:fld>
            <a:endParaRPr lang="en-SG">
              <a:latin typeface="Neue Haas Grotesk Text Pro" panose="020B0504020202020204" pitchFamily="34" charset="0"/>
            </a:endParaRPr>
          </a:p>
        </p:txBody>
      </p:sp>
      <p:sp>
        <p:nvSpPr>
          <p:cNvPr id="11" name="Title 10">
            <a:extLst>
              <a:ext uri="{FF2B5EF4-FFF2-40B4-BE49-F238E27FC236}">
                <a16:creationId xmlns:a16="http://schemas.microsoft.com/office/drawing/2014/main" id="{C8DB44CD-FB56-40FF-9E18-BE1BD7482590}"/>
              </a:ext>
            </a:extLst>
          </p:cNvPr>
          <p:cNvSpPr>
            <a:spLocks noGrp="1"/>
          </p:cNvSpPr>
          <p:nvPr>
            <p:ph type="title"/>
          </p:nvPr>
        </p:nvSpPr>
        <p:spPr/>
        <p:txBody>
          <a:bodyPr/>
          <a:lstStyle/>
          <a:p>
            <a:r>
              <a:rPr lang="en-US">
                <a:latin typeface="Neue Haas Grotesk Text Pro" panose="020B0504020202020204" pitchFamily="34" charset="0"/>
              </a:rPr>
              <a:t>Defining the Business Case: User Stickiness &amp; Monetisation</a:t>
            </a:r>
            <a:endParaRPr lang="en-SG">
              <a:latin typeface="Neue Haas Grotesk Text Pro" panose="020B0504020202020204" pitchFamily="34" charset="0"/>
            </a:endParaRPr>
          </a:p>
        </p:txBody>
      </p:sp>
      <p:pic>
        <p:nvPicPr>
          <p:cNvPr id="43" name="Picture 42">
            <a:extLst>
              <a:ext uri="{FF2B5EF4-FFF2-40B4-BE49-F238E27FC236}">
                <a16:creationId xmlns:a16="http://schemas.microsoft.com/office/drawing/2014/main" id="{11A95CBD-FF4C-465E-9E76-CD2BADB6CD60}"/>
              </a:ext>
            </a:extLst>
          </p:cNvPr>
          <p:cNvPicPr>
            <a:picLocks noChangeAspect="1"/>
          </p:cNvPicPr>
          <p:nvPr/>
        </p:nvPicPr>
        <p:blipFill>
          <a:blip r:embed="rId93"/>
          <a:stretch>
            <a:fillRect/>
          </a:stretch>
        </p:blipFill>
        <p:spPr>
          <a:xfrm>
            <a:off x="12219866" y="4512494"/>
            <a:ext cx="2758300" cy="1649360"/>
          </a:xfrm>
          <a:prstGeom prst="rect">
            <a:avLst/>
          </a:prstGeom>
        </p:spPr>
      </p:pic>
      <p:pic>
        <p:nvPicPr>
          <p:cNvPr id="47" name="Picture 46">
            <a:extLst>
              <a:ext uri="{FF2B5EF4-FFF2-40B4-BE49-F238E27FC236}">
                <a16:creationId xmlns:a16="http://schemas.microsoft.com/office/drawing/2014/main" id="{E6BEC597-8A8B-4EA6-B278-C5114831CE17}"/>
              </a:ext>
            </a:extLst>
          </p:cNvPr>
          <p:cNvPicPr>
            <a:picLocks noChangeAspect="1"/>
          </p:cNvPicPr>
          <p:nvPr/>
        </p:nvPicPr>
        <p:blipFill>
          <a:blip r:embed="rId94"/>
          <a:stretch>
            <a:fillRect/>
          </a:stretch>
        </p:blipFill>
        <p:spPr>
          <a:xfrm>
            <a:off x="12219866" y="1401919"/>
            <a:ext cx="3073401" cy="1772786"/>
          </a:xfrm>
          <a:prstGeom prst="rect">
            <a:avLst/>
          </a:prstGeom>
        </p:spPr>
      </p:pic>
      <p:sp>
        <p:nvSpPr>
          <p:cNvPr id="13" name="Text Placeholder 1">
            <a:extLst>
              <a:ext uri="{FF2B5EF4-FFF2-40B4-BE49-F238E27FC236}">
                <a16:creationId xmlns:a16="http://schemas.microsoft.com/office/drawing/2014/main" id="{4F19C58A-C29E-4247-B73A-D66FAFA2D8DB}"/>
              </a:ext>
            </a:extLst>
          </p:cNvPr>
          <p:cNvSpPr txBox="1">
            <a:spLocks/>
          </p:cNvSpPr>
          <p:nvPr/>
        </p:nvSpPr>
        <p:spPr>
          <a:xfrm>
            <a:off x="339725" y="682960"/>
            <a:ext cx="11512550" cy="285698"/>
          </a:xfrm>
          <a:prstGeom prst="rect">
            <a:avLst/>
          </a:prstGeom>
          <a:noFill/>
          <a:ln>
            <a:solidFill>
              <a:schemeClr val="tx1"/>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SG" sz="1400">
                <a:latin typeface="Neue Haas Grotesk Text Pro" panose="020B0504020202020204" pitchFamily="34" charset="0"/>
              </a:rPr>
              <a:t>We have incorporated features to keep users engaged, and the platform can be improved further in a monetisation scenario.</a:t>
            </a:r>
          </a:p>
        </p:txBody>
      </p:sp>
      <p:sp>
        <p:nvSpPr>
          <p:cNvPr id="15" name="Text Placeholder 49">
            <a:extLst>
              <a:ext uri="{FF2B5EF4-FFF2-40B4-BE49-F238E27FC236}">
                <a16:creationId xmlns:a16="http://schemas.microsoft.com/office/drawing/2014/main" id="{DEDFC118-3CA6-4432-A720-106C31C0085A}"/>
              </a:ext>
            </a:extLst>
          </p:cNvPr>
          <p:cNvSpPr txBox="1">
            <a:spLocks/>
          </p:cNvSpPr>
          <p:nvPr/>
        </p:nvSpPr>
        <p:spPr>
          <a:xfrm>
            <a:off x="339723" y="1078300"/>
            <a:ext cx="5616477" cy="307575"/>
          </a:xfrm>
          <a:prstGeom prst="rect">
            <a:avLst/>
          </a:prstGeom>
          <a:solidFill>
            <a:srgbClr val="132E57"/>
          </a:solidFill>
          <a:ln w="6350">
            <a:solidFill>
              <a:schemeClr val="bg2">
                <a:lumMod val="90000"/>
              </a:schemeClr>
            </a:solidFill>
          </a:ln>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600" b="1">
                <a:latin typeface="Neue Haas Grotesk Text Pro" panose="020B0504020202020204" pitchFamily="34" charset="0"/>
              </a:rPr>
              <a:t>Creating a Sticky User Base</a:t>
            </a:r>
          </a:p>
        </p:txBody>
      </p:sp>
      <p:sp>
        <p:nvSpPr>
          <p:cNvPr id="5" name="Parallelogram 4">
            <a:extLst>
              <a:ext uri="{FF2B5EF4-FFF2-40B4-BE49-F238E27FC236}">
                <a16:creationId xmlns:a16="http://schemas.microsoft.com/office/drawing/2014/main" id="{71B3FEC1-9C34-407D-BB2F-E0AD327F5AAB}"/>
              </a:ext>
            </a:extLst>
          </p:cNvPr>
          <p:cNvSpPr/>
          <p:nvPr/>
        </p:nvSpPr>
        <p:spPr>
          <a:xfrm>
            <a:off x="5573059" y="107051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3" name="Parallelogram 72">
            <a:extLst>
              <a:ext uri="{FF2B5EF4-FFF2-40B4-BE49-F238E27FC236}">
                <a16:creationId xmlns:a16="http://schemas.microsoft.com/office/drawing/2014/main" id="{C22BFA06-5DF7-4484-A357-0A0C6D21962F}"/>
              </a:ext>
            </a:extLst>
          </p:cNvPr>
          <p:cNvSpPr/>
          <p:nvPr/>
        </p:nvSpPr>
        <p:spPr>
          <a:xfrm>
            <a:off x="11421179" y="1070517"/>
            <a:ext cx="694589" cy="317000"/>
          </a:xfrm>
          <a:prstGeom prst="parallelogram">
            <a:avLst>
              <a:gd name="adj" fmla="val 8480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grpSp>
        <p:nvGrpSpPr>
          <p:cNvPr id="88" name="Group 87">
            <a:extLst>
              <a:ext uri="{FF2B5EF4-FFF2-40B4-BE49-F238E27FC236}">
                <a16:creationId xmlns:a16="http://schemas.microsoft.com/office/drawing/2014/main" id="{B6642D5D-E5F8-4EA1-AAF5-DDB1E7ABEAFB}"/>
              </a:ext>
            </a:extLst>
          </p:cNvPr>
          <p:cNvGrpSpPr/>
          <p:nvPr/>
        </p:nvGrpSpPr>
        <p:grpSpPr>
          <a:xfrm>
            <a:off x="724077" y="1935599"/>
            <a:ext cx="4847768" cy="4457750"/>
            <a:chOff x="574820" y="2147450"/>
            <a:chExt cx="4847768" cy="4457750"/>
          </a:xfrm>
        </p:grpSpPr>
        <p:sp>
          <p:nvSpPr>
            <p:cNvPr id="29" name="Google Shape;1250;p32">
              <a:extLst>
                <a:ext uri="{FF2B5EF4-FFF2-40B4-BE49-F238E27FC236}">
                  <a16:creationId xmlns:a16="http://schemas.microsoft.com/office/drawing/2014/main" id="{4FD62B19-9BCE-4435-AE1E-693DB1FE5005}"/>
                </a:ext>
              </a:extLst>
            </p:cNvPr>
            <p:cNvSpPr/>
            <p:nvPr/>
          </p:nvSpPr>
          <p:spPr>
            <a:xfrm rot="5400000">
              <a:off x="-846092" y="3568362"/>
              <a:ext cx="4457748" cy="1615923"/>
            </a:xfrm>
            <a:prstGeom prst="homePlate">
              <a:avLst>
                <a:gd name="adj" fmla="val 27822"/>
              </a:avLst>
            </a:prstGeom>
            <a:solidFill>
              <a:schemeClr val="accent4">
                <a:lumMod val="20000"/>
                <a:lumOff val="80000"/>
              </a:schemeClr>
            </a:solidFill>
            <a:ln>
              <a:noFill/>
            </a:ln>
            <a:effectLst>
              <a:outerShdw blurRad="200025" dist="85725" dir="5160000" algn="bl" rotWithShape="0">
                <a:srgbClr val="000000">
                  <a:alpha val="30000"/>
                </a:srgbClr>
              </a:outerShdw>
            </a:effectLst>
          </p:spPr>
          <p:txBody>
            <a:bodyPr spcFirstLastPara="1" wrap="square" lIns="121900" tIns="121900" rIns="121900" bIns="121900" anchor="ctr" anchorCtr="0">
              <a:noAutofit/>
            </a:bodyPr>
            <a:lstStyle/>
            <a:p>
              <a:endParaRPr sz="2400"/>
            </a:p>
          </p:txBody>
        </p:sp>
        <p:grpSp>
          <p:nvGrpSpPr>
            <p:cNvPr id="30" name="Google Shape;1251;p32">
              <a:extLst>
                <a:ext uri="{FF2B5EF4-FFF2-40B4-BE49-F238E27FC236}">
                  <a16:creationId xmlns:a16="http://schemas.microsoft.com/office/drawing/2014/main" id="{680DF9E5-37BD-4FAE-9A6F-3A4D92CBEBF6}"/>
                </a:ext>
              </a:extLst>
            </p:cNvPr>
            <p:cNvGrpSpPr/>
            <p:nvPr/>
          </p:nvGrpSpPr>
          <p:grpSpPr>
            <a:xfrm>
              <a:off x="740041" y="3374330"/>
              <a:ext cx="1285630" cy="2889537"/>
              <a:chOff x="1453798" y="2327392"/>
              <a:chExt cx="1307252" cy="2191486"/>
            </a:xfrm>
          </p:grpSpPr>
          <p:sp>
            <p:nvSpPr>
              <p:cNvPr id="41" name="Google Shape;1252;p32">
                <a:extLst>
                  <a:ext uri="{FF2B5EF4-FFF2-40B4-BE49-F238E27FC236}">
                    <a16:creationId xmlns:a16="http://schemas.microsoft.com/office/drawing/2014/main" id="{314C89C5-B4D3-4C93-A846-85BB6449E81E}"/>
                  </a:ext>
                </a:extLst>
              </p:cNvPr>
              <p:cNvSpPr txBox="1"/>
              <p:nvPr/>
            </p:nvSpPr>
            <p:spPr>
              <a:xfrm>
                <a:off x="1453950" y="2327392"/>
                <a:ext cx="1307100" cy="577917"/>
              </a:xfrm>
              <a:prstGeom prst="rect">
                <a:avLst/>
              </a:prstGeom>
              <a:noFill/>
              <a:ln>
                <a:noFill/>
              </a:ln>
            </p:spPr>
            <p:txBody>
              <a:bodyPr spcFirstLastPara="1" wrap="square" lIns="0" tIns="121900" rIns="0" bIns="121900" anchor="ctr" anchorCtr="0">
                <a:noAutofit/>
              </a:bodyPr>
              <a:lstStyle/>
              <a:p>
                <a:pPr algn="ctr"/>
                <a:r>
                  <a:rPr lang="en" b="1">
                    <a:solidFill>
                      <a:schemeClr val="dk1"/>
                    </a:solidFill>
                    <a:latin typeface="Neue Haas Grotesk Text Pro" panose="020B0504020202020204" pitchFamily="34" charset="0"/>
                    <a:ea typeface="Fira Sans"/>
                    <a:cs typeface="Fira Sans"/>
                    <a:sym typeface="Fira Sans"/>
                  </a:rPr>
                  <a:t>User Profile</a:t>
                </a:r>
                <a:endParaRPr b="1">
                  <a:solidFill>
                    <a:schemeClr val="dk1"/>
                  </a:solidFill>
                  <a:latin typeface="Neue Haas Grotesk Text Pro" panose="020B0504020202020204" pitchFamily="34" charset="0"/>
                  <a:ea typeface="Fira Sans"/>
                  <a:cs typeface="Fira Sans"/>
                  <a:sym typeface="Fira Sans"/>
                </a:endParaRPr>
              </a:p>
            </p:txBody>
          </p:sp>
          <p:sp>
            <p:nvSpPr>
              <p:cNvPr id="42" name="Google Shape;1253;p32">
                <a:extLst>
                  <a:ext uri="{FF2B5EF4-FFF2-40B4-BE49-F238E27FC236}">
                    <a16:creationId xmlns:a16="http://schemas.microsoft.com/office/drawing/2014/main" id="{36ABB5E1-1E38-47CA-A141-60E5EBF8321F}"/>
                  </a:ext>
                </a:extLst>
              </p:cNvPr>
              <p:cNvSpPr txBox="1"/>
              <p:nvPr/>
            </p:nvSpPr>
            <p:spPr>
              <a:xfrm>
                <a:off x="1453798" y="2905309"/>
                <a:ext cx="1307100" cy="1613569"/>
              </a:xfrm>
              <a:prstGeom prst="rect">
                <a:avLst/>
              </a:prstGeom>
              <a:noFill/>
              <a:ln>
                <a:noFill/>
              </a:ln>
            </p:spPr>
            <p:txBody>
              <a:bodyPr spcFirstLastPara="1" wrap="square" lIns="0" tIns="121900" rIns="0" bIns="121900" anchor="ctr" anchorCtr="0">
                <a:noAutofit/>
              </a:bodyPr>
              <a:lstStyle/>
              <a:p>
                <a:pPr algn="ctr"/>
                <a:r>
                  <a:rPr lang="en-US" sz="1200">
                    <a:solidFill>
                      <a:schemeClr val="dk1"/>
                    </a:solidFill>
                    <a:latin typeface="Neue Haas Grotesk Text Pro" panose="020B0504020202020204" pitchFamily="34" charset="0"/>
                    <a:ea typeface="Fira Sans"/>
                    <a:cs typeface="Fira Sans"/>
                    <a:sym typeface="Fira Sans"/>
                  </a:rPr>
                  <a:t>All data is saved in the user’s profile, allowing users to update figures as and when needed</a:t>
                </a:r>
              </a:p>
            </p:txBody>
          </p:sp>
        </p:grpSp>
        <p:pic>
          <p:nvPicPr>
            <p:cNvPr id="8" name="Graphic 7" descr="{&quot;Key&quot;:&quot;POWER_USER_SHAPE_ICON&quot;,&quot;Value&quot;:&quot;POWER_USER_SHAPE_ICON_STYLE_1&quot;}">
              <a:extLst>
                <a:ext uri="{FF2B5EF4-FFF2-40B4-BE49-F238E27FC236}">
                  <a16:creationId xmlns:a16="http://schemas.microsoft.com/office/drawing/2014/main" id="{0DA69845-143C-4E1A-A848-1872985781E8}"/>
                </a:ext>
              </a:extLst>
            </p:cNvPr>
            <p:cNvPicPr>
              <a:picLocks noChangeAspect="1"/>
            </p:cNvPicPr>
            <p:nvPr/>
          </p:nvPicPr>
          <p:blipFill>
            <a:blip r:embed="rId95">
              <a:extLst>
                <a:ext uri="{28A0092B-C50C-407E-A947-70E740481C1C}">
                  <a14:useLocalDpi xmlns:a14="http://schemas.microsoft.com/office/drawing/2010/main" val="0"/>
                </a:ext>
                <a:ext uri="{96DAC541-7B7A-43D3-8B79-37D633B846F1}">
                  <asvg:svgBlip xmlns:asvg="http://schemas.microsoft.com/office/drawing/2016/SVG/main" r:embed="rId96"/>
                </a:ext>
              </a:extLst>
            </a:blip>
            <a:stretch>
              <a:fillRect/>
            </a:stretch>
          </p:blipFill>
          <p:spPr>
            <a:xfrm>
              <a:off x="1010442" y="2500163"/>
              <a:ext cx="744681" cy="762000"/>
            </a:xfrm>
            <a:prstGeom prst="rect">
              <a:avLst/>
            </a:prstGeom>
          </p:spPr>
        </p:pic>
        <p:grpSp>
          <p:nvGrpSpPr>
            <p:cNvPr id="75" name="Group 74">
              <a:extLst>
                <a:ext uri="{FF2B5EF4-FFF2-40B4-BE49-F238E27FC236}">
                  <a16:creationId xmlns:a16="http://schemas.microsoft.com/office/drawing/2014/main" id="{C97CBF5F-0201-41A4-8F91-FDECBADABA63}"/>
                </a:ext>
              </a:extLst>
            </p:cNvPr>
            <p:cNvGrpSpPr/>
            <p:nvPr/>
          </p:nvGrpSpPr>
          <p:grpSpPr>
            <a:xfrm>
              <a:off x="2190743" y="2147450"/>
              <a:ext cx="1615923" cy="4457750"/>
              <a:chOff x="574820" y="2147450"/>
              <a:chExt cx="1615923" cy="4457750"/>
            </a:xfrm>
          </p:grpSpPr>
          <p:sp>
            <p:nvSpPr>
              <p:cNvPr id="76" name="Google Shape;1250;p32">
                <a:extLst>
                  <a:ext uri="{FF2B5EF4-FFF2-40B4-BE49-F238E27FC236}">
                    <a16:creationId xmlns:a16="http://schemas.microsoft.com/office/drawing/2014/main" id="{42470923-7B73-41CF-A16C-FB63640C27AE}"/>
                  </a:ext>
                </a:extLst>
              </p:cNvPr>
              <p:cNvSpPr/>
              <p:nvPr/>
            </p:nvSpPr>
            <p:spPr>
              <a:xfrm rot="5400000">
                <a:off x="-846093" y="3568363"/>
                <a:ext cx="4457750" cy="1615923"/>
              </a:xfrm>
              <a:prstGeom prst="homePlate">
                <a:avLst>
                  <a:gd name="adj" fmla="val 27822"/>
                </a:avLst>
              </a:prstGeom>
              <a:solidFill>
                <a:schemeClr val="accent1">
                  <a:lumMod val="20000"/>
                  <a:lumOff val="80000"/>
                </a:schemeClr>
              </a:solidFill>
              <a:ln>
                <a:noFill/>
              </a:ln>
              <a:effectLst>
                <a:outerShdw blurRad="200025" dist="85725" dir="5160000" algn="bl" rotWithShape="0">
                  <a:srgbClr val="000000">
                    <a:alpha val="30000"/>
                  </a:srgbClr>
                </a:outerShdw>
              </a:effectLst>
            </p:spPr>
            <p:txBody>
              <a:bodyPr spcFirstLastPara="1" wrap="square" lIns="121900" tIns="121900" rIns="121900" bIns="121900" anchor="ctr" anchorCtr="0">
                <a:noAutofit/>
              </a:bodyPr>
              <a:lstStyle/>
              <a:p>
                <a:endParaRPr sz="2400"/>
              </a:p>
            </p:txBody>
          </p:sp>
          <p:grpSp>
            <p:nvGrpSpPr>
              <p:cNvPr id="77" name="Google Shape;1251;p32">
                <a:extLst>
                  <a:ext uri="{FF2B5EF4-FFF2-40B4-BE49-F238E27FC236}">
                    <a16:creationId xmlns:a16="http://schemas.microsoft.com/office/drawing/2014/main" id="{49EBBF58-5596-422A-BB95-AB894527C151}"/>
                  </a:ext>
                </a:extLst>
              </p:cNvPr>
              <p:cNvGrpSpPr/>
              <p:nvPr/>
            </p:nvGrpSpPr>
            <p:grpSpPr>
              <a:xfrm>
                <a:off x="740041" y="3374330"/>
                <a:ext cx="1285630" cy="2889537"/>
                <a:chOff x="1453798" y="2327392"/>
                <a:chExt cx="1307252" cy="2191486"/>
              </a:xfrm>
            </p:grpSpPr>
            <p:sp>
              <p:nvSpPr>
                <p:cNvPr id="79" name="Google Shape;1252;p32">
                  <a:extLst>
                    <a:ext uri="{FF2B5EF4-FFF2-40B4-BE49-F238E27FC236}">
                      <a16:creationId xmlns:a16="http://schemas.microsoft.com/office/drawing/2014/main" id="{F17BA0B3-101F-4891-BEBF-54AFCEAD148B}"/>
                    </a:ext>
                  </a:extLst>
                </p:cNvPr>
                <p:cNvSpPr txBox="1"/>
                <p:nvPr/>
              </p:nvSpPr>
              <p:spPr>
                <a:xfrm>
                  <a:off x="1453950" y="2327392"/>
                  <a:ext cx="1307100" cy="577917"/>
                </a:xfrm>
                <a:prstGeom prst="rect">
                  <a:avLst/>
                </a:prstGeom>
                <a:noFill/>
                <a:ln>
                  <a:noFill/>
                </a:ln>
              </p:spPr>
              <p:txBody>
                <a:bodyPr spcFirstLastPara="1" wrap="square" lIns="0" tIns="121900" rIns="0" bIns="121900" anchor="ctr" anchorCtr="0">
                  <a:noAutofit/>
                </a:bodyPr>
                <a:lstStyle/>
                <a:p>
                  <a:pPr algn="ctr"/>
                  <a:r>
                    <a:rPr lang="en" b="1">
                      <a:solidFill>
                        <a:schemeClr val="dk1"/>
                      </a:solidFill>
                      <a:latin typeface="Neue Haas Grotesk Text Pro" panose="020B0504020202020204" pitchFamily="34" charset="0"/>
                      <a:ea typeface="Fira Sans"/>
                      <a:cs typeface="Fira Sans"/>
                      <a:sym typeface="Fira Sans"/>
                    </a:rPr>
                    <a:t>Daily Updates</a:t>
                  </a:r>
                  <a:endParaRPr b="1">
                    <a:solidFill>
                      <a:schemeClr val="dk1"/>
                    </a:solidFill>
                    <a:latin typeface="Neue Haas Grotesk Text Pro" panose="020B0504020202020204" pitchFamily="34" charset="0"/>
                    <a:ea typeface="Fira Sans"/>
                    <a:cs typeface="Fira Sans"/>
                    <a:sym typeface="Fira Sans"/>
                  </a:endParaRPr>
                </a:p>
              </p:txBody>
            </p:sp>
            <p:sp>
              <p:nvSpPr>
                <p:cNvPr id="80" name="Google Shape;1253;p32">
                  <a:extLst>
                    <a:ext uri="{FF2B5EF4-FFF2-40B4-BE49-F238E27FC236}">
                      <a16:creationId xmlns:a16="http://schemas.microsoft.com/office/drawing/2014/main" id="{F2312BFD-876E-4B62-8731-EAAF4D6C04DF}"/>
                    </a:ext>
                  </a:extLst>
                </p:cNvPr>
                <p:cNvSpPr txBox="1"/>
                <p:nvPr/>
              </p:nvSpPr>
              <p:spPr>
                <a:xfrm>
                  <a:off x="1453798" y="2905309"/>
                  <a:ext cx="1307100" cy="1613569"/>
                </a:xfrm>
                <a:prstGeom prst="rect">
                  <a:avLst/>
                </a:prstGeom>
                <a:noFill/>
                <a:ln>
                  <a:noFill/>
                </a:ln>
              </p:spPr>
              <p:txBody>
                <a:bodyPr spcFirstLastPara="1" wrap="square" lIns="0" tIns="121900" rIns="0" bIns="121900" anchor="ctr" anchorCtr="0">
                  <a:noAutofit/>
                </a:bodyPr>
                <a:lstStyle/>
                <a:p>
                  <a:pPr algn="ctr"/>
                  <a:r>
                    <a:rPr lang="en-US" sz="1200">
                      <a:solidFill>
                        <a:schemeClr val="dk1"/>
                      </a:solidFill>
                      <a:latin typeface="Neue Haas Grotesk Text Pro" panose="020B0504020202020204" pitchFamily="34" charset="0"/>
                      <a:ea typeface="Fira Sans"/>
                      <a:cs typeface="Fira Sans"/>
                      <a:sym typeface="Fira Sans"/>
                    </a:rPr>
                    <a:t>News articles, company metrics and sentiment indicator are updated daily, making site a useful source for regular updates</a:t>
                  </a:r>
                </a:p>
              </p:txBody>
            </p:sp>
          </p:grpSp>
        </p:grpSp>
        <p:pic>
          <p:nvPicPr>
            <p:cNvPr id="12" name="Graphic 11" descr="{&quot;Key&quot;:&quot;POWER_USER_SHAPE_ICON&quot;,&quot;Value&quot;:&quot;POWER_USER_SHAPE_ICON_STYLE_1&quot;}">
              <a:extLst>
                <a:ext uri="{FF2B5EF4-FFF2-40B4-BE49-F238E27FC236}">
                  <a16:creationId xmlns:a16="http://schemas.microsoft.com/office/drawing/2014/main" id="{23798D80-CF4A-49E3-9D3E-8E2BA1C8E775}"/>
                </a:ext>
              </a:extLst>
            </p:cNvPr>
            <p:cNvPicPr>
              <a:picLocks noChangeAspect="1"/>
            </p:cNvPicPr>
            <p:nvPr/>
          </p:nvPicPr>
          <p:blipFill>
            <a:blip r:embed="rId97">
              <a:extLst>
                <a:ext uri="{28A0092B-C50C-407E-A947-70E740481C1C}">
                  <a14:useLocalDpi xmlns:a14="http://schemas.microsoft.com/office/drawing/2010/main" val="0"/>
                </a:ext>
                <a:ext uri="{96DAC541-7B7A-43D3-8B79-37D633B846F1}">
                  <asvg:svgBlip xmlns:asvg="http://schemas.microsoft.com/office/drawing/2016/SVG/main" r:embed="rId98"/>
                </a:ext>
              </a:extLst>
            </a:blip>
            <a:stretch>
              <a:fillRect/>
            </a:stretch>
          </p:blipFill>
          <p:spPr>
            <a:xfrm>
              <a:off x="2626364" y="2500163"/>
              <a:ext cx="744681" cy="762000"/>
            </a:xfrm>
            <a:prstGeom prst="rect">
              <a:avLst/>
            </a:prstGeom>
          </p:spPr>
        </p:pic>
        <p:grpSp>
          <p:nvGrpSpPr>
            <p:cNvPr id="81" name="Group 80">
              <a:extLst>
                <a:ext uri="{FF2B5EF4-FFF2-40B4-BE49-F238E27FC236}">
                  <a16:creationId xmlns:a16="http://schemas.microsoft.com/office/drawing/2014/main" id="{2719112E-8D5C-42E1-94B5-611A1AC508DC}"/>
                </a:ext>
              </a:extLst>
            </p:cNvPr>
            <p:cNvGrpSpPr/>
            <p:nvPr/>
          </p:nvGrpSpPr>
          <p:grpSpPr>
            <a:xfrm>
              <a:off x="3806665" y="2147450"/>
              <a:ext cx="1615923" cy="4457750"/>
              <a:chOff x="574820" y="2147450"/>
              <a:chExt cx="1615923" cy="4457750"/>
            </a:xfrm>
            <a:solidFill>
              <a:schemeClr val="tx2">
                <a:lumMod val="20000"/>
                <a:lumOff val="80000"/>
              </a:schemeClr>
            </a:solidFill>
          </p:grpSpPr>
          <p:sp>
            <p:nvSpPr>
              <p:cNvPr id="82" name="Google Shape;1250;p32">
                <a:extLst>
                  <a:ext uri="{FF2B5EF4-FFF2-40B4-BE49-F238E27FC236}">
                    <a16:creationId xmlns:a16="http://schemas.microsoft.com/office/drawing/2014/main" id="{B9F50665-C069-4965-8ACE-5F9675024ADC}"/>
                  </a:ext>
                </a:extLst>
              </p:cNvPr>
              <p:cNvSpPr/>
              <p:nvPr/>
            </p:nvSpPr>
            <p:spPr>
              <a:xfrm rot="5400000">
                <a:off x="-846093" y="3568363"/>
                <a:ext cx="4457750" cy="1615923"/>
              </a:xfrm>
              <a:prstGeom prst="homePlate">
                <a:avLst>
                  <a:gd name="adj" fmla="val 27822"/>
                </a:avLst>
              </a:prstGeom>
              <a:grpFill/>
              <a:ln>
                <a:noFill/>
              </a:ln>
              <a:effectLst>
                <a:outerShdw blurRad="200025" dist="85725" dir="5160000" algn="bl" rotWithShape="0">
                  <a:srgbClr val="000000">
                    <a:alpha val="30000"/>
                  </a:srgbClr>
                </a:outerShdw>
              </a:effectLst>
            </p:spPr>
            <p:txBody>
              <a:bodyPr spcFirstLastPara="1" wrap="square" lIns="121900" tIns="121900" rIns="121900" bIns="121900" anchor="ctr" anchorCtr="0">
                <a:noAutofit/>
              </a:bodyPr>
              <a:lstStyle/>
              <a:p>
                <a:endParaRPr sz="2400"/>
              </a:p>
            </p:txBody>
          </p:sp>
          <p:grpSp>
            <p:nvGrpSpPr>
              <p:cNvPr id="83" name="Google Shape;1251;p32">
                <a:extLst>
                  <a:ext uri="{FF2B5EF4-FFF2-40B4-BE49-F238E27FC236}">
                    <a16:creationId xmlns:a16="http://schemas.microsoft.com/office/drawing/2014/main" id="{F12528EC-E05F-4783-9C89-CB36440D4992}"/>
                  </a:ext>
                </a:extLst>
              </p:cNvPr>
              <p:cNvGrpSpPr/>
              <p:nvPr/>
            </p:nvGrpSpPr>
            <p:grpSpPr>
              <a:xfrm>
                <a:off x="740041" y="3374330"/>
                <a:ext cx="1285630" cy="2889537"/>
                <a:chOff x="1453798" y="2327392"/>
                <a:chExt cx="1307252" cy="2191486"/>
              </a:xfrm>
              <a:grpFill/>
            </p:grpSpPr>
            <p:sp>
              <p:nvSpPr>
                <p:cNvPr id="84" name="Google Shape;1252;p32">
                  <a:extLst>
                    <a:ext uri="{FF2B5EF4-FFF2-40B4-BE49-F238E27FC236}">
                      <a16:creationId xmlns:a16="http://schemas.microsoft.com/office/drawing/2014/main" id="{14029560-0121-42BB-B6AF-D33DF39D987F}"/>
                    </a:ext>
                  </a:extLst>
                </p:cNvPr>
                <p:cNvSpPr txBox="1"/>
                <p:nvPr/>
              </p:nvSpPr>
              <p:spPr>
                <a:xfrm>
                  <a:off x="1453950" y="2327392"/>
                  <a:ext cx="1307100" cy="577917"/>
                </a:xfrm>
                <a:prstGeom prst="rect">
                  <a:avLst/>
                </a:prstGeom>
                <a:grpFill/>
                <a:ln>
                  <a:noFill/>
                </a:ln>
              </p:spPr>
              <p:txBody>
                <a:bodyPr spcFirstLastPara="1" wrap="square" lIns="0" tIns="121900" rIns="0" bIns="121900" anchor="ctr" anchorCtr="0">
                  <a:noAutofit/>
                </a:bodyPr>
                <a:lstStyle/>
                <a:p>
                  <a:pPr algn="ctr"/>
                  <a:r>
                    <a:rPr lang="en" b="1">
                      <a:solidFill>
                        <a:schemeClr val="dk1"/>
                      </a:solidFill>
                      <a:latin typeface="Neue Haas Grotesk Text Pro" panose="020B0504020202020204" pitchFamily="34" charset="0"/>
                      <a:ea typeface="Fira Sans"/>
                      <a:cs typeface="Fira Sans"/>
                      <a:sym typeface="Fira Sans"/>
                    </a:rPr>
                    <a:t>Refreshed Scoring</a:t>
                  </a:r>
                  <a:endParaRPr b="1">
                    <a:solidFill>
                      <a:schemeClr val="dk1"/>
                    </a:solidFill>
                    <a:latin typeface="Neue Haas Grotesk Text Pro" panose="020B0504020202020204" pitchFamily="34" charset="0"/>
                    <a:ea typeface="Fira Sans"/>
                    <a:cs typeface="Fira Sans"/>
                    <a:sym typeface="Fira Sans"/>
                  </a:endParaRPr>
                </a:p>
              </p:txBody>
            </p:sp>
            <p:sp>
              <p:nvSpPr>
                <p:cNvPr id="85" name="Google Shape;1253;p32">
                  <a:extLst>
                    <a:ext uri="{FF2B5EF4-FFF2-40B4-BE49-F238E27FC236}">
                      <a16:creationId xmlns:a16="http://schemas.microsoft.com/office/drawing/2014/main" id="{C91A5D73-B01C-4287-A26C-1990510B576F}"/>
                    </a:ext>
                  </a:extLst>
                </p:cNvPr>
                <p:cNvSpPr txBox="1"/>
                <p:nvPr/>
              </p:nvSpPr>
              <p:spPr>
                <a:xfrm>
                  <a:off x="1453798" y="2905309"/>
                  <a:ext cx="1307100" cy="1613569"/>
                </a:xfrm>
                <a:prstGeom prst="rect">
                  <a:avLst/>
                </a:prstGeom>
                <a:grpFill/>
                <a:ln>
                  <a:noFill/>
                </a:ln>
              </p:spPr>
              <p:txBody>
                <a:bodyPr spcFirstLastPara="1" wrap="square" lIns="0" tIns="121900" rIns="0" bIns="121900" anchor="ctr" anchorCtr="0">
                  <a:noAutofit/>
                </a:bodyPr>
                <a:lstStyle/>
                <a:p>
                  <a:pPr algn="ctr"/>
                  <a:r>
                    <a:rPr lang="en-US" sz="1200">
                      <a:solidFill>
                        <a:schemeClr val="dk1"/>
                      </a:solidFill>
                      <a:latin typeface="Neue Haas Grotesk Text Pro" panose="020B0504020202020204" pitchFamily="34" charset="0"/>
                      <a:ea typeface="Fira Sans"/>
                      <a:cs typeface="Fira Sans"/>
                      <a:sym typeface="Fira Sans"/>
                    </a:rPr>
                    <a:t>The quality score is updated when the company releases a new set of financial results, allowing users to monitor their holdings over time</a:t>
                  </a:r>
                </a:p>
              </p:txBody>
            </p:sp>
          </p:grpSp>
        </p:grpSp>
        <p:pic>
          <p:nvPicPr>
            <p:cNvPr id="86" name="Graphic 85" descr="{&quot;Key&quot;:&quot;POWER_USER_SHAPE_ICON&quot;,&quot;Value&quot;:&quot;POWER_USER_SHAPE_ICON_STYLE_1&quot;}">
              <a:extLst>
                <a:ext uri="{FF2B5EF4-FFF2-40B4-BE49-F238E27FC236}">
                  <a16:creationId xmlns:a16="http://schemas.microsoft.com/office/drawing/2014/main" id="{AB185C93-D400-493D-B0D6-3E861458DF11}"/>
                </a:ext>
              </a:extLst>
            </p:cNvPr>
            <p:cNvPicPr>
              <a:picLocks noChangeAspect="1"/>
            </p:cNvPicPr>
            <p:nvPr/>
          </p:nvPicPr>
          <p:blipFill>
            <a:blip r:embed="rId99">
              <a:extLst>
                <a:ext uri="{28A0092B-C50C-407E-A947-70E740481C1C}">
                  <a14:useLocalDpi xmlns:a14="http://schemas.microsoft.com/office/drawing/2010/main" val="0"/>
                </a:ext>
                <a:ext uri="{96DAC541-7B7A-43D3-8B79-37D633B846F1}">
                  <asvg:svgBlip xmlns:asvg="http://schemas.microsoft.com/office/drawing/2016/SVG/main" r:embed="rId100"/>
                </a:ext>
              </a:extLst>
            </a:blip>
            <a:stretch>
              <a:fillRect/>
            </a:stretch>
          </p:blipFill>
          <p:spPr>
            <a:xfrm>
              <a:off x="4233626" y="2500163"/>
              <a:ext cx="762000" cy="762000"/>
            </a:xfrm>
            <a:prstGeom prst="rect">
              <a:avLst/>
            </a:prstGeom>
          </p:spPr>
        </p:pic>
      </p:grpSp>
      <p:grpSp>
        <p:nvGrpSpPr>
          <p:cNvPr id="152" name="Group 151">
            <a:extLst>
              <a:ext uri="{FF2B5EF4-FFF2-40B4-BE49-F238E27FC236}">
                <a16:creationId xmlns:a16="http://schemas.microsoft.com/office/drawing/2014/main" id="{E64206B8-5013-4BC2-9484-087BD9AB4A7F}"/>
              </a:ext>
            </a:extLst>
          </p:cNvPr>
          <p:cNvGrpSpPr/>
          <p:nvPr/>
        </p:nvGrpSpPr>
        <p:grpSpPr>
          <a:xfrm>
            <a:off x="6443622" y="1594265"/>
            <a:ext cx="5232679" cy="3233244"/>
            <a:chOff x="6443622" y="1604731"/>
            <a:chExt cx="5232679" cy="3233244"/>
          </a:xfrm>
        </p:grpSpPr>
        <p:sp>
          <p:nvSpPr>
            <p:cNvPr id="91" name="Text Placeholder 53">
              <a:extLst>
                <a:ext uri="{FF2B5EF4-FFF2-40B4-BE49-F238E27FC236}">
                  <a16:creationId xmlns:a16="http://schemas.microsoft.com/office/drawing/2014/main" id="{B5EE108D-E0B3-473E-B49B-0CFAE370A042}"/>
                </a:ext>
              </a:extLst>
            </p:cNvPr>
            <p:cNvSpPr txBox="1">
              <a:spLocks/>
            </p:cNvSpPr>
            <p:nvPr/>
          </p:nvSpPr>
          <p:spPr>
            <a:xfrm>
              <a:off x="6828532" y="1604731"/>
              <a:ext cx="4847769" cy="3413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500" b="1">
                  <a:latin typeface="Neue Haas Grotesk Text Pro" panose="020B0504020202020204" pitchFamily="34" charset="0"/>
                </a:rPr>
                <a:t>Due to time constraints, unable to deploy all ideas </a:t>
              </a:r>
              <a:endParaRPr lang="en-SG" sz="1500" b="1">
                <a:latin typeface="Neue Haas Grotesk Text Pro" panose="020B0504020202020204" pitchFamily="34" charset="0"/>
              </a:endParaRPr>
            </a:p>
          </p:txBody>
        </p:sp>
        <p:sp>
          <p:nvSpPr>
            <p:cNvPr id="90" name="Rectangle 89">
              <a:extLst>
                <a:ext uri="{FF2B5EF4-FFF2-40B4-BE49-F238E27FC236}">
                  <a16:creationId xmlns:a16="http://schemas.microsoft.com/office/drawing/2014/main" id="{42FF5D7D-1BE0-44B9-9E37-D75461A85235}"/>
                </a:ext>
              </a:extLst>
            </p:cNvPr>
            <p:cNvSpPr/>
            <p:nvPr/>
          </p:nvSpPr>
          <p:spPr>
            <a:xfrm>
              <a:off x="6828532" y="1921731"/>
              <a:ext cx="4847769" cy="29162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360000" bIns="45720" numCol="1" spcCol="0" rtlCol="0" fromWordArt="0" anchor="ctr" anchorCtr="0" forceAA="0" compatLnSpc="1">
              <a:prstTxWarp prst="textNoShape">
                <a:avLst/>
              </a:prstTxWarp>
              <a:noAutofit/>
            </a:bodyPr>
            <a:lstStyle/>
            <a:p>
              <a:pPr marL="742950" lvl="1" indent="-285750" algn="just">
                <a:buFont typeface="Arial" panose="020B0604020202020204" pitchFamily="34" charset="0"/>
                <a:buChar char="•"/>
              </a:pPr>
              <a:r>
                <a:rPr lang="en-SG" sz="1600">
                  <a:latin typeface="Neue Haas Grotesk Text Pro" panose="020B0504020202020204" pitchFamily="34" charset="0"/>
                </a:rPr>
                <a:t>Forum for interaction between users to improve user stickiness</a:t>
              </a:r>
            </a:p>
            <a:p>
              <a:pPr marL="742950" lvl="1" indent="-285750" algn="just">
                <a:buFont typeface="Arial" panose="020B0604020202020204" pitchFamily="34" charset="0"/>
                <a:buChar char="•"/>
              </a:pPr>
              <a:endParaRPr lang="en-SG" sz="1600">
                <a:latin typeface="Neue Haas Grotesk Text Pro" panose="020B0504020202020204" pitchFamily="34" charset="0"/>
              </a:endParaRPr>
            </a:p>
            <a:p>
              <a:pPr marL="742950" lvl="1" indent="-285750" algn="just">
                <a:buFont typeface="Arial" panose="020B0604020202020204" pitchFamily="34" charset="0"/>
                <a:buChar char="•"/>
              </a:pPr>
              <a:r>
                <a:rPr lang="en-SG" sz="1600">
                  <a:latin typeface="Neue Haas Grotesk Text Pro" panose="020B0504020202020204" pitchFamily="34" charset="0"/>
                </a:rPr>
                <a:t>Portfolio function for users to track real-time portfolio performance</a:t>
              </a:r>
            </a:p>
            <a:p>
              <a:pPr marL="742950" lvl="1" indent="-285750" algn="just">
                <a:buFont typeface="Arial" panose="020B0604020202020204" pitchFamily="34" charset="0"/>
                <a:buChar char="•"/>
              </a:pPr>
              <a:endParaRPr lang="en-SG" sz="1600">
                <a:latin typeface="Neue Haas Grotesk Text Pro" panose="020B0504020202020204" pitchFamily="34" charset="0"/>
              </a:endParaRPr>
            </a:p>
            <a:p>
              <a:pPr marL="742950" lvl="1" indent="-285750" algn="just">
                <a:buFont typeface="Arial" panose="020B0604020202020204" pitchFamily="34" charset="0"/>
                <a:buChar char="•"/>
              </a:pPr>
              <a:r>
                <a:rPr lang="en-SG" sz="1600">
                  <a:latin typeface="Neue Haas Grotesk Text Pro" panose="020B0504020202020204" pitchFamily="34" charset="0"/>
                </a:rPr>
                <a:t>Monthly contribution tracker that denotes whether the user is on-track to reaching their target</a:t>
              </a:r>
            </a:p>
          </p:txBody>
        </p:sp>
        <p:pic>
          <p:nvPicPr>
            <p:cNvPr id="98" name="Graphic 97" descr="{&quot;Key&quot;:&quot;POWER_USER_SHAPE_ICON&quot;,&quot;Value&quot;:&quot;POWER_USER_SHAPE_ICON_STYLE_1&quot;}">
              <a:extLst>
                <a:ext uri="{FF2B5EF4-FFF2-40B4-BE49-F238E27FC236}">
                  <a16:creationId xmlns:a16="http://schemas.microsoft.com/office/drawing/2014/main" id="{203989E5-8AF9-44FB-B57F-DFE3FFC0F8DF}"/>
                </a:ext>
              </a:extLst>
            </p:cNvPr>
            <p:cNvPicPr>
              <a:picLocks noChangeAspect="1"/>
            </p:cNvPicPr>
            <p:nvPr/>
          </p:nvPicPr>
          <p:blipFill>
            <a:blip r:embed="rId101">
              <a:extLst>
                <a:ext uri="{28A0092B-C50C-407E-A947-70E740481C1C}">
                  <a14:useLocalDpi xmlns:a14="http://schemas.microsoft.com/office/drawing/2010/main" val="0"/>
                </a:ext>
                <a:ext uri="{96DAC541-7B7A-43D3-8B79-37D633B846F1}">
                  <asvg:svgBlip xmlns:asvg="http://schemas.microsoft.com/office/drawing/2016/SVG/main" r:embed="rId102"/>
                </a:ext>
              </a:extLst>
            </a:blip>
            <a:stretch>
              <a:fillRect/>
            </a:stretch>
          </p:blipFill>
          <p:spPr>
            <a:xfrm>
              <a:off x="6460941" y="2123215"/>
              <a:ext cx="744681" cy="762000"/>
            </a:xfrm>
            <a:prstGeom prst="rect">
              <a:avLst/>
            </a:prstGeom>
          </p:spPr>
        </p:pic>
        <p:pic>
          <p:nvPicPr>
            <p:cNvPr id="100" name="Graphic 99" descr="{&quot;Key&quot;:&quot;POWER_USER_SHAPE_ICON&quot;,&quot;Value&quot;:&quot;POWER_USER_SHAPE_ICON_STYLE_1&quot;}">
              <a:extLst>
                <a:ext uri="{FF2B5EF4-FFF2-40B4-BE49-F238E27FC236}">
                  <a16:creationId xmlns:a16="http://schemas.microsoft.com/office/drawing/2014/main" id="{F65FF0BC-6184-4322-B706-56649A63FB07}"/>
                </a:ext>
              </a:extLst>
            </p:cNvPr>
            <p:cNvPicPr>
              <a:picLocks noChangeAspect="1"/>
            </p:cNvPicPr>
            <p:nvPr/>
          </p:nvPicPr>
          <p:blipFill>
            <a:blip r:embed="rId103">
              <a:extLst>
                <a:ext uri="{28A0092B-C50C-407E-A947-70E740481C1C}">
                  <a14:useLocalDpi xmlns:a14="http://schemas.microsoft.com/office/drawing/2010/main" val="0"/>
                </a:ext>
                <a:ext uri="{96DAC541-7B7A-43D3-8B79-37D633B846F1}">
                  <asvg:svgBlip xmlns:asvg="http://schemas.microsoft.com/office/drawing/2016/SVG/main" r:embed="rId104"/>
                </a:ext>
              </a:extLst>
            </a:blip>
            <a:stretch>
              <a:fillRect/>
            </a:stretch>
          </p:blipFill>
          <p:spPr>
            <a:xfrm>
              <a:off x="6443622" y="3793938"/>
              <a:ext cx="762000" cy="762000"/>
            </a:xfrm>
            <a:prstGeom prst="rect">
              <a:avLst/>
            </a:prstGeom>
          </p:spPr>
        </p:pic>
        <p:pic>
          <p:nvPicPr>
            <p:cNvPr id="102" name="Graphic 101" descr="{&quot;Key&quot;:&quot;POWER_USER_SHAPE_ICON&quot;,&quot;Value&quot;:&quot;POWER_USER_SHAPE_ICON_STYLE_1&quot;}">
              <a:extLst>
                <a:ext uri="{FF2B5EF4-FFF2-40B4-BE49-F238E27FC236}">
                  <a16:creationId xmlns:a16="http://schemas.microsoft.com/office/drawing/2014/main" id="{CD4DFBCE-1C85-4FA9-B262-6EBF3DFF040E}"/>
                </a:ext>
              </a:extLst>
            </p:cNvPr>
            <p:cNvPicPr>
              <a:picLocks noChangeAspect="1"/>
            </p:cNvPicPr>
            <p:nvPr/>
          </p:nvPicPr>
          <p:blipFill>
            <a:blip r:embed="rId105">
              <a:extLst>
                <a:ext uri="{28A0092B-C50C-407E-A947-70E740481C1C}">
                  <a14:useLocalDpi xmlns:a14="http://schemas.microsoft.com/office/drawing/2010/main" val="0"/>
                </a:ext>
                <a:ext uri="{96DAC541-7B7A-43D3-8B79-37D633B846F1}">
                  <asvg:svgBlip xmlns:asvg="http://schemas.microsoft.com/office/drawing/2016/SVG/main" r:embed="rId106"/>
                </a:ext>
              </a:extLst>
            </a:blip>
            <a:stretch>
              <a:fillRect/>
            </a:stretch>
          </p:blipFill>
          <p:spPr>
            <a:xfrm>
              <a:off x="6443622" y="2958577"/>
              <a:ext cx="762000" cy="762000"/>
            </a:xfrm>
            <a:prstGeom prst="rect">
              <a:avLst/>
            </a:prstGeom>
          </p:spPr>
        </p:pic>
      </p:grpSp>
      <p:sp>
        <p:nvSpPr>
          <p:cNvPr id="103" name="Text Placeholder 53">
            <a:extLst>
              <a:ext uri="{FF2B5EF4-FFF2-40B4-BE49-F238E27FC236}">
                <a16:creationId xmlns:a16="http://schemas.microsoft.com/office/drawing/2014/main" id="{49811F1E-B849-40B6-936B-F2FA7F86586B}"/>
              </a:ext>
            </a:extLst>
          </p:cNvPr>
          <p:cNvSpPr txBox="1">
            <a:spLocks/>
          </p:cNvSpPr>
          <p:nvPr/>
        </p:nvSpPr>
        <p:spPr>
          <a:xfrm>
            <a:off x="6828532" y="4993117"/>
            <a:ext cx="4847769" cy="3078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b="1">
                <a:latin typeface="Neue Haas Grotesk Text Pro" panose="020B0504020202020204" pitchFamily="34" charset="0"/>
              </a:rPr>
              <a:t>Possible actions to strengthen monetization</a:t>
            </a:r>
          </a:p>
        </p:txBody>
      </p:sp>
      <p:grpSp>
        <p:nvGrpSpPr>
          <p:cNvPr id="107" name="Checkered_Flag" descr="{&quot;Key&quot;:&quot;POWER_USER_SHAPE_ICON&quot;,&quot;Value&quot;:&quot;POWER_USER_SHAPE_ICON_STYLE_1&quot;}">
            <a:extLst>
              <a:ext uri="{FF2B5EF4-FFF2-40B4-BE49-F238E27FC236}">
                <a16:creationId xmlns:a16="http://schemas.microsoft.com/office/drawing/2014/main" id="{84D9DCD7-02D1-4D13-ADAA-3988D01A37FF}"/>
              </a:ext>
            </a:extLst>
          </p:cNvPr>
          <p:cNvGrpSpPr>
            <a:grpSpLocks noChangeAspect="1"/>
          </p:cNvGrpSpPr>
          <p:nvPr>
            <p:custDataLst>
              <p:tags r:id="rId1"/>
            </p:custDataLst>
          </p:nvPr>
        </p:nvGrpSpPr>
        <p:grpSpPr bwMode="auto">
          <a:xfrm>
            <a:off x="6213567" y="5368048"/>
            <a:ext cx="494748" cy="307575"/>
            <a:chOff x="14" y="61"/>
            <a:chExt cx="452" cy="281"/>
          </a:xfrm>
          <a:solidFill>
            <a:schemeClr val="accent2"/>
          </a:solidFill>
        </p:grpSpPr>
        <p:sp>
          <p:nvSpPr>
            <p:cNvPr id="108" name="Checkered_Flag2">
              <a:extLst>
                <a:ext uri="{FF2B5EF4-FFF2-40B4-BE49-F238E27FC236}">
                  <a16:creationId xmlns:a16="http://schemas.microsoft.com/office/drawing/2014/main" id="{8E916C1F-126E-4FF0-9E54-092329F4BF7C}"/>
                </a:ext>
              </a:extLst>
            </p:cNvPr>
            <p:cNvSpPr>
              <a:spLocks noEditPoints="1"/>
            </p:cNvSpPr>
            <p:nvPr>
              <p:custDataLst>
                <p:tags r:id="rId47"/>
              </p:custDataLst>
            </p:nvPr>
          </p:nvSpPr>
          <p:spPr bwMode="auto">
            <a:xfrm>
              <a:off x="249" y="70"/>
              <a:ext cx="217" cy="181"/>
            </a:xfrm>
            <a:custGeom>
              <a:avLst/>
              <a:gdLst>
                <a:gd name="T0" fmla="*/ 470 w 470"/>
                <a:gd name="T1" fmla="*/ 161 h 392"/>
                <a:gd name="T2" fmla="*/ 469 w 470"/>
                <a:gd name="T3" fmla="*/ 160 h 392"/>
                <a:gd name="T4" fmla="*/ 102 w 470"/>
                <a:gd name="T5" fmla="*/ 0 h 392"/>
                <a:gd name="T6" fmla="*/ 101 w 470"/>
                <a:gd name="T7" fmla="*/ 0 h 392"/>
                <a:gd name="T8" fmla="*/ 100 w 470"/>
                <a:gd name="T9" fmla="*/ 1 h 392"/>
                <a:gd name="T10" fmla="*/ 1 w 470"/>
                <a:gd name="T11" fmla="*/ 229 h 392"/>
                <a:gd name="T12" fmla="*/ 0 w 470"/>
                <a:gd name="T13" fmla="*/ 230 h 392"/>
                <a:gd name="T14" fmla="*/ 1 w 470"/>
                <a:gd name="T15" fmla="*/ 231 h 392"/>
                <a:gd name="T16" fmla="*/ 369 w 470"/>
                <a:gd name="T17" fmla="*/ 391 h 392"/>
                <a:gd name="T18" fmla="*/ 370 w 470"/>
                <a:gd name="T19" fmla="*/ 392 h 392"/>
                <a:gd name="T20" fmla="*/ 371 w 470"/>
                <a:gd name="T21" fmla="*/ 390 h 392"/>
                <a:gd name="T22" fmla="*/ 470 w 470"/>
                <a:gd name="T23" fmla="*/ 162 h 392"/>
                <a:gd name="T24" fmla="*/ 470 w 470"/>
                <a:gd name="T25" fmla="*/ 161 h 392"/>
                <a:gd name="T26" fmla="*/ 467 w 470"/>
                <a:gd name="T27" fmla="*/ 162 h 392"/>
                <a:gd name="T28" fmla="*/ 369 w 470"/>
                <a:gd name="T29" fmla="*/ 388 h 392"/>
                <a:gd name="T30" fmla="*/ 4 w 470"/>
                <a:gd name="T31" fmla="*/ 229 h 392"/>
                <a:gd name="T32" fmla="*/ 102 w 470"/>
                <a:gd name="T33" fmla="*/ 3 h 392"/>
                <a:gd name="T34" fmla="*/ 467 w 470"/>
                <a:gd name="T35" fmla="*/ 1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392">
                  <a:moveTo>
                    <a:pt x="470" y="161"/>
                  </a:moveTo>
                  <a:lnTo>
                    <a:pt x="469" y="160"/>
                  </a:lnTo>
                  <a:lnTo>
                    <a:pt x="102" y="0"/>
                  </a:lnTo>
                  <a:lnTo>
                    <a:pt x="101" y="0"/>
                  </a:lnTo>
                  <a:lnTo>
                    <a:pt x="100" y="1"/>
                  </a:lnTo>
                  <a:lnTo>
                    <a:pt x="1" y="229"/>
                  </a:lnTo>
                  <a:lnTo>
                    <a:pt x="0" y="230"/>
                  </a:lnTo>
                  <a:lnTo>
                    <a:pt x="1" y="231"/>
                  </a:lnTo>
                  <a:lnTo>
                    <a:pt x="369" y="391"/>
                  </a:lnTo>
                  <a:lnTo>
                    <a:pt x="370" y="392"/>
                  </a:lnTo>
                  <a:lnTo>
                    <a:pt x="371" y="390"/>
                  </a:lnTo>
                  <a:lnTo>
                    <a:pt x="470" y="162"/>
                  </a:lnTo>
                  <a:lnTo>
                    <a:pt x="470" y="161"/>
                  </a:lnTo>
                  <a:close/>
                  <a:moveTo>
                    <a:pt x="467" y="162"/>
                  </a:moveTo>
                  <a:lnTo>
                    <a:pt x="369" y="388"/>
                  </a:lnTo>
                  <a:lnTo>
                    <a:pt x="4" y="229"/>
                  </a:lnTo>
                  <a:lnTo>
                    <a:pt x="102" y="3"/>
                  </a:lnTo>
                  <a:lnTo>
                    <a:pt x="467" y="16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Checkered_Flag2">
              <a:extLst>
                <a:ext uri="{FF2B5EF4-FFF2-40B4-BE49-F238E27FC236}">
                  <a16:creationId xmlns:a16="http://schemas.microsoft.com/office/drawing/2014/main" id="{031DDB66-D265-4D38-B1BF-06F5F58EB20C}"/>
                </a:ext>
              </a:extLst>
            </p:cNvPr>
            <p:cNvSpPr>
              <a:spLocks/>
            </p:cNvSpPr>
            <p:nvPr>
              <p:custDataLst>
                <p:tags r:id="rId48"/>
              </p:custDataLst>
            </p:nvPr>
          </p:nvSpPr>
          <p:spPr bwMode="auto">
            <a:xfrm>
              <a:off x="435" y="135"/>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Checkered_Flag2">
              <a:extLst>
                <a:ext uri="{FF2B5EF4-FFF2-40B4-BE49-F238E27FC236}">
                  <a16:creationId xmlns:a16="http://schemas.microsoft.com/office/drawing/2014/main" id="{B6741CF5-450E-4C60-ACEA-0466BEB9EB38}"/>
                </a:ext>
              </a:extLst>
            </p:cNvPr>
            <p:cNvSpPr>
              <a:spLocks/>
            </p:cNvSpPr>
            <p:nvPr>
              <p:custDataLst>
                <p:tags r:id="rId49"/>
              </p:custDataLst>
            </p:nvPr>
          </p:nvSpPr>
          <p:spPr bwMode="auto">
            <a:xfrm>
              <a:off x="393" y="116"/>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Checkered_Flag2">
              <a:extLst>
                <a:ext uri="{FF2B5EF4-FFF2-40B4-BE49-F238E27FC236}">
                  <a16:creationId xmlns:a16="http://schemas.microsoft.com/office/drawing/2014/main" id="{F1D20483-4C53-439F-AE03-D3F817122448}"/>
                </a:ext>
              </a:extLst>
            </p:cNvPr>
            <p:cNvSpPr>
              <a:spLocks/>
            </p:cNvSpPr>
            <p:nvPr>
              <p:custDataLst>
                <p:tags r:id="rId50"/>
              </p:custDataLst>
            </p:nvPr>
          </p:nvSpPr>
          <p:spPr bwMode="auto">
            <a:xfrm>
              <a:off x="350" y="98"/>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Checkered_Flag2">
              <a:extLst>
                <a:ext uri="{FF2B5EF4-FFF2-40B4-BE49-F238E27FC236}">
                  <a16:creationId xmlns:a16="http://schemas.microsoft.com/office/drawing/2014/main" id="{0B91BD7E-9D17-47CD-8818-929C9FE7015C}"/>
                </a:ext>
              </a:extLst>
            </p:cNvPr>
            <p:cNvSpPr>
              <a:spLocks/>
            </p:cNvSpPr>
            <p:nvPr>
              <p:custDataLst>
                <p:tags r:id="rId51"/>
              </p:custDataLst>
            </p:nvPr>
          </p:nvSpPr>
          <p:spPr bwMode="auto">
            <a:xfrm>
              <a:off x="308" y="79"/>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Checkered_Flag2">
              <a:extLst>
                <a:ext uri="{FF2B5EF4-FFF2-40B4-BE49-F238E27FC236}">
                  <a16:creationId xmlns:a16="http://schemas.microsoft.com/office/drawing/2014/main" id="{E1B8C1DB-CA7F-446A-B4B4-2EC7D57B019D}"/>
                </a:ext>
              </a:extLst>
            </p:cNvPr>
            <p:cNvSpPr>
              <a:spLocks/>
            </p:cNvSpPr>
            <p:nvPr>
              <p:custDataLst>
                <p:tags r:id="rId52"/>
              </p:custDataLst>
            </p:nvPr>
          </p:nvSpPr>
          <p:spPr bwMode="auto">
            <a:xfrm>
              <a:off x="320" y="110"/>
              <a:ext cx="30" cy="30"/>
            </a:xfrm>
            <a:custGeom>
              <a:avLst/>
              <a:gdLst>
                <a:gd name="T0" fmla="*/ 65 w 65"/>
                <a:gd name="T1" fmla="*/ 20 h 66"/>
                <a:gd name="T2" fmla="*/ 46 w 65"/>
                <a:gd name="T3" fmla="*/ 66 h 66"/>
                <a:gd name="T4" fmla="*/ 0 w 65"/>
                <a:gd name="T5" fmla="*/ 46 h 66"/>
                <a:gd name="T6" fmla="*/ 20 w 65"/>
                <a:gd name="T7" fmla="*/ 0 h 66"/>
                <a:gd name="T8" fmla="*/ 65 w 65"/>
                <a:gd name="T9" fmla="*/ 20 h 66"/>
              </a:gdLst>
              <a:ahLst/>
              <a:cxnLst>
                <a:cxn ang="0">
                  <a:pos x="T0" y="T1"/>
                </a:cxn>
                <a:cxn ang="0">
                  <a:pos x="T2" y="T3"/>
                </a:cxn>
                <a:cxn ang="0">
                  <a:pos x="T4" y="T5"/>
                </a:cxn>
                <a:cxn ang="0">
                  <a:pos x="T6" y="T7"/>
                </a:cxn>
                <a:cxn ang="0">
                  <a:pos x="T8" y="T9"/>
                </a:cxn>
              </a:cxnLst>
              <a:rect l="0" t="0" r="r" b="b"/>
              <a:pathLst>
                <a:path w="65" h="66">
                  <a:moveTo>
                    <a:pt x="65" y="20"/>
                  </a:moveTo>
                  <a:lnTo>
                    <a:pt x="46" y="66"/>
                  </a:lnTo>
                  <a:lnTo>
                    <a:pt x="0" y="46"/>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Checkered_Flag2">
              <a:extLst>
                <a:ext uri="{FF2B5EF4-FFF2-40B4-BE49-F238E27FC236}">
                  <a16:creationId xmlns:a16="http://schemas.microsoft.com/office/drawing/2014/main" id="{43825455-6717-4832-BFA8-FA92311D3535}"/>
                </a:ext>
              </a:extLst>
            </p:cNvPr>
            <p:cNvSpPr>
              <a:spLocks/>
            </p:cNvSpPr>
            <p:nvPr>
              <p:custDataLst>
                <p:tags r:id="rId53"/>
              </p:custDataLst>
            </p:nvPr>
          </p:nvSpPr>
          <p:spPr bwMode="auto">
            <a:xfrm>
              <a:off x="362" y="128"/>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Checkered_Flag2">
              <a:extLst>
                <a:ext uri="{FF2B5EF4-FFF2-40B4-BE49-F238E27FC236}">
                  <a16:creationId xmlns:a16="http://schemas.microsoft.com/office/drawing/2014/main" id="{90BA1CA6-7E78-4B2E-9343-5D342BCC1D14}"/>
                </a:ext>
              </a:extLst>
            </p:cNvPr>
            <p:cNvSpPr>
              <a:spLocks/>
            </p:cNvSpPr>
            <p:nvPr>
              <p:custDataLst>
                <p:tags r:id="rId54"/>
              </p:custDataLst>
            </p:nvPr>
          </p:nvSpPr>
          <p:spPr bwMode="auto">
            <a:xfrm>
              <a:off x="405" y="147"/>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Checkered_Flag2">
              <a:extLst>
                <a:ext uri="{FF2B5EF4-FFF2-40B4-BE49-F238E27FC236}">
                  <a16:creationId xmlns:a16="http://schemas.microsoft.com/office/drawing/2014/main" id="{76B37988-1965-4369-9C00-B0319DF1C87F}"/>
                </a:ext>
              </a:extLst>
            </p:cNvPr>
            <p:cNvSpPr>
              <a:spLocks/>
            </p:cNvSpPr>
            <p:nvPr>
              <p:custDataLst>
                <p:tags r:id="rId55"/>
              </p:custDataLst>
            </p:nvPr>
          </p:nvSpPr>
          <p:spPr bwMode="auto">
            <a:xfrm>
              <a:off x="278" y="91"/>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Checkered_Flag2">
              <a:extLst>
                <a:ext uri="{FF2B5EF4-FFF2-40B4-BE49-F238E27FC236}">
                  <a16:creationId xmlns:a16="http://schemas.microsoft.com/office/drawing/2014/main" id="{E781E22C-EF9C-4F3A-9882-347CC8EA8ACC}"/>
                </a:ext>
              </a:extLst>
            </p:cNvPr>
            <p:cNvSpPr>
              <a:spLocks/>
            </p:cNvSpPr>
            <p:nvPr>
              <p:custDataLst>
                <p:tags r:id="rId56"/>
              </p:custDataLst>
            </p:nvPr>
          </p:nvSpPr>
          <p:spPr bwMode="auto">
            <a:xfrm>
              <a:off x="416" y="177"/>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Checkered_Flag2">
              <a:extLst>
                <a:ext uri="{FF2B5EF4-FFF2-40B4-BE49-F238E27FC236}">
                  <a16:creationId xmlns:a16="http://schemas.microsoft.com/office/drawing/2014/main" id="{7AF97479-257B-4259-BD3F-5334E4AA8AB3}"/>
                </a:ext>
              </a:extLst>
            </p:cNvPr>
            <p:cNvSpPr>
              <a:spLocks/>
            </p:cNvSpPr>
            <p:nvPr>
              <p:custDataLst>
                <p:tags r:id="rId57"/>
              </p:custDataLst>
            </p:nvPr>
          </p:nvSpPr>
          <p:spPr bwMode="auto">
            <a:xfrm>
              <a:off x="374" y="159"/>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Checkered_Flag2">
              <a:extLst>
                <a:ext uri="{FF2B5EF4-FFF2-40B4-BE49-F238E27FC236}">
                  <a16:creationId xmlns:a16="http://schemas.microsoft.com/office/drawing/2014/main" id="{2A4A4522-3FCD-42C0-8FC0-F1C7FC2B0FC5}"/>
                </a:ext>
              </a:extLst>
            </p:cNvPr>
            <p:cNvSpPr>
              <a:spLocks/>
            </p:cNvSpPr>
            <p:nvPr>
              <p:custDataLst>
                <p:tags r:id="rId58"/>
              </p:custDataLst>
            </p:nvPr>
          </p:nvSpPr>
          <p:spPr bwMode="auto">
            <a:xfrm>
              <a:off x="332" y="140"/>
              <a:ext cx="30" cy="31"/>
            </a:xfrm>
            <a:custGeom>
              <a:avLst/>
              <a:gdLst>
                <a:gd name="T0" fmla="*/ 65 w 65"/>
                <a:gd name="T1" fmla="*/ 20 h 66"/>
                <a:gd name="T2" fmla="*/ 45 w 65"/>
                <a:gd name="T3" fmla="*/ 66 h 66"/>
                <a:gd name="T4" fmla="*/ 0 w 65"/>
                <a:gd name="T5" fmla="*/ 46 h 66"/>
                <a:gd name="T6" fmla="*/ 20 w 65"/>
                <a:gd name="T7" fmla="*/ 0 h 66"/>
                <a:gd name="T8" fmla="*/ 65 w 65"/>
                <a:gd name="T9" fmla="*/ 20 h 66"/>
              </a:gdLst>
              <a:ahLst/>
              <a:cxnLst>
                <a:cxn ang="0">
                  <a:pos x="T0" y="T1"/>
                </a:cxn>
                <a:cxn ang="0">
                  <a:pos x="T2" y="T3"/>
                </a:cxn>
                <a:cxn ang="0">
                  <a:pos x="T4" y="T5"/>
                </a:cxn>
                <a:cxn ang="0">
                  <a:pos x="T6" y="T7"/>
                </a:cxn>
                <a:cxn ang="0">
                  <a:pos x="T8" y="T9"/>
                </a:cxn>
              </a:cxnLst>
              <a:rect l="0" t="0" r="r" b="b"/>
              <a:pathLst>
                <a:path w="65" h="66">
                  <a:moveTo>
                    <a:pt x="65" y="20"/>
                  </a:moveTo>
                  <a:lnTo>
                    <a:pt x="45" y="66"/>
                  </a:lnTo>
                  <a:lnTo>
                    <a:pt x="0" y="46"/>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Checkered_Flag2">
              <a:extLst>
                <a:ext uri="{FF2B5EF4-FFF2-40B4-BE49-F238E27FC236}">
                  <a16:creationId xmlns:a16="http://schemas.microsoft.com/office/drawing/2014/main" id="{F55608FB-F148-4907-8B99-278C405227D7}"/>
                </a:ext>
              </a:extLst>
            </p:cNvPr>
            <p:cNvSpPr>
              <a:spLocks/>
            </p:cNvSpPr>
            <p:nvPr>
              <p:custDataLst>
                <p:tags r:id="rId59"/>
              </p:custDataLst>
            </p:nvPr>
          </p:nvSpPr>
          <p:spPr bwMode="auto">
            <a:xfrm>
              <a:off x="290" y="122"/>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Checkered_Flag2">
              <a:extLst>
                <a:ext uri="{FF2B5EF4-FFF2-40B4-BE49-F238E27FC236}">
                  <a16:creationId xmlns:a16="http://schemas.microsoft.com/office/drawing/2014/main" id="{3B6AC9ED-E08A-40A8-B4AE-D34B187A4122}"/>
                </a:ext>
              </a:extLst>
            </p:cNvPr>
            <p:cNvSpPr>
              <a:spLocks/>
            </p:cNvSpPr>
            <p:nvPr>
              <p:custDataLst>
                <p:tags r:id="rId60"/>
              </p:custDataLst>
            </p:nvPr>
          </p:nvSpPr>
          <p:spPr bwMode="auto">
            <a:xfrm>
              <a:off x="302" y="152"/>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Checkered_Flag2">
              <a:extLst>
                <a:ext uri="{FF2B5EF4-FFF2-40B4-BE49-F238E27FC236}">
                  <a16:creationId xmlns:a16="http://schemas.microsoft.com/office/drawing/2014/main" id="{027C20DD-D753-473D-9607-04883F7B43CB}"/>
                </a:ext>
              </a:extLst>
            </p:cNvPr>
            <p:cNvSpPr>
              <a:spLocks/>
            </p:cNvSpPr>
            <p:nvPr>
              <p:custDataLst>
                <p:tags r:id="rId61"/>
              </p:custDataLst>
            </p:nvPr>
          </p:nvSpPr>
          <p:spPr bwMode="auto">
            <a:xfrm>
              <a:off x="344" y="171"/>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Checkered_Flag2">
              <a:extLst>
                <a:ext uri="{FF2B5EF4-FFF2-40B4-BE49-F238E27FC236}">
                  <a16:creationId xmlns:a16="http://schemas.microsoft.com/office/drawing/2014/main" id="{178CD1FB-B696-4C8A-B7FB-CD14FDAFBA5C}"/>
                </a:ext>
              </a:extLst>
            </p:cNvPr>
            <p:cNvSpPr>
              <a:spLocks/>
            </p:cNvSpPr>
            <p:nvPr>
              <p:custDataLst>
                <p:tags r:id="rId62"/>
              </p:custDataLst>
            </p:nvPr>
          </p:nvSpPr>
          <p:spPr bwMode="auto">
            <a:xfrm>
              <a:off x="386" y="189"/>
              <a:ext cx="30" cy="30"/>
            </a:xfrm>
            <a:custGeom>
              <a:avLst/>
              <a:gdLst>
                <a:gd name="T0" fmla="*/ 66 w 66"/>
                <a:gd name="T1" fmla="*/ 20 h 65"/>
                <a:gd name="T2" fmla="*/ 46 w 66"/>
                <a:gd name="T3" fmla="*/ 65 h 65"/>
                <a:gd name="T4" fmla="*/ 0 w 66"/>
                <a:gd name="T5" fmla="*/ 46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Checkered_Flag2">
              <a:extLst>
                <a:ext uri="{FF2B5EF4-FFF2-40B4-BE49-F238E27FC236}">
                  <a16:creationId xmlns:a16="http://schemas.microsoft.com/office/drawing/2014/main" id="{E904C1E3-A6A5-4BC8-BCDE-F21CC19A01CB}"/>
                </a:ext>
              </a:extLst>
            </p:cNvPr>
            <p:cNvSpPr>
              <a:spLocks/>
            </p:cNvSpPr>
            <p:nvPr>
              <p:custDataLst>
                <p:tags r:id="rId63"/>
              </p:custDataLst>
            </p:nvPr>
          </p:nvSpPr>
          <p:spPr bwMode="auto">
            <a:xfrm>
              <a:off x="259" y="134"/>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Checkered_Flag2">
              <a:extLst>
                <a:ext uri="{FF2B5EF4-FFF2-40B4-BE49-F238E27FC236}">
                  <a16:creationId xmlns:a16="http://schemas.microsoft.com/office/drawing/2014/main" id="{AE32114F-246A-4CAC-9EA9-C0EAC5390FD4}"/>
                </a:ext>
              </a:extLst>
            </p:cNvPr>
            <p:cNvSpPr>
              <a:spLocks/>
            </p:cNvSpPr>
            <p:nvPr>
              <p:custDataLst>
                <p:tags r:id="rId64"/>
              </p:custDataLst>
            </p:nvPr>
          </p:nvSpPr>
          <p:spPr bwMode="auto">
            <a:xfrm>
              <a:off x="398" y="219"/>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Checkered_Flag2">
              <a:extLst>
                <a:ext uri="{FF2B5EF4-FFF2-40B4-BE49-F238E27FC236}">
                  <a16:creationId xmlns:a16="http://schemas.microsoft.com/office/drawing/2014/main" id="{0F1DBDB8-AE89-4D5A-B3FB-2EC183CFD498}"/>
                </a:ext>
              </a:extLst>
            </p:cNvPr>
            <p:cNvSpPr>
              <a:spLocks/>
            </p:cNvSpPr>
            <p:nvPr>
              <p:custDataLst>
                <p:tags r:id="rId65"/>
              </p:custDataLst>
            </p:nvPr>
          </p:nvSpPr>
          <p:spPr bwMode="auto">
            <a:xfrm>
              <a:off x="356" y="201"/>
              <a:ext cx="30" cy="30"/>
            </a:xfrm>
            <a:custGeom>
              <a:avLst/>
              <a:gdLst>
                <a:gd name="T0" fmla="*/ 66 w 66"/>
                <a:gd name="T1" fmla="*/ 20 h 65"/>
                <a:gd name="T2" fmla="*/ 46 w 66"/>
                <a:gd name="T3" fmla="*/ 65 h 65"/>
                <a:gd name="T4" fmla="*/ 0 w 66"/>
                <a:gd name="T5" fmla="*/ 45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5"/>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Checkered_Flag2">
              <a:extLst>
                <a:ext uri="{FF2B5EF4-FFF2-40B4-BE49-F238E27FC236}">
                  <a16:creationId xmlns:a16="http://schemas.microsoft.com/office/drawing/2014/main" id="{874235D9-6881-4D43-AC57-506E977A1105}"/>
                </a:ext>
              </a:extLst>
            </p:cNvPr>
            <p:cNvSpPr>
              <a:spLocks/>
            </p:cNvSpPr>
            <p:nvPr>
              <p:custDataLst>
                <p:tags r:id="rId66"/>
              </p:custDataLst>
            </p:nvPr>
          </p:nvSpPr>
          <p:spPr bwMode="auto">
            <a:xfrm>
              <a:off x="314" y="183"/>
              <a:ext cx="30" cy="30"/>
            </a:xfrm>
            <a:custGeom>
              <a:avLst/>
              <a:gdLst>
                <a:gd name="T0" fmla="*/ 65 w 65"/>
                <a:gd name="T1" fmla="*/ 20 h 65"/>
                <a:gd name="T2" fmla="*/ 45 w 65"/>
                <a:gd name="T3" fmla="*/ 65 h 65"/>
                <a:gd name="T4" fmla="*/ 0 w 65"/>
                <a:gd name="T5" fmla="*/ 45 h 65"/>
                <a:gd name="T6" fmla="*/ 20 w 65"/>
                <a:gd name="T7" fmla="*/ 0 h 65"/>
                <a:gd name="T8" fmla="*/ 65 w 65"/>
                <a:gd name="T9" fmla="*/ 20 h 65"/>
              </a:gdLst>
              <a:ahLst/>
              <a:cxnLst>
                <a:cxn ang="0">
                  <a:pos x="T0" y="T1"/>
                </a:cxn>
                <a:cxn ang="0">
                  <a:pos x="T2" y="T3"/>
                </a:cxn>
                <a:cxn ang="0">
                  <a:pos x="T4" y="T5"/>
                </a:cxn>
                <a:cxn ang="0">
                  <a:pos x="T6" y="T7"/>
                </a:cxn>
                <a:cxn ang="0">
                  <a:pos x="T8" y="T9"/>
                </a:cxn>
              </a:cxnLst>
              <a:rect l="0" t="0" r="r" b="b"/>
              <a:pathLst>
                <a:path w="65" h="65">
                  <a:moveTo>
                    <a:pt x="65" y="20"/>
                  </a:moveTo>
                  <a:lnTo>
                    <a:pt x="45" y="65"/>
                  </a:lnTo>
                  <a:lnTo>
                    <a:pt x="0" y="45"/>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Checkered_Flag2">
              <a:extLst>
                <a:ext uri="{FF2B5EF4-FFF2-40B4-BE49-F238E27FC236}">
                  <a16:creationId xmlns:a16="http://schemas.microsoft.com/office/drawing/2014/main" id="{F709994E-022E-41DB-A41E-3664C1FC8A42}"/>
                </a:ext>
              </a:extLst>
            </p:cNvPr>
            <p:cNvSpPr>
              <a:spLocks/>
            </p:cNvSpPr>
            <p:nvPr>
              <p:custDataLst>
                <p:tags r:id="rId67"/>
              </p:custDataLst>
            </p:nvPr>
          </p:nvSpPr>
          <p:spPr bwMode="auto">
            <a:xfrm>
              <a:off x="271" y="164"/>
              <a:ext cx="31" cy="30"/>
            </a:xfrm>
            <a:custGeom>
              <a:avLst/>
              <a:gdLst>
                <a:gd name="T0" fmla="*/ 66 w 66"/>
                <a:gd name="T1" fmla="*/ 20 h 65"/>
                <a:gd name="T2" fmla="*/ 46 w 66"/>
                <a:gd name="T3" fmla="*/ 65 h 65"/>
                <a:gd name="T4" fmla="*/ 0 w 66"/>
                <a:gd name="T5" fmla="*/ 45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5"/>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Checkered_Flag2">
              <a:extLst>
                <a:ext uri="{FF2B5EF4-FFF2-40B4-BE49-F238E27FC236}">
                  <a16:creationId xmlns:a16="http://schemas.microsoft.com/office/drawing/2014/main" id="{5E5A30C5-04CD-48B0-B90E-36FB955A3A04}"/>
                </a:ext>
              </a:extLst>
            </p:cNvPr>
            <p:cNvSpPr>
              <a:spLocks noEditPoints="1"/>
            </p:cNvSpPr>
            <p:nvPr>
              <p:custDataLst>
                <p:tags r:id="rId68"/>
              </p:custDataLst>
            </p:nvPr>
          </p:nvSpPr>
          <p:spPr bwMode="auto">
            <a:xfrm>
              <a:off x="14" y="70"/>
              <a:ext cx="217" cy="181"/>
            </a:xfrm>
            <a:custGeom>
              <a:avLst/>
              <a:gdLst>
                <a:gd name="T0" fmla="*/ 0 w 471"/>
                <a:gd name="T1" fmla="*/ 161 h 392"/>
                <a:gd name="T2" fmla="*/ 1 w 471"/>
                <a:gd name="T3" fmla="*/ 160 h 392"/>
                <a:gd name="T4" fmla="*/ 369 w 471"/>
                <a:gd name="T5" fmla="*/ 0 h 392"/>
                <a:gd name="T6" fmla="*/ 370 w 471"/>
                <a:gd name="T7" fmla="*/ 0 h 392"/>
                <a:gd name="T8" fmla="*/ 371 w 471"/>
                <a:gd name="T9" fmla="*/ 1 h 392"/>
                <a:gd name="T10" fmla="*/ 470 w 471"/>
                <a:gd name="T11" fmla="*/ 229 h 392"/>
                <a:gd name="T12" fmla="*/ 471 w 471"/>
                <a:gd name="T13" fmla="*/ 230 h 392"/>
                <a:gd name="T14" fmla="*/ 469 w 471"/>
                <a:gd name="T15" fmla="*/ 231 h 392"/>
                <a:gd name="T16" fmla="*/ 102 w 471"/>
                <a:gd name="T17" fmla="*/ 391 h 392"/>
                <a:gd name="T18" fmla="*/ 101 w 471"/>
                <a:gd name="T19" fmla="*/ 392 h 392"/>
                <a:gd name="T20" fmla="*/ 100 w 471"/>
                <a:gd name="T21" fmla="*/ 390 h 392"/>
                <a:gd name="T22" fmla="*/ 1 w 471"/>
                <a:gd name="T23" fmla="*/ 162 h 392"/>
                <a:gd name="T24" fmla="*/ 0 w 471"/>
                <a:gd name="T25" fmla="*/ 161 h 392"/>
                <a:gd name="T26" fmla="*/ 4 w 471"/>
                <a:gd name="T27" fmla="*/ 162 h 392"/>
                <a:gd name="T28" fmla="*/ 102 w 471"/>
                <a:gd name="T29" fmla="*/ 388 h 392"/>
                <a:gd name="T30" fmla="*/ 467 w 471"/>
                <a:gd name="T31" fmla="*/ 229 h 392"/>
                <a:gd name="T32" fmla="*/ 369 w 471"/>
                <a:gd name="T33" fmla="*/ 3 h 392"/>
                <a:gd name="T34" fmla="*/ 4 w 471"/>
                <a:gd name="T35" fmla="*/ 1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392">
                  <a:moveTo>
                    <a:pt x="0" y="161"/>
                  </a:moveTo>
                  <a:lnTo>
                    <a:pt x="1" y="160"/>
                  </a:lnTo>
                  <a:lnTo>
                    <a:pt x="369" y="0"/>
                  </a:lnTo>
                  <a:lnTo>
                    <a:pt x="370" y="0"/>
                  </a:lnTo>
                  <a:lnTo>
                    <a:pt x="371" y="1"/>
                  </a:lnTo>
                  <a:lnTo>
                    <a:pt x="470" y="229"/>
                  </a:lnTo>
                  <a:lnTo>
                    <a:pt x="471" y="230"/>
                  </a:lnTo>
                  <a:lnTo>
                    <a:pt x="469" y="231"/>
                  </a:lnTo>
                  <a:lnTo>
                    <a:pt x="102" y="391"/>
                  </a:lnTo>
                  <a:lnTo>
                    <a:pt x="101" y="392"/>
                  </a:lnTo>
                  <a:lnTo>
                    <a:pt x="100" y="390"/>
                  </a:lnTo>
                  <a:lnTo>
                    <a:pt x="1" y="162"/>
                  </a:lnTo>
                  <a:lnTo>
                    <a:pt x="0" y="161"/>
                  </a:lnTo>
                  <a:close/>
                  <a:moveTo>
                    <a:pt x="4" y="162"/>
                  </a:moveTo>
                  <a:lnTo>
                    <a:pt x="102" y="388"/>
                  </a:lnTo>
                  <a:lnTo>
                    <a:pt x="467" y="229"/>
                  </a:lnTo>
                  <a:lnTo>
                    <a:pt x="369" y="3"/>
                  </a:lnTo>
                  <a:lnTo>
                    <a:pt x="4" y="16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Checkered_Flag2">
              <a:extLst>
                <a:ext uri="{FF2B5EF4-FFF2-40B4-BE49-F238E27FC236}">
                  <a16:creationId xmlns:a16="http://schemas.microsoft.com/office/drawing/2014/main" id="{EEC0B11C-68F7-46C9-9C9A-7383418C597A}"/>
                </a:ext>
              </a:extLst>
            </p:cNvPr>
            <p:cNvSpPr>
              <a:spLocks/>
            </p:cNvSpPr>
            <p:nvPr>
              <p:custDataLst>
                <p:tags r:id="rId69"/>
              </p:custDataLst>
            </p:nvPr>
          </p:nvSpPr>
          <p:spPr bwMode="auto">
            <a:xfrm>
              <a:off x="14" y="135"/>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Checkered_Flag2">
              <a:extLst>
                <a:ext uri="{FF2B5EF4-FFF2-40B4-BE49-F238E27FC236}">
                  <a16:creationId xmlns:a16="http://schemas.microsoft.com/office/drawing/2014/main" id="{DDE12959-E3BC-488F-9696-4AFBBE21E973}"/>
                </a:ext>
              </a:extLst>
            </p:cNvPr>
            <p:cNvSpPr>
              <a:spLocks/>
            </p:cNvSpPr>
            <p:nvPr>
              <p:custDataLst>
                <p:tags r:id="rId70"/>
              </p:custDataLst>
            </p:nvPr>
          </p:nvSpPr>
          <p:spPr bwMode="auto">
            <a:xfrm>
              <a:off x="57" y="116"/>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Checkered_Flag2">
              <a:extLst>
                <a:ext uri="{FF2B5EF4-FFF2-40B4-BE49-F238E27FC236}">
                  <a16:creationId xmlns:a16="http://schemas.microsoft.com/office/drawing/2014/main" id="{AAD1E51B-C5BF-42A3-804D-C853125553C0}"/>
                </a:ext>
              </a:extLst>
            </p:cNvPr>
            <p:cNvSpPr>
              <a:spLocks/>
            </p:cNvSpPr>
            <p:nvPr>
              <p:custDataLst>
                <p:tags r:id="rId71"/>
              </p:custDataLst>
            </p:nvPr>
          </p:nvSpPr>
          <p:spPr bwMode="auto">
            <a:xfrm>
              <a:off x="99" y="98"/>
              <a:ext cx="30" cy="30"/>
            </a:xfrm>
            <a:custGeom>
              <a:avLst/>
              <a:gdLst>
                <a:gd name="T0" fmla="*/ 0 w 65"/>
                <a:gd name="T1" fmla="*/ 20 h 66"/>
                <a:gd name="T2" fmla="*/ 20 w 65"/>
                <a:gd name="T3" fmla="*/ 66 h 66"/>
                <a:gd name="T4" fmla="*/ 65 w 65"/>
                <a:gd name="T5" fmla="*/ 46 h 66"/>
                <a:gd name="T6" fmla="*/ 45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5"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Checkered_Flag2">
              <a:extLst>
                <a:ext uri="{FF2B5EF4-FFF2-40B4-BE49-F238E27FC236}">
                  <a16:creationId xmlns:a16="http://schemas.microsoft.com/office/drawing/2014/main" id="{A71CC66D-39C1-462C-91BF-DE312D61E1E7}"/>
                </a:ext>
              </a:extLst>
            </p:cNvPr>
            <p:cNvSpPr>
              <a:spLocks/>
            </p:cNvSpPr>
            <p:nvPr>
              <p:custDataLst>
                <p:tags r:id="rId72"/>
              </p:custDataLst>
            </p:nvPr>
          </p:nvSpPr>
          <p:spPr bwMode="auto">
            <a:xfrm>
              <a:off x="141" y="79"/>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Checkered_Flag2">
              <a:extLst>
                <a:ext uri="{FF2B5EF4-FFF2-40B4-BE49-F238E27FC236}">
                  <a16:creationId xmlns:a16="http://schemas.microsoft.com/office/drawing/2014/main" id="{A8784BD0-6208-4FFA-99BD-25AF05304083}"/>
                </a:ext>
              </a:extLst>
            </p:cNvPr>
            <p:cNvSpPr>
              <a:spLocks/>
            </p:cNvSpPr>
            <p:nvPr>
              <p:custDataLst>
                <p:tags r:id="rId73"/>
              </p:custDataLst>
            </p:nvPr>
          </p:nvSpPr>
          <p:spPr bwMode="auto">
            <a:xfrm>
              <a:off x="129" y="110"/>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Checkered_Flag2">
              <a:extLst>
                <a:ext uri="{FF2B5EF4-FFF2-40B4-BE49-F238E27FC236}">
                  <a16:creationId xmlns:a16="http://schemas.microsoft.com/office/drawing/2014/main" id="{DBE9324B-14FA-4341-BA1F-F43A97D3DFFC}"/>
                </a:ext>
              </a:extLst>
            </p:cNvPr>
            <p:cNvSpPr>
              <a:spLocks/>
            </p:cNvSpPr>
            <p:nvPr>
              <p:custDataLst>
                <p:tags r:id="rId74"/>
              </p:custDataLst>
            </p:nvPr>
          </p:nvSpPr>
          <p:spPr bwMode="auto">
            <a:xfrm>
              <a:off x="87" y="128"/>
              <a:ext cx="30" cy="31"/>
            </a:xfrm>
            <a:custGeom>
              <a:avLst/>
              <a:gdLst>
                <a:gd name="T0" fmla="*/ 0 w 65"/>
                <a:gd name="T1" fmla="*/ 20 h 66"/>
                <a:gd name="T2" fmla="*/ 20 w 65"/>
                <a:gd name="T3" fmla="*/ 66 h 66"/>
                <a:gd name="T4" fmla="*/ 65 w 65"/>
                <a:gd name="T5" fmla="*/ 46 h 66"/>
                <a:gd name="T6" fmla="*/ 46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Checkered_Flag2">
              <a:extLst>
                <a:ext uri="{FF2B5EF4-FFF2-40B4-BE49-F238E27FC236}">
                  <a16:creationId xmlns:a16="http://schemas.microsoft.com/office/drawing/2014/main" id="{3B99F8CA-C268-4D85-BD8C-61A1D80211C7}"/>
                </a:ext>
              </a:extLst>
            </p:cNvPr>
            <p:cNvSpPr>
              <a:spLocks/>
            </p:cNvSpPr>
            <p:nvPr>
              <p:custDataLst>
                <p:tags r:id="rId75"/>
              </p:custDataLst>
            </p:nvPr>
          </p:nvSpPr>
          <p:spPr bwMode="auto">
            <a:xfrm>
              <a:off x="45" y="147"/>
              <a:ext cx="30"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Checkered_Flag2">
              <a:extLst>
                <a:ext uri="{FF2B5EF4-FFF2-40B4-BE49-F238E27FC236}">
                  <a16:creationId xmlns:a16="http://schemas.microsoft.com/office/drawing/2014/main" id="{5EF47A17-075C-4FCD-9B1D-DB89195ED39F}"/>
                </a:ext>
              </a:extLst>
            </p:cNvPr>
            <p:cNvSpPr>
              <a:spLocks/>
            </p:cNvSpPr>
            <p:nvPr>
              <p:custDataLst>
                <p:tags r:id="rId76"/>
              </p:custDataLst>
            </p:nvPr>
          </p:nvSpPr>
          <p:spPr bwMode="auto">
            <a:xfrm>
              <a:off x="172" y="91"/>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Checkered_Flag2">
              <a:extLst>
                <a:ext uri="{FF2B5EF4-FFF2-40B4-BE49-F238E27FC236}">
                  <a16:creationId xmlns:a16="http://schemas.microsoft.com/office/drawing/2014/main" id="{6AD1D2A7-7660-40A0-BF1E-93F127744F0F}"/>
                </a:ext>
              </a:extLst>
            </p:cNvPr>
            <p:cNvSpPr>
              <a:spLocks/>
            </p:cNvSpPr>
            <p:nvPr>
              <p:custDataLst>
                <p:tags r:id="rId77"/>
              </p:custDataLst>
            </p:nvPr>
          </p:nvSpPr>
          <p:spPr bwMode="auto">
            <a:xfrm>
              <a:off x="33" y="177"/>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Checkered_Flag2">
              <a:extLst>
                <a:ext uri="{FF2B5EF4-FFF2-40B4-BE49-F238E27FC236}">
                  <a16:creationId xmlns:a16="http://schemas.microsoft.com/office/drawing/2014/main" id="{461A21CC-CE16-4623-9761-099F63DDFCE1}"/>
                </a:ext>
              </a:extLst>
            </p:cNvPr>
            <p:cNvSpPr>
              <a:spLocks/>
            </p:cNvSpPr>
            <p:nvPr>
              <p:custDataLst>
                <p:tags r:id="rId78"/>
              </p:custDataLst>
            </p:nvPr>
          </p:nvSpPr>
          <p:spPr bwMode="auto">
            <a:xfrm>
              <a:off x="75" y="159"/>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Checkered_Flag2">
              <a:extLst>
                <a:ext uri="{FF2B5EF4-FFF2-40B4-BE49-F238E27FC236}">
                  <a16:creationId xmlns:a16="http://schemas.microsoft.com/office/drawing/2014/main" id="{7AADDDC4-5751-4969-8CEE-41C461266346}"/>
                </a:ext>
              </a:extLst>
            </p:cNvPr>
            <p:cNvSpPr>
              <a:spLocks/>
            </p:cNvSpPr>
            <p:nvPr>
              <p:custDataLst>
                <p:tags r:id="rId79"/>
              </p:custDataLst>
            </p:nvPr>
          </p:nvSpPr>
          <p:spPr bwMode="auto">
            <a:xfrm>
              <a:off x="117" y="140"/>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Checkered_Flag2">
              <a:extLst>
                <a:ext uri="{FF2B5EF4-FFF2-40B4-BE49-F238E27FC236}">
                  <a16:creationId xmlns:a16="http://schemas.microsoft.com/office/drawing/2014/main" id="{06E4D43D-A4EB-44B4-9440-B243F7B29EE0}"/>
                </a:ext>
              </a:extLst>
            </p:cNvPr>
            <p:cNvSpPr>
              <a:spLocks/>
            </p:cNvSpPr>
            <p:nvPr>
              <p:custDataLst>
                <p:tags r:id="rId80"/>
              </p:custDataLst>
            </p:nvPr>
          </p:nvSpPr>
          <p:spPr bwMode="auto">
            <a:xfrm>
              <a:off x="160" y="122"/>
              <a:ext cx="30"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Checkered_Flag2">
              <a:extLst>
                <a:ext uri="{FF2B5EF4-FFF2-40B4-BE49-F238E27FC236}">
                  <a16:creationId xmlns:a16="http://schemas.microsoft.com/office/drawing/2014/main" id="{647EB615-85EF-4E1A-AE93-75C3058B2206}"/>
                </a:ext>
              </a:extLst>
            </p:cNvPr>
            <p:cNvSpPr>
              <a:spLocks/>
            </p:cNvSpPr>
            <p:nvPr>
              <p:custDataLst>
                <p:tags r:id="rId81"/>
              </p:custDataLst>
            </p:nvPr>
          </p:nvSpPr>
          <p:spPr bwMode="auto">
            <a:xfrm>
              <a:off x="148" y="152"/>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Checkered_Flag2">
              <a:extLst>
                <a:ext uri="{FF2B5EF4-FFF2-40B4-BE49-F238E27FC236}">
                  <a16:creationId xmlns:a16="http://schemas.microsoft.com/office/drawing/2014/main" id="{FADC3AAE-4BEE-4AFF-9E91-29E2036CECCA}"/>
                </a:ext>
              </a:extLst>
            </p:cNvPr>
            <p:cNvSpPr>
              <a:spLocks/>
            </p:cNvSpPr>
            <p:nvPr>
              <p:custDataLst>
                <p:tags r:id="rId82"/>
              </p:custDataLst>
            </p:nvPr>
          </p:nvSpPr>
          <p:spPr bwMode="auto">
            <a:xfrm>
              <a:off x="106" y="171"/>
              <a:ext cx="30" cy="30"/>
            </a:xfrm>
            <a:custGeom>
              <a:avLst/>
              <a:gdLst>
                <a:gd name="T0" fmla="*/ 0 w 65"/>
                <a:gd name="T1" fmla="*/ 20 h 66"/>
                <a:gd name="T2" fmla="*/ 20 w 65"/>
                <a:gd name="T3" fmla="*/ 66 h 66"/>
                <a:gd name="T4" fmla="*/ 65 w 65"/>
                <a:gd name="T5" fmla="*/ 46 h 66"/>
                <a:gd name="T6" fmla="*/ 45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5"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Checkered_Flag2">
              <a:extLst>
                <a:ext uri="{FF2B5EF4-FFF2-40B4-BE49-F238E27FC236}">
                  <a16:creationId xmlns:a16="http://schemas.microsoft.com/office/drawing/2014/main" id="{1BE16AAD-DFB9-48F7-8DAA-14B071A81C89}"/>
                </a:ext>
              </a:extLst>
            </p:cNvPr>
            <p:cNvSpPr>
              <a:spLocks/>
            </p:cNvSpPr>
            <p:nvPr>
              <p:custDataLst>
                <p:tags r:id="rId83"/>
              </p:custDataLst>
            </p:nvPr>
          </p:nvSpPr>
          <p:spPr bwMode="auto">
            <a:xfrm>
              <a:off x="63" y="189"/>
              <a:ext cx="31" cy="30"/>
            </a:xfrm>
            <a:custGeom>
              <a:avLst/>
              <a:gdLst>
                <a:gd name="T0" fmla="*/ 0 w 66"/>
                <a:gd name="T1" fmla="*/ 20 h 65"/>
                <a:gd name="T2" fmla="*/ 20 w 66"/>
                <a:gd name="T3" fmla="*/ 65 h 65"/>
                <a:gd name="T4" fmla="*/ 66 w 66"/>
                <a:gd name="T5" fmla="*/ 46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Checkered_Flag2">
              <a:extLst>
                <a:ext uri="{FF2B5EF4-FFF2-40B4-BE49-F238E27FC236}">
                  <a16:creationId xmlns:a16="http://schemas.microsoft.com/office/drawing/2014/main" id="{13A2195F-FC74-44C0-9A84-04AD4BEAF3AF}"/>
                </a:ext>
              </a:extLst>
            </p:cNvPr>
            <p:cNvSpPr>
              <a:spLocks/>
            </p:cNvSpPr>
            <p:nvPr>
              <p:custDataLst>
                <p:tags r:id="rId84"/>
              </p:custDataLst>
            </p:nvPr>
          </p:nvSpPr>
          <p:spPr bwMode="auto">
            <a:xfrm>
              <a:off x="190" y="134"/>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Checkered_Flag2">
              <a:extLst>
                <a:ext uri="{FF2B5EF4-FFF2-40B4-BE49-F238E27FC236}">
                  <a16:creationId xmlns:a16="http://schemas.microsoft.com/office/drawing/2014/main" id="{136EECBE-4635-42BA-99AB-27DF52812C4D}"/>
                </a:ext>
              </a:extLst>
            </p:cNvPr>
            <p:cNvSpPr>
              <a:spLocks/>
            </p:cNvSpPr>
            <p:nvPr>
              <p:custDataLst>
                <p:tags r:id="rId85"/>
              </p:custDataLst>
            </p:nvPr>
          </p:nvSpPr>
          <p:spPr bwMode="auto">
            <a:xfrm>
              <a:off x="51" y="219"/>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Checkered_Flag2">
              <a:extLst>
                <a:ext uri="{FF2B5EF4-FFF2-40B4-BE49-F238E27FC236}">
                  <a16:creationId xmlns:a16="http://schemas.microsoft.com/office/drawing/2014/main" id="{62BF934A-221D-4AE7-940B-31EE1093A95C}"/>
                </a:ext>
              </a:extLst>
            </p:cNvPr>
            <p:cNvSpPr>
              <a:spLocks/>
            </p:cNvSpPr>
            <p:nvPr>
              <p:custDataLst>
                <p:tags r:id="rId86"/>
              </p:custDataLst>
            </p:nvPr>
          </p:nvSpPr>
          <p:spPr bwMode="auto">
            <a:xfrm>
              <a:off x="94" y="201"/>
              <a:ext cx="30"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Checkered_Flag2">
              <a:extLst>
                <a:ext uri="{FF2B5EF4-FFF2-40B4-BE49-F238E27FC236}">
                  <a16:creationId xmlns:a16="http://schemas.microsoft.com/office/drawing/2014/main" id="{B02D6EF6-61D7-4511-8EFC-ADE12E3FA5CF}"/>
                </a:ext>
              </a:extLst>
            </p:cNvPr>
            <p:cNvSpPr>
              <a:spLocks/>
            </p:cNvSpPr>
            <p:nvPr>
              <p:custDataLst>
                <p:tags r:id="rId87"/>
              </p:custDataLst>
            </p:nvPr>
          </p:nvSpPr>
          <p:spPr bwMode="auto">
            <a:xfrm>
              <a:off x="136" y="183"/>
              <a:ext cx="30"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Checkered_Flag2">
              <a:extLst>
                <a:ext uri="{FF2B5EF4-FFF2-40B4-BE49-F238E27FC236}">
                  <a16:creationId xmlns:a16="http://schemas.microsoft.com/office/drawing/2014/main" id="{4A3DED31-79CE-4ACE-AB83-D8709126647C}"/>
                </a:ext>
              </a:extLst>
            </p:cNvPr>
            <p:cNvSpPr>
              <a:spLocks/>
            </p:cNvSpPr>
            <p:nvPr>
              <p:custDataLst>
                <p:tags r:id="rId88"/>
              </p:custDataLst>
            </p:nvPr>
          </p:nvSpPr>
          <p:spPr bwMode="auto">
            <a:xfrm>
              <a:off x="178" y="164"/>
              <a:ext cx="31"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Checkered_Flag2">
              <a:extLst>
                <a:ext uri="{FF2B5EF4-FFF2-40B4-BE49-F238E27FC236}">
                  <a16:creationId xmlns:a16="http://schemas.microsoft.com/office/drawing/2014/main" id="{08E56703-F5C1-46EE-A4E9-8BE86E550CF8}"/>
                </a:ext>
              </a:extLst>
            </p:cNvPr>
            <p:cNvSpPr>
              <a:spLocks/>
            </p:cNvSpPr>
            <p:nvPr>
              <p:custDataLst>
                <p:tags r:id="rId89"/>
              </p:custDataLst>
            </p:nvPr>
          </p:nvSpPr>
          <p:spPr bwMode="auto">
            <a:xfrm>
              <a:off x="181" y="61"/>
              <a:ext cx="133" cy="281"/>
            </a:xfrm>
            <a:custGeom>
              <a:avLst/>
              <a:gdLst>
                <a:gd name="T0" fmla="*/ 0 w 287"/>
                <a:gd name="T1" fmla="*/ 12 h 608"/>
                <a:gd name="T2" fmla="*/ 27 w 287"/>
                <a:gd name="T3" fmla="*/ 0 h 608"/>
                <a:gd name="T4" fmla="*/ 287 w 287"/>
                <a:gd name="T5" fmla="*/ 596 h 608"/>
                <a:gd name="T6" fmla="*/ 259 w 287"/>
                <a:gd name="T7" fmla="*/ 608 h 608"/>
                <a:gd name="T8" fmla="*/ 0 w 287"/>
                <a:gd name="T9" fmla="*/ 12 h 608"/>
              </a:gdLst>
              <a:ahLst/>
              <a:cxnLst>
                <a:cxn ang="0">
                  <a:pos x="T0" y="T1"/>
                </a:cxn>
                <a:cxn ang="0">
                  <a:pos x="T2" y="T3"/>
                </a:cxn>
                <a:cxn ang="0">
                  <a:pos x="T4" y="T5"/>
                </a:cxn>
                <a:cxn ang="0">
                  <a:pos x="T6" y="T7"/>
                </a:cxn>
                <a:cxn ang="0">
                  <a:pos x="T8" y="T9"/>
                </a:cxn>
              </a:cxnLst>
              <a:rect l="0" t="0" r="r" b="b"/>
              <a:pathLst>
                <a:path w="287" h="608">
                  <a:moveTo>
                    <a:pt x="0" y="12"/>
                  </a:moveTo>
                  <a:lnTo>
                    <a:pt x="27" y="0"/>
                  </a:lnTo>
                  <a:lnTo>
                    <a:pt x="287" y="596"/>
                  </a:lnTo>
                  <a:lnTo>
                    <a:pt x="259" y="608"/>
                  </a:lnTo>
                  <a:lnTo>
                    <a:pt x="0" y="1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Checkered_Flag2">
              <a:extLst>
                <a:ext uri="{FF2B5EF4-FFF2-40B4-BE49-F238E27FC236}">
                  <a16:creationId xmlns:a16="http://schemas.microsoft.com/office/drawing/2014/main" id="{31E62B6B-BE60-454C-B303-FDE67F94FECA}"/>
                </a:ext>
              </a:extLst>
            </p:cNvPr>
            <p:cNvSpPr>
              <a:spLocks/>
            </p:cNvSpPr>
            <p:nvPr>
              <p:custDataLst>
                <p:tags r:id="rId90"/>
              </p:custDataLst>
            </p:nvPr>
          </p:nvSpPr>
          <p:spPr bwMode="auto">
            <a:xfrm>
              <a:off x="166" y="61"/>
              <a:ext cx="133" cy="281"/>
            </a:xfrm>
            <a:custGeom>
              <a:avLst/>
              <a:gdLst>
                <a:gd name="T0" fmla="*/ 261 w 289"/>
                <a:gd name="T1" fmla="*/ 0 h 607"/>
                <a:gd name="T2" fmla="*/ 289 w 289"/>
                <a:gd name="T3" fmla="*/ 12 h 607"/>
                <a:gd name="T4" fmla="*/ 28 w 289"/>
                <a:gd name="T5" fmla="*/ 607 h 607"/>
                <a:gd name="T6" fmla="*/ 0 w 289"/>
                <a:gd name="T7" fmla="*/ 595 h 607"/>
                <a:gd name="T8" fmla="*/ 261 w 289"/>
                <a:gd name="T9" fmla="*/ 0 h 607"/>
              </a:gdLst>
              <a:ahLst/>
              <a:cxnLst>
                <a:cxn ang="0">
                  <a:pos x="T0" y="T1"/>
                </a:cxn>
                <a:cxn ang="0">
                  <a:pos x="T2" y="T3"/>
                </a:cxn>
                <a:cxn ang="0">
                  <a:pos x="T4" y="T5"/>
                </a:cxn>
                <a:cxn ang="0">
                  <a:pos x="T6" y="T7"/>
                </a:cxn>
                <a:cxn ang="0">
                  <a:pos x="T8" y="T9"/>
                </a:cxn>
              </a:cxnLst>
              <a:rect l="0" t="0" r="r" b="b"/>
              <a:pathLst>
                <a:path w="289" h="607">
                  <a:moveTo>
                    <a:pt x="261" y="0"/>
                  </a:moveTo>
                  <a:lnTo>
                    <a:pt x="289" y="12"/>
                  </a:lnTo>
                  <a:lnTo>
                    <a:pt x="28" y="607"/>
                  </a:lnTo>
                  <a:lnTo>
                    <a:pt x="0" y="595"/>
                  </a:lnTo>
                  <a:lnTo>
                    <a:pt x="261"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3" name="Checkered_Flag" descr="{&quot;Key&quot;:&quot;POWER_USER_SHAPE_ICON&quot;,&quot;Value&quot;:&quot;POWER_USER_SHAPE_ICON_STYLE_1&quot;}">
            <a:extLst>
              <a:ext uri="{FF2B5EF4-FFF2-40B4-BE49-F238E27FC236}">
                <a16:creationId xmlns:a16="http://schemas.microsoft.com/office/drawing/2014/main" id="{8BB45E39-3F27-4F2B-80F3-B073FBAC9389}"/>
              </a:ext>
            </a:extLst>
          </p:cNvPr>
          <p:cNvGrpSpPr>
            <a:grpSpLocks noChangeAspect="1"/>
          </p:cNvGrpSpPr>
          <p:nvPr>
            <p:custDataLst>
              <p:tags r:id="rId2"/>
            </p:custDataLst>
          </p:nvPr>
        </p:nvGrpSpPr>
        <p:grpSpPr bwMode="auto">
          <a:xfrm>
            <a:off x="6213567" y="6089586"/>
            <a:ext cx="494748" cy="307575"/>
            <a:chOff x="14" y="61"/>
            <a:chExt cx="452" cy="281"/>
          </a:xfrm>
          <a:solidFill>
            <a:schemeClr val="accent2"/>
          </a:solidFill>
        </p:grpSpPr>
        <p:sp>
          <p:nvSpPr>
            <p:cNvPr id="154" name="Checkered_Flag2">
              <a:extLst>
                <a:ext uri="{FF2B5EF4-FFF2-40B4-BE49-F238E27FC236}">
                  <a16:creationId xmlns:a16="http://schemas.microsoft.com/office/drawing/2014/main" id="{645E27AD-2393-4811-8B38-7541F6EBDFFB}"/>
                </a:ext>
              </a:extLst>
            </p:cNvPr>
            <p:cNvSpPr>
              <a:spLocks noEditPoints="1"/>
            </p:cNvSpPr>
            <p:nvPr>
              <p:custDataLst>
                <p:tags r:id="rId3"/>
              </p:custDataLst>
            </p:nvPr>
          </p:nvSpPr>
          <p:spPr bwMode="auto">
            <a:xfrm>
              <a:off x="249" y="70"/>
              <a:ext cx="217" cy="181"/>
            </a:xfrm>
            <a:custGeom>
              <a:avLst/>
              <a:gdLst>
                <a:gd name="T0" fmla="*/ 470 w 470"/>
                <a:gd name="T1" fmla="*/ 161 h 392"/>
                <a:gd name="T2" fmla="*/ 469 w 470"/>
                <a:gd name="T3" fmla="*/ 160 h 392"/>
                <a:gd name="T4" fmla="*/ 102 w 470"/>
                <a:gd name="T5" fmla="*/ 0 h 392"/>
                <a:gd name="T6" fmla="*/ 101 w 470"/>
                <a:gd name="T7" fmla="*/ 0 h 392"/>
                <a:gd name="T8" fmla="*/ 100 w 470"/>
                <a:gd name="T9" fmla="*/ 1 h 392"/>
                <a:gd name="T10" fmla="*/ 1 w 470"/>
                <a:gd name="T11" fmla="*/ 229 h 392"/>
                <a:gd name="T12" fmla="*/ 0 w 470"/>
                <a:gd name="T13" fmla="*/ 230 h 392"/>
                <a:gd name="T14" fmla="*/ 1 w 470"/>
                <a:gd name="T15" fmla="*/ 231 h 392"/>
                <a:gd name="T16" fmla="*/ 369 w 470"/>
                <a:gd name="T17" fmla="*/ 391 h 392"/>
                <a:gd name="T18" fmla="*/ 370 w 470"/>
                <a:gd name="T19" fmla="*/ 392 h 392"/>
                <a:gd name="T20" fmla="*/ 371 w 470"/>
                <a:gd name="T21" fmla="*/ 390 h 392"/>
                <a:gd name="T22" fmla="*/ 470 w 470"/>
                <a:gd name="T23" fmla="*/ 162 h 392"/>
                <a:gd name="T24" fmla="*/ 470 w 470"/>
                <a:gd name="T25" fmla="*/ 161 h 392"/>
                <a:gd name="T26" fmla="*/ 467 w 470"/>
                <a:gd name="T27" fmla="*/ 162 h 392"/>
                <a:gd name="T28" fmla="*/ 369 w 470"/>
                <a:gd name="T29" fmla="*/ 388 h 392"/>
                <a:gd name="T30" fmla="*/ 4 w 470"/>
                <a:gd name="T31" fmla="*/ 229 h 392"/>
                <a:gd name="T32" fmla="*/ 102 w 470"/>
                <a:gd name="T33" fmla="*/ 3 h 392"/>
                <a:gd name="T34" fmla="*/ 467 w 470"/>
                <a:gd name="T35" fmla="*/ 1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0" h="392">
                  <a:moveTo>
                    <a:pt x="470" y="161"/>
                  </a:moveTo>
                  <a:lnTo>
                    <a:pt x="469" y="160"/>
                  </a:lnTo>
                  <a:lnTo>
                    <a:pt x="102" y="0"/>
                  </a:lnTo>
                  <a:lnTo>
                    <a:pt x="101" y="0"/>
                  </a:lnTo>
                  <a:lnTo>
                    <a:pt x="100" y="1"/>
                  </a:lnTo>
                  <a:lnTo>
                    <a:pt x="1" y="229"/>
                  </a:lnTo>
                  <a:lnTo>
                    <a:pt x="0" y="230"/>
                  </a:lnTo>
                  <a:lnTo>
                    <a:pt x="1" y="231"/>
                  </a:lnTo>
                  <a:lnTo>
                    <a:pt x="369" y="391"/>
                  </a:lnTo>
                  <a:lnTo>
                    <a:pt x="370" y="392"/>
                  </a:lnTo>
                  <a:lnTo>
                    <a:pt x="371" y="390"/>
                  </a:lnTo>
                  <a:lnTo>
                    <a:pt x="470" y="162"/>
                  </a:lnTo>
                  <a:lnTo>
                    <a:pt x="470" y="161"/>
                  </a:lnTo>
                  <a:close/>
                  <a:moveTo>
                    <a:pt x="467" y="162"/>
                  </a:moveTo>
                  <a:lnTo>
                    <a:pt x="369" y="388"/>
                  </a:lnTo>
                  <a:lnTo>
                    <a:pt x="4" y="229"/>
                  </a:lnTo>
                  <a:lnTo>
                    <a:pt x="102" y="3"/>
                  </a:lnTo>
                  <a:lnTo>
                    <a:pt x="467" y="16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Checkered_Flag2">
              <a:extLst>
                <a:ext uri="{FF2B5EF4-FFF2-40B4-BE49-F238E27FC236}">
                  <a16:creationId xmlns:a16="http://schemas.microsoft.com/office/drawing/2014/main" id="{EE803B15-D170-4482-A92E-9CFE5FCB4BBF}"/>
                </a:ext>
              </a:extLst>
            </p:cNvPr>
            <p:cNvSpPr>
              <a:spLocks/>
            </p:cNvSpPr>
            <p:nvPr>
              <p:custDataLst>
                <p:tags r:id="rId4"/>
              </p:custDataLst>
            </p:nvPr>
          </p:nvSpPr>
          <p:spPr bwMode="auto">
            <a:xfrm>
              <a:off x="435" y="135"/>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Checkered_Flag2">
              <a:extLst>
                <a:ext uri="{FF2B5EF4-FFF2-40B4-BE49-F238E27FC236}">
                  <a16:creationId xmlns:a16="http://schemas.microsoft.com/office/drawing/2014/main" id="{CB1AC9CE-C7DE-42F2-B62E-41DF6EC7045D}"/>
                </a:ext>
              </a:extLst>
            </p:cNvPr>
            <p:cNvSpPr>
              <a:spLocks/>
            </p:cNvSpPr>
            <p:nvPr>
              <p:custDataLst>
                <p:tags r:id="rId5"/>
              </p:custDataLst>
            </p:nvPr>
          </p:nvSpPr>
          <p:spPr bwMode="auto">
            <a:xfrm>
              <a:off x="393" y="116"/>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Checkered_Flag2">
              <a:extLst>
                <a:ext uri="{FF2B5EF4-FFF2-40B4-BE49-F238E27FC236}">
                  <a16:creationId xmlns:a16="http://schemas.microsoft.com/office/drawing/2014/main" id="{BB80CAFC-1C5D-4AA7-85B2-26BF9FB8B89C}"/>
                </a:ext>
              </a:extLst>
            </p:cNvPr>
            <p:cNvSpPr>
              <a:spLocks/>
            </p:cNvSpPr>
            <p:nvPr>
              <p:custDataLst>
                <p:tags r:id="rId6"/>
              </p:custDataLst>
            </p:nvPr>
          </p:nvSpPr>
          <p:spPr bwMode="auto">
            <a:xfrm>
              <a:off x="350" y="98"/>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Checkered_Flag2">
              <a:extLst>
                <a:ext uri="{FF2B5EF4-FFF2-40B4-BE49-F238E27FC236}">
                  <a16:creationId xmlns:a16="http://schemas.microsoft.com/office/drawing/2014/main" id="{024934C7-CD40-4743-9BD1-87AD2BE3B655}"/>
                </a:ext>
              </a:extLst>
            </p:cNvPr>
            <p:cNvSpPr>
              <a:spLocks/>
            </p:cNvSpPr>
            <p:nvPr>
              <p:custDataLst>
                <p:tags r:id="rId7"/>
              </p:custDataLst>
            </p:nvPr>
          </p:nvSpPr>
          <p:spPr bwMode="auto">
            <a:xfrm>
              <a:off x="308" y="79"/>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Checkered_Flag2">
              <a:extLst>
                <a:ext uri="{FF2B5EF4-FFF2-40B4-BE49-F238E27FC236}">
                  <a16:creationId xmlns:a16="http://schemas.microsoft.com/office/drawing/2014/main" id="{1F4E9260-5FFE-47C7-B58F-C6A5E2206871}"/>
                </a:ext>
              </a:extLst>
            </p:cNvPr>
            <p:cNvSpPr>
              <a:spLocks/>
            </p:cNvSpPr>
            <p:nvPr>
              <p:custDataLst>
                <p:tags r:id="rId8"/>
              </p:custDataLst>
            </p:nvPr>
          </p:nvSpPr>
          <p:spPr bwMode="auto">
            <a:xfrm>
              <a:off x="320" y="110"/>
              <a:ext cx="30" cy="30"/>
            </a:xfrm>
            <a:custGeom>
              <a:avLst/>
              <a:gdLst>
                <a:gd name="T0" fmla="*/ 65 w 65"/>
                <a:gd name="T1" fmla="*/ 20 h 66"/>
                <a:gd name="T2" fmla="*/ 46 w 65"/>
                <a:gd name="T3" fmla="*/ 66 h 66"/>
                <a:gd name="T4" fmla="*/ 0 w 65"/>
                <a:gd name="T5" fmla="*/ 46 h 66"/>
                <a:gd name="T6" fmla="*/ 20 w 65"/>
                <a:gd name="T7" fmla="*/ 0 h 66"/>
                <a:gd name="T8" fmla="*/ 65 w 65"/>
                <a:gd name="T9" fmla="*/ 20 h 66"/>
              </a:gdLst>
              <a:ahLst/>
              <a:cxnLst>
                <a:cxn ang="0">
                  <a:pos x="T0" y="T1"/>
                </a:cxn>
                <a:cxn ang="0">
                  <a:pos x="T2" y="T3"/>
                </a:cxn>
                <a:cxn ang="0">
                  <a:pos x="T4" y="T5"/>
                </a:cxn>
                <a:cxn ang="0">
                  <a:pos x="T6" y="T7"/>
                </a:cxn>
                <a:cxn ang="0">
                  <a:pos x="T8" y="T9"/>
                </a:cxn>
              </a:cxnLst>
              <a:rect l="0" t="0" r="r" b="b"/>
              <a:pathLst>
                <a:path w="65" h="66">
                  <a:moveTo>
                    <a:pt x="65" y="20"/>
                  </a:moveTo>
                  <a:lnTo>
                    <a:pt x="46" y="66"/>
                  </a:lnTo>
                  <a:lnTo>
                    <a:pt x="0" y="46"/>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Checkered_Flag2">
              <a:extLst>
                <a:ext uri="{FF2B5EF4-FFF2-40B4-BE49-F238E27FC236}">
                  <a16:creationId xmlns:a16="http://schemas.microsoft.com/office/drawing/2014/main" id="{359978D9-FAC2-497B-8FC4-41039C4242D4}"/>
                </a:ext>
              </a:extLst>
            </p:cNvPr>
            <p:cNvSpPr>
              <a:spLocks/>
            </p:cNvSpPr>
            <p:nvPr>
              <p:custDataLst>
                <p:tags r:id="rId9"/>
              </p:custDataLst>
            </p:nvPr>
          </p:nvSpPr>
          <p:spPr bwMode="auto">
            <a:xfrm>
              <a:off x="362" y="128"/>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Checkered_Flag2">
              <a:extLst>
                <a:ext uri="{FF2B5EF4-FFF2-40B4-BE49-F238E27FC236}">
                  <a16:creationId xmlns:a16="http://schemas.microsoft.com/office/drawing/2014/main" id="{1106DA41-298B-4B48-A28D-AAE92BDDAE31}"/>
                </a:ext>
              </a:extLst>
            </p:cNvPr>
            <p:cNvSpPr>
              <a:spLocks/>
            </p:cNvSpPr>
            <p:nvPr>
              <p:custDataLst>
                <p:tags r:id="rId10"/>
              </p:custDataLst>
            </p:nvPr>
          </p:nvSpPr>
          <p:spPr bwMode="auto">
            <a:xfrm>
              <a:off x="405" y="147"/>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Checkered_Flag2">
              <a:extLst>
                <a:ext uri="{FF2B5EF4-FFF2-40B4-BE49-F238E27FC236}">
                  <a16:creationId xmlns:a16="http://schemas.microsoft.com/office/drawing/2014/main" id="{51B8173C-E05A-4249-BB18-D84228D9F743}"/>
                </a:ext>
              </a:extLst>
            </p:cNvPr>
            <p:cNvSpPr>
              <a:spLocks/>
            </p:cNvSpPr>
            <p:nvPr>
              <p:custDataLst>
                <p:tags r:id="rId11"/>
              </p:custDataLst>
            </p:nvPr>
          </p:nvSpPr>
          <p:spPr bwMode="auto">
            <a:xfrm>
              <a:off x="278" y="91"/>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Checkered_Flag2">
              <a:extLst>
                <a:ext uri="{FF2B5EF4-FFF2-40B4-BE49-F238E27FC236}">
                  <a16:creationId xmlns:a16="http://schemas.microsoft.com/office/drawing/2014/main" id="{D051CC22-01C0-4E80-8B64-50466DB84506}"/>
                </a:ext>
              </a:extLst>
            </p:cNvPr>
            <p:cNvSpPr>
              <a:spLocks/>
            </p:cNvSpPr>
            <p:nvPr>
              <p:custDataLst>
                <p:tags r:id="rId12"/>
              </p:custDataLst>
            </p:nvPr>
          </p:nvSpPr>
          <p:spPr bwMode="auto">
            <a:xfrm>
              <a:off x="416" y="177"/>
              <a:ext cx="31"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Checkered_Flag2">
              <a:extLst>
                <a:ext uri="{FF2B5EF4-FFF2-40B4-BE49-F238E27FC236}">
                  <a16:creationId xmlns:a16="http://schemas.microsoft.com/office/drawing/2014/main" id="{3B0408B5-413D-43A7-B9B5-9BD0AA956975}"/>
                </a:ext>
              </a:extLst>
            </p:cNvPr>
            <p:cNvSpPr>
              <a:spLocks/>
            </p:cNvSpPr>
            <p:nvPr>
              <p:custDataLst>
                <p:tags r:id="rId13"/>
              </p:custDataLst>
            </p:nvPr>
          </p:nvSpPr>
          <p:spPr bwMode="auto">
            <a:xfrm>
              <a:off x="374" y="159"/>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Checkered_Flag2">
              <a:extLst>
                <a:ext uri="{FF2B5EF4-FFF2-40B4-BE49-F238E27FC236}">
                  <a16:creationId xmlns:a16="http://schemas.microsoft.com/office/drawing/2014/main" id="{89960D22-46B3-4D9B-A4DD-0A52522F6480}"/>
                </a:ext>
              </a:extLst>
            </p:cNvPr>
            <p:cNvSpPr>
              <a:spLocks/>
            </p:cNvSpPr>
            <p:nvPr>
              <p:custDataLst>
                <p:tags r:id="rId14"/>
              </p:custDataLst>
            </p:nvPr>
          </p:nvSpPr>
          <p:spPr bwMode="auto">
            <a:xfrm>
              <a:off x="332" y="140"/>
              <a:ext cx="30" cy="31"/>
            </a:xfrm>
            <a:custGeom>
              <a:avLst/>
              <a:gdLst>
                <a:gd name="T0" fmla="*/ 65 w 65"/>
                <a:gd name="T1" fmla="*/ 20 h 66"/>
                <a:gd name="T2" fmla="*/ 45 w 65"/>
                <a:gd name="T3" fmla="*/ 66 h 66"/>
                <a:gd name="T4" fmla="*/ 0 w 65"/>
                <a:gd name="T5" fmla="*/ 46 h 66"/>
                <a:gd name="T6" fmla="*/ 20 w 65"/>
                <a:gd name="T7" fmla="*/ 0 h 66"/>
                <a:gd name="T8" fmla="*/ 65 w 65"/>
                <a:gd name="T9" fmla="*/ 20 h 66"/>
              </a:gdLst>
              <a:ahLst/>
              <a:cxnLst>
                <a:cxn ang="0">
                  <a:pos x="T0" y="T1"/>
                </a:cxn>
                <a:cxn ang="0">
                  <a:pos x="T2" y="T3"/>
                </a:cxn>
                <a:cxn ang="0">
                  <a:pos x="T4" y="T5"/>
                </a:cxn>
                <a:cxn ang="0">
                  <a:pos x="T6" y="T7"/>
                </a:cxn>
                <a:cxn ang="0">
                  <a:pos x="T8" y="T9"/>
                </a:cxn>
              </a:cxnLst>
              <a:rect l="0" t="0" r="r" b="b"/>
              <a:pathLst>
                <a:path w="65" h="66">
                  <a:moveTo>
                    <a:pt x="65" y="20"/>
                  </a:moveTo>
                  <a:lnTo>
                    <a:pt x="45" y="66"/>
                  </a:lnTo>
                  <a:lnTo>
                    <a:pt x="0" y="46"/>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Checkered_Flag2">
              <a:extLst>
                <a:ext uri="{FF2B5EF4-FFF2-40B4-BE49-F238E27FC236}">
                  <a16:creationId xmlns:a16="http://schemas.microsoft.com/office/drawing/2014/main" id="{6377EAD0-90A7-4EEE-9044-A7FFFAB1EC51}"/>
                </a:ext>
              </a:extLst>
            </p:cNvPr>
            <p:cNvSpPr>
              <a:spLocks/>
            </p:cNvSpPr>
            <p:nvPr>
              <p:custDataLst>
                <p:tags r:id="rId15"/>
              </p:custDataLst>
            </p:nvPr>
          </p:nvSpPr>
          <p:spPr bwMode="auto">
            <a:xfrm>
              <a:off x="290" y="122"/>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Checkered_Flag2">
              <a:extLst>
                <a:ext uri="{FF2B5EF4-FFF2-40B4-BE49-F238E27FC236}">
                  <a16:creationId xmlns:a16="http://schemas.microsoft.com/office/drawing/2014/main" id="{B19F692F-3304-403A-8481-F08540B284E4}"/>
                </a:ext>
              </a:extLst>
            </p:cNvPr>
            <p:cNvSpPr>
              <a:spLocks/>
            </p:cNvSpPr>
            <p:nvPr>
              <p:custDataLst>
                <p:tags r:id="rId16"/>
              </p:custDataLst>
            </p:nvPr>
          </p:nvSpPr>
          <p:spPr bwMode="auto">
            <a:xfrm>
              <a:off x="302" y="152"/>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Checkered_Flag2">
              <a:extLst>
                <a:ext uri="{FF2B5EF4-FFF2-40B4-BE49-F238E27FC236}">
                  <a16:creationId xmlns:a16="http://schemas.microsoft.com/office/drawing/2014/main" id="{846274E4-F892-412D-B763-84FFC7DC9412}"/>
                </a:ext>
              </a:extLst>
            </p:cNvPr>
            <p:cNvSpPr>
              <a:spLocks/>
            </p:cNvSpPr>
            <p:nvPr>
              <p:custDataLst>
                <p:tags r:id="rId17"/>
              </p:custDataLst>
            </p:nvPr>
          </p:nvSpPr>
          <p:spPr bwMode="auto">
            <a:xfrm>
              <a:off x="344" y="171"/>
              <a:ext cx="30"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Checkered_Flag2">
              <a:extLst>
                <a:ext uri="{FF2B5EF4-FFF2-40B4-BE49-F238E27FC236}">
                  <a16:creationId xmlns:a16="http://schemas.microsoft.com/office/drawing/2014/main" id="{F3FC8C4B-DA9D-4BBD-8803-17E94E099A45}"/>
                </a:ext>
              </a:extLst>
            </p:cNvPr>
            <p:cNvSpPr>
              <a:spLocks/>
            </p:cNvSpPr>
            <p:nvPr>
              <p:custDataLst>
                <p:tags r:id="rId18"/>
              </p:custDataLst>
            </p:nvPr>
          </p:nvSpPr>
          <p:spPr bwMode="auto">
            <a:xfrm>
              <a:off x="386" y="189"/>
              <a:ext cx="30" cy="30"/>
            </a:xfrm>
            <a:custGeom>
              <a:avLst/>
              <a:gdLst>
                <a:gd name="T0" fmla="*/ 66 w 66"/>
                <a:gd name="T1" fmla="*/ 20 h 65"/>
                <a:gd name="T2" fmla="*/ 46 w 66"/>
                <a:gd name="T3" fmla="*/ 65 h 65"/>
                <a:gd name="T4" fmla="*/ 0 w 66"/>
                <a:gd name="T5" fmla="*/ 46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Checkered_Flag2">
              <a:extLst>
                <a:ext uri="{FF2B5EF4-FFF2-40B4-BE49-F238E27FC236}">
                  <a16:creationId xmlns:a16="http://schemas.microsoft.com/office/drawing/2014/main" id="{3642609F-C0D6-4C3B-AFD5-56BA5B307340}"/>
                </a:ext>
              </a:extLst>
            </p:cNvPr>
            <p:cNvSpPr>
              <a:spLocks/>
            </p:cNvSpPr>
            <p:nvPr>
              <p:custDataLst>
                <p:tags r:id="rId19"/>
              </p:custDataLst>
            </p:nvPr>
          </p:nvSpPr>
          <p:spPr bwMode="auto">
            <a:xfrm>
              <a:off x="259" y="134"/>
              <a:ext cx="31" cy="30"/>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Checkered_Flag2">
              <a:extLst>
                <a:ext uri="{FF2B5EF4-FFF2-40B4-BE49-F238E27FC236}">
                  <a16:creationId xmlns:a16="http://schemas.microsoft.com/office/drawing/2014/main" id="{2A71BB64-07C2-4FE0-BF2A-9617A979B349}"/>
                </a:ext>
              </a:extLst>
            </p:cNvPr>
            <p:cNvSpPr>
              <a:spLocks/>
            </p:cNvSpPr>
            <p:nvPr>
              <p:custDataLst>
                <p:tags r:id="rId20"/>
              </p:custDataLst>
            </p:nvPr>
          </p:nvSpPr>
          <p:spPr bwMode="auto">
            <a:xfrm>
              <a:off x="398" y="219"/>
              <a:ext cx="30" cy="31"/>
            </a:xfrm>
            <a:custGeom>
              <a:avLst/>
              <a:gdLst>
                <a:gd name="T0" fmla="*/ 66 w 66"/>
                <a:gd name="T1" fmla="*/ 20 h 66"/>
                <a:gd name="T2" fmla="*/ 46 w 66"/>
                <a:gd name="T3" fmla="*/ 66 h 66"/>
                <a:gd name="T4" fmla="*/ 0 w 66"/>
                <a:gd name="T5" fmla="*/ 46 h 66"/>
                <a:gd name="T6" fmla="*/ 20 w 66"/>
                <a:gd name="T7" fmla="*/ 0 h 66"/>
                <a:gd name="T8" fmla="*/ 66 w 66"/>
                <a:gd name="T9" fmla="*/ 20 h 66"/>
              </a:gdLst>
              <a:ahLst/>
              <a:cxnLst>
                <a:cxn ang="0">
                  <a:pos x="T0" y="T1"/>
                </a:cxn>
                <a:cxn ang="0">
                  <a:pos x="T2" y="T3"/>
                </a:cxn>
                <a:cxn ang="0">
                  <a:pos x="T4" y="T5"/>
                </a:cxn>
                <a:cxn ang="0">
                  <a:pos x="T6" y="T7"/>
                </a:cxn>
                <a:cxn ang="0">
                  <a:pos x="T8" y="T9"/>
                </a:cxn>
              </a:cxnLst>
              <a:rect l="0" t="0" r="r" b="b"/>
              <a:pathLst>
                <a:path w="66" h="66">
                  <a:moveTo>
                    <a:pt x="66" y="20"/>
                  </a:moveTo>
                  <a:lnTo>
                    <a:pt x="46" y="66"/>
                  </a:lnTo>
                  <a:lnTo>
                    <a:pt x="0" y="46"/>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Checkered_Flag2">
              <a:extLst>
                <a:ext uri="{FF2B5EF4-FFF2-40B4-BE49-F238E27FC236}">
                  <a16:creationId xmlns:a16="http://schemas.microsoft.com/office/drawing/2014/main" id="{93D125D8-4A72-4BD5-AE93-014DDC428145}"/>
                </a:ext>
              </a:extLst>
            </p:cNvPr>
            <p:cNvSpPr>
              <a:spLocks/>
            </p:cNvSpPr>
            <p:nvPr>
              <p:custDataLst>
                <p:tags r:id="rId21"/>
              </p:custDataLst>
            </p:nvPr>
          </p:nvSpPr>
          <p:spPr bwMode="auto">
            <a:xfrm>
              <a:off x="356" y="201"/>
              <a:ext cx="30" cy="30"/>
            </a:xfrm>
            <a:custGeom>
              <a:avLst/>
              <a:gdLst>
                <a:gd name="T0" fmla="*/ 66 w 66"/>
                <a:gd name="T1" fmla="*/ 20 h 65"/>
                <a:gd name="T2" fmla="*/ 46 w 66"/>
                <a:gd name="T3" fmla="*/ 65 h 65"/>
                <a:gd name="T4" fmla="*/ 0 w 66"/>
                <a:gd name="T5" fmla="*/ 45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5"/>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Checkered_Flag2">
              <a:extLst>
                <a:ext uri="{FF2B5EF4-FFF2-40B4-BE49-F238E27FC236}">
                  <a16:creationId xmlns:a16="http://schemas.microsoft.com/office/drawing/2014/main" id="{02ECBA48-4466-45B4-84B8-C4C363DF728B}"/>
                </a:ext>
              </a:extLst>
            </p:cNvPr>
            <p:cNvSpPr>
              <a:spLocks/>
            </p:cNvSpPr>
            <p:nvPr>
              <p:custDataLst>
                <p:tags r:id="rId22"/>
              </p:custDataLst>
            </p:nvPr>
          </p:nvSpPr>
          <p:spPr bwMode="auto">
            <a:xfrm>
              <a:off x="314" y="183"/>
              <a:ext cx="30" cy="30"/>
            </a:xfrm>
            <a:custGeom>
              <a:avLst/>
              <a:gdLst>
                <a:gd name="T0" fmla="*/ 65 w 65"/>
                <a:gd name="T1" fmla="*/ 20 h 65"/>
                <a:gd name="T2" fmla="*/ 45 w 65"/>
                <a:gd name="T3" fmla="*/ 65 h 65"/>
                <a:gd name="T4" fmla="*/ 0 w 65"/>
                <a:gd name="T5" fmla="*/ 45 h 65"/>
                <a:gd name="T6" fmla="*/ 20 w 65"/>
                <a:gd name="T7" fmla="*/ 0 h 65"/>
                <a:gd name="T8" fmla="*/ 65 w 65"/>
                <a:gd name="T9" fmla="*/ 20 h 65"/>
              </a:gdLst>
              <a:ahLst/>
              <a:cxnLst>
                <a:cxn ang="0">
                  <a:pos x="T0" y="T1"/>
                </a:cxn>
                <a:cxn ang="0">
                  <a:pos x="T2" y="T3"/>
                </a:cxn>
                <a:cxn ang="0">
                  <a:pos x="T4" y="T5"/>
                </a:cxn>
                <a:cxn ang="0">
                  <a:pos x="T6" y="T7"/>
                </a:cxn>
                <a:cxn ang="0">
                  <a:pos x="T8" y="T9"/>
                </a:cxn>
              </a:cxnLst>
              <a:rect l="0" t="0" r="r" b="b"/>
              <a:pathLst>
                <a:path w="65" h="65">
                  <a:moveTo>
                    <a:pt x="65" y="20"/>
                  </a:moveTo>
                  <a:lnTo>
                    <a:pt x="45" y="65"/>
                  </a:lnTo>
                  <a:lnTo>
                    <a:pt x="0" y="45"/>
                  </a:lnTo>
                  <a:lnTo>
                    <a:pt x="20" y="0"/>
                  </a:lnTo>
                  <a:lnTo>
                    <a:pt x="65"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Checkered_Flag2">
              <a:extLst>
                <a:ext uri="{FF2B5EF4-FFF2-40B4-BE49-F238E27FC236}">
                  <a16:creationId xmlns:a16="http://schemas.microsoft.com/office/drawing/2014/main" id="{C8C191FB-3E34-4BCA-B0CB-E11ACE5DD299}"/>
                </a:ext>
              </a:extLst>
            </p:cNvPr>
            <p:cNvSpPr>
              <a:spLocks/>
            </p:cNvSpPr>
            <p:nvPr>
              <p:custDataLst>
                <p:tags r:id="rId23"/>
              </p:custDataLst>
            </p:nvPr>
          </p:nvSpPr>
          <p:spPr bwMode="auto">
            <a:xfrm>
              <a:off x="271" y="164"/>
              <a:ext cx="31" cy="30"/>
            </a:xfrm>
            <a:custGeom>
              <a:avLst/>
              <a:gdLst>
                <a:gd name="T0" fmla="*/ 66 w 66"/>
                <a:gd name="T1" fmla="*/ 20 h 65"/>
                <a:gd name="T2" fmla="*/ 46 w 66"/>
                <a:gd name="T3" fmla="*/ 65 h 65"/>
                <a:gd name="T4" fmla="*/ 0 w 66"/>
                <a:gd name="T5" fmla="*/ 45 h 65"/>
                <a:gd name="T6" fmla="*/ 20 w 66"/>
                <a:gd name="T7" fmla="*/ 0 h 65"/>
                <a:gd name="T8" fmla="*/ 66 w 66"/>
                <a:gd name="T9" fmla="*/ 20 h 65"/>
              </a:gdLst>
              <a:ahLst/>
              <a:cxnLst>
                <a:cxn ang="0">
                  <a:pos x="T0" y="T1"/>
                </a:cxn>
                <a:cxn ang="0">
                  <a:pos x="T2" y="T3"/>
                </a:cxn>
                <a:cxn ang="0">
                  <a:pos x="T4" y="T5"/>
                </a:cxn>
                <a:cxn ang="0">
                  <a:pos x="T6" y="T7"/>
                </a:cxn>
                <a:cxn ang="0">
                  <a:pos x="T8" y="T9"/>
                </a:cxn>
              </a:cxnLst>
              <a:rect l="0" t="0" r="r" b="b"/>
              <a:pathLst>
                <a:path w="66" h="65">
                  <a:moveTo>
                    <a:pt x="66" y="20"/>
                  </a:moveTo>
                  <a:lnTo>
                    <a:pt x="46" y="65"/>
                  </a:lnTo>
                  <a:lnTo>
                    <a:pt x="0" y="45"/>
                  </a:lnTo>
                  <a:lnTo>
                    <a:pt x="20" y="0"/>
                  </a:lnTo>
                  <a:lnTo>
                    <a:pt x="66"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Checkered_Flag2">
              <a:extLst>
                <a:ext uri="{FF2B5EF4-FFF2-40B4-BE49-F238E27FC236}">
                  <a16:creationId xmlns:a16="http://schemas.microsoft.com/office/drawing/2014/main" id="{B7E5675D-19F3-400B-985E-664C39E8D33F}"/>
                </a:ext>
              </a:extLst>
            </p:cNvPr>
            <p:cNvSpPr>
              <a:spLocks noEditPoints="1"/>
            </p:cNvSpPr>
            <p:nvPr>
              <p:custDataLst>
                <p:tags r:id="rId24"/>
              </p:custDataLst>
            </p:nvPr>
          </p:nvSpPr>
          <p:spPr bwMode="auto">
            <a:xfrm>
              <a:off x="14" y="70"/>
              <a:ext cx="217" cy="181"/>
            </a:xfrm>
            <a:custGeom>
              <a:avLst/>
              <a:gdLst>
                <a:gd name="T0" fmla="*/ 0 w 471"/>
                <a:gd name="T1" fmla="*/ 161 h 392"/>
                <a:gd name="T2" fmla="*/ 1 w 471"/>
                <a:gd name="T3" fmla="*/ 160 h 392"/>
                <a:gd name="T4" fmla="*/ 369 w 471"/>
                <a:gd name="T5" fmla="*/ 0 h 392"/>
                <a:gd name="T6" fmla="*/ 370 w 471"/>
                <a:gd name="T7" fmla="*/ 0 h 392"/>
                <a:gd name="T8" fmla="*/ 371 w 471"/>
                <a:gd name="T9" fmla="*/ 1 h 392"/>
                <a:gd name="T10" fmla="*/ 470 w 471"/>
                <a:gd name="T11" fmla="*/ 229 h 392"/>
                <a:gd name="T12" fmla="*/ 471 w 471"/>
                <a:gd name="T13" fmla="*/ 230 h 392"/>
                <a:gd name="T14" fmla="*/ 469 w 471"/>
                <a:gd name="T15" fmla="*/ 231 h 392"/>
                <a:gd name="T16" fmla="*/ 102 w 471"/>
                <a:gd name="T17" fmla="*/ 391 h 392"/>
                <a:gd name="T18" fmla="*/ 101 w 471"/>
                <a:gd name="T19" fmla="*/ 392 h 392"/>
                <a:gd name="T20" fmla="*/ 100 w 471"/>
                <a:gd name="T21" fmla="*/ 390 h 392"/>
                <a:gd name="T22" fmla="*/ 1 w 471"/>
                <a:gd name="T23" fmla="*/ 162 h 392"/>
                <a:gd name="T24" fmla="*/ 0 w 471"/>
                <a:gd name="T25" fmla="*/ 161 h 392"/>
                <a:gd name="T26" fmla="*/ 4 w 471"/>
                <a:gd name="T27" fmla="*/ 162 h 392"/>
                <a:gd name="T28" fmla="*/ 102 w 471"/>
                <a:gd name="T29" fmla="*/ 388 h 392"/>
                <a:gd name="T30" fmla="*/ 467 w 471"/>
                <a:gd name="T31" fmla="*/ 229 h 392"/>
                <a:gd name="T32" fmla="*/ 369 w 471"/>
                <a:gd name="T33" fmla="*/ 3 h 392"/>
                <a:gd name="T34" fmla="*/ 4 w 471"/>
                <a:gd name="T35" fmla="*/ 16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1" h="392">
                  <a:moveTo>
                    <a:pt x="0" y="161"/>
                  </a:moveTo>
                  <a:lnTo>
                    <a:pt x="1" y="160"/>
                  </a:lnTo>
                  <a:lnTo>
                    <a:pt x="369" y="0"/>
                  </a:lnTo>
                  <a:lnTo>
                    <a:pt x="370" y="0"/>
                  </a:lnTo>
                  <a:lnTo>
                    <a:pt x="371" y="1"/>
                  </a:lnTo>
                  <a:lnTo>
                    <a:pt x="470" y="229"/>
                  </a:lnTo>
                  <a:lnTo>
                    <a:pt x="471" y="230"/>
                  </a:lnTo>
                  <a:lnTo>
                    <a:pt x="469" y="231"/>
                  </a:lnTo>
                  <a:lnTo>
                    <a:pt x="102" y="391"/>
                  </a:lnTo>
                  <a:lnTo>
                    <a:pt x="101" y="392"/>
                  </a:lnTo>
                  <a:lnTo>
                    <a:pt x="100" y="390"/>
                  </a:lnTo>
                  <a:lnTo>
                    <a:pt x="1" y="162"/>
                  </a:lnTo>
                  <a:lnTo>
                    <a:pt x="0" y="161"/>
                  </a:lnTo>
                  <a:close/>
                  <a:moveTo>
                    <a:pt x="4" y="162"/>
                  </a:moveTo>
                  <a:lnTo>
                    <a:pt x="102" y="388"/>
                  </a:lnTo>
                  <a:lnTo>
                    <a:pt x="467" y="229"/>
                  </a:lnTo>
                  <a:lnTo>
                    <a:pt x="369" y="3"/>
                  </a:lnTo>
                  <a:lnTo>
                    <a:pt x="4" y="16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Checkered_Flag2">
              <a:extLst>
                <a:ext uri="{FF2B5EF4-FFF2-40B4-BE49-F238E27FC236}">
                  <a16:creationId xmlns:a16="http://schemas.microsoft.com/office/drawing/2014/main" id="{F54FF30F-4688-4D75-BA13-94B0309766DB}"/>
                </a:ext>
              </a:extLst>
            </p:cNvPr>
            <p:cNvSpPr>
              <a:spLocks/>
            </p:cNvSpPr>
            <p:nvPr>
              <p:custDataLst>
                <p:tags r:id="rId25"/>
              </p:custDataLst>
            </p:nvPr>
          </p:nvSpPr>
          <p:spPr bwMode="auto">
            <a:xfrm>
              <a:off x="14" y="135"/>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Checkered_Flag2">
              <a:extLst>
                <a:ext uri="{FF2B5EF4-FFF2-40B4-BE49-F238E27FC236}">
                  <a16:creationId xmlns:a16="http://schemas.microsoft.com/office/drawing/2014/main" id="{CFF45838-B356-456D-904B-C6E7C115D781}"/>
                </a:ext>
              </a:extLst>
            </p:cNvPr>
            <p:cNvSpPr>
              <a:spLocks/>
            </p:cNvSpPr>
            <p:nvPr>
              <p:custDataLst>
                <p:tags r:id="rId26"/>
              </p:custDataLst>
            </p:nvPr>
          </p:nvSpPr>
          <p:spPr bwMode="auto">
            <a:xfrm>
              <a:off x="57" y="116"/>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Checkered_Flag2">
              <a:extLst>
                <a:ext uri="{FF2B5EF4-FFF2-40B4-BE49-F238E27FC236}">
                  <a16:creationId xmlns:a16="http://schemas.microsoft.com/office/drawing/2014/main" id="{BE6D0882-2189-4459-96FF-B4B923D5F72C}"/>
                </a:ext>
              </a:extLst>
            </p:cNvPr>
            <p:cNvSpPr>
              <a:spLocks/>
            </p:cNvSpPr>
            <p:nvPr>
              <p:custDataLst>
                <p:tags r:id="rId27"/>
              </p:custDataLst>
            </p:nvPr>
          </p:nvSpPr>
          <p:spPr bwMode="auto">
            <a:xfrm>
              <a:off x="99" y="98"/>
              <a:ext cx="30" cy="30"/>
            </a:xfrm>
            <a:custGeom>
              <a:avLst/>
              <a:gdLst>
                <a:gd name="T0" fmla="*/ 0 w 65"/>
                <a:gd name="T1" fmla="*/ 20 h 66"/>
                <a:gd name="T2" fmla="*/ 20 w 65"/>
                <a:gd name="T3" fmla="*/ 66 h 66"/>
                <a:gd name="T4" fmla="*/ 65 w 65"/>
                <a:gd name="T5" fmla="*/ 46 h 66"/>
                <a:gd name="T6" fmla="*/ 45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5"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Checkered_Flag2">
              <a:extLst>
                <a:ext uri="{FF2B5EF4-FFF2-40B4-BE49-F238E27FC236}">
                  <a16:creationId xmlns:a16="http://schemas.microsoft.com/office/drawing/2014/main" id="{E8788AAD-74E0-4582-8399-9B3893E3371B}"/>
                </a:ext>
              </a:extLst>
            </p:cNvPr>
            <p:cNvSpPr>
              <a:spLocks/>
            </p:cNvSpPr>
            <p:nvPr>
              <p:custDataLst>
                <p:tags r:id="rId28"/>
              </p:custDataLst>
            </p:nvPr>
          </p:nvSpPr>
          <p:spPr bwMode="auto">
            <a:xfrm>
              <a:off x="141" y="79"/>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Checkered_Flag2">
              <a:extLst>
                <a:ext uri="{FF2B5EF4-FFF2-40B4-BE49-F238E27FC236}">
                  <a16:creationId xmlns:a16="http://schemas.microsoft.com/office/drawing/2014/main" id="{B6191540-F96B-4013-A793-E3142C14BA60}"/>
                </a:ext>
              </a:extLst>
            </p:cNvPr>
            <p:cNvSpPr>
              <a:spLocks/>
            </p:cNvSpPr>
            <p:nvPr>
              <p:custDataLst>
                <p:tags r:id="rId29"/>
              </p:custDataLst>
            </p:nvPr>
          </p:nvSpPr>
          <p:spPr bwMode="auto">
            <a:xfrm>
              <a:off x="129" y="110"/>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Checkered_Flag2">
              <a:extLst>
                <a:ext uri="{FF2B5EF4-FFF2-40B4-BE49-F238E27FC236}">
                  <a16:creationId xmlns:a16="http://schemas.microsoft.com/office/drawing/2014/main" id="{DD6D8C88-5374-4036-B708-14269DAE2975}"/>
                </a:ext>
              </a:extLst>
            </p:cNvPr>
            <p:cNvSpPr>
              <a:spLocks/>
            </p:cNvSpPr>
            <p:nvPr>
              <p:custDataLst>
                <p:tags r:id="rId30"/>
              </p:custDataLst>
            </p:nvPr>
          </p:nvSpPr>
          <p:spPr bwMode="auto">
            <a:xfrm>
              <a:off x="87" y="128"/>
              <a:ext cx="30" cy="31"/>
            </a:xfrm>
            <a:custGeom>
              <a:avLst/>
              <a:gdLst>
                <a:gd name="T0" fmla="*/ 0 w 65"/>
                <a:gd name="T1" fmla="*/ 20 h 66"/>
                <a:gd name="T2" fmla="*/ 20 w 65"/>
                <a:gd name="T3" fmla="*/ 66 h 66"/>
                <a:gd name="T4" fmla="*/ 65 w 65"/>
                <a:gd name="T5" fmla="*/ 46 h 66"/>
                <a:gd name="T6" fmla="*/ 46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Checkered_Flag2">
              <a:extLst>
                <a:ext uri="{FF2B5EF4-FFF2-40B4-BE49-F238E27FC236}">
                  <a16:creationId xmlns:a16="http://schemas.microsoft.com/office/drawing/2014/main" id="{E4E835A7-FE5D-45B1-ACB9-463A08A5EA5B}"/>
                </a:ext>
              </a:extLst>
            </p:cNvPr>
            <p:cNvSpPr>
              <a:spLocks/>
            </p:cNvSpPr>
            <p:nvPr>
              <p:custDataLst>
                <p:tags r:id="rId31"/>
              </p:custDataLst>
            </p:nvPr>
          </p:nvSpPr>
          <p:spPr bwMode="auto">
            <a:xfrm>
              <a:off x="45" y="147"/>
              <a:ext cx="30"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Checkered_Flag2">
              <a:extLst>
                <a:ext uri="{FF2B5EF4-FFF2-40B4-BE49-F238E27FC236}">
                  <a16:creationId xmlns:a16="http://schemas.microsoft.com/office/drawing/2014/main" id="{98C3E9EA-9854-4F52-8B93-FCBF77E3125B}"/>
                </a:ext>
              </a:extLst>
            </p:cNvPr>
            <p:cNvSpPr>
              <a:spLocks/>
            </p:cNvSpPr>
            <p:nvPr>
              <p:custDataLst>
                <p:tags r:id="rId32"/>
              </p:custDataLst>
            </p:nvPr>
          </p:nvSpPr>
          <p:spPr bwMode="auto">
            <a:xfrm>
              <a:off x="172" y="91"/>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Checkered_Flag2">
              <a:extLst>
                <a:ext uri="{FF2B5EF4-FFF2-40B4-BE49-F238E27FC236}">
                  <a16:creationId xmlns:a16="http://schemas.microsoft.com/office/drawing/2014/main" id="{0057D91C-927E-4FA7-993D-B7EEDCC32AAE}"/>
                </a:ext>
              </a:extLst>
            </p:cNvPr>
            <p:cNvSpPr>
              <a:spLocks/>
            </p:cNvSpPr>
            <p:nvPr>
              <p:custDataLst>
                <p:tags r:id="rId33"/>
              </p:custDataLst>
            </p:nvPr>
          </p:nvSpPr>
          <p:spPr bwMode="auto">
            <a:xfrm>
              <a:off x="33" y="177"/>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Checkered_Flag2">
              <a:extLst>
                <a:ext uri="{FF2B5EF4-FFF2-40B4-BE49-F238E27FC236}">
                  <a16:creationId xmlns:a16="http://schemas.microsoft.com/office/drawing/2014/main" id="{1809ED6C-21D7-452C-A306-0BA575B152B1}"/>
                </a:ext>
              </a:extLst>
            </p:cNvPr>
            <p:cNvSpPr>
              <a:spLocks/>
            </p:cNvSpPr>
            <p:nvPr>
              <p:custDataLst>
                <p:tags r:id="rId34"/>
              </p:custDataLst>
            </p:nvPr>
          </p:nvSpPr>
          <p:spPr bwMode="auto">
            <a:xfrm>
              <a:off x="75" y="159"/>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Checkered_Flag2">
              <a:extLst>
                <a:ext uri="{FF2B5EF4-FFF2-40B4-BE49-F238E27FC236}">
                  <a16:creationId xmlns:a16="http://schemas.microsoft.com/office/drawing/2014/main" id="{122C0388-90A0-4AFB-8A85-906F87BD6CA6}"/>
                </a:ext>
              </a:extLst>
            </p:cNvPr>
            <p:cNvSpPr>
              <a:spLocks/>
            </p:cNvSpPr>
            <p:nvPr>
              <p:custDataLst>
                <p:tags r:id="rId35"/>
              </p:custDataLst>
            </p:nvPr>
          </p:nvSpPr>
          <p:spPr bwMode="auto">
            <a:xfrm>
              <a:off x="117" y="140"/>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Checkered_Flag2">
              <a:extLst>
                <a:ext uri="{FF2B5EF4-FFF2-40B4-BE49-F238E27FC236}">
                  <a16:creationId xmlns:a16="http://schemas.microsoft.com/office/drawing/2014/main" id="{73B08F04-1473-4773-A74A-DB70BA6BC0BC}"/>
                </a:ext>
              </a:extLst>
            </p:cNvPr>
            <p:cNvSpPr>
              <a:spLocks/>
            </p:cNvSpPr>
            <p:nvPr>
              <p:custDataLst>
                <p:tags r:id="rId36"/>
              </p:custDataLst>
            </p:nvPr>
          </p:nvSpPr>
          <p:spPr bwMode="auto">
            <a:xfrm>
              <a:off x="160" y="122"/>
              <a:ext cx="30"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Checkered_Flag2">
              <a:extLst>
                <a:ext uri="{FF2B5EF4-FFF2-40B4-BE49-F238E27FC236}">
                  <a16:creationId xmlns:a16="http://schemas.microsoft.com/office/drawing/2014/main" id="{768ED558-41DD-4462-B396-6F66B939379D}"/>
                </a:ext>
              </a:extLst>
            </p:cNvPr>
            <p:cNvSpPr>
              <a:spLocks/>
            </p:cNvSpPr>
            <p:nvPr>
              <p:custDataLst>
                <p:tags r:id="rId37"/>
              </p:custDataLst>
            </p:nvPr>
          </p:nvSpPr>
          <p:spPr bwMode="auto">
            <a:xfrm>
              <a:off x="148" y="152"/>
              <a:ext cx="30"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Checkered_Flag2">
              <a:extLst>
                <a:ext uri="{FF2B5EF4-FFF2-40B4-BE49-F238E27FC236}">
                  <a16:creationId xmlns:a16="http://schemas.microsoft.com/office/drawing/2014/main" id="{592BB38B-2D44-43BD-B042-7F12808A5811}"/>
                </a:ext>
              </a:extLst>
            </p:cNvPr>
            <p:cNvSpPr>
              <a:spLocks/>
            </p:cNvSpPr>
            <p:nvPr>
              <p:custDataLst>
                <p:tags r:id="rId38"/>
              </p:custDataLst>
            </p:nvPr>
          </p:nvSpPr>
          <p:spPr bwMode="auto">
            <a:xfrm>
              <a:off x="106" y="171"/>
              <a:ext cx="30" cy="30"/>
            </a:xfrm>
            <a:custGeom>
              <a:avLst/>
              <a:gdLst>
                <a:gd name="T0" fmla="*/ 0 w 65"/>
                <a:gd name="T1" fmla="*/ 20 h 66"/>
                <a:gd name="T2" fmla="*/ 20 w 65"/>
                <a:gd name="T3" fmla="*/ 66 h 66"/>
                <a:gd name="T4" fmla="*/ 65 w 65"/>
                <a:gd name="T5" fmla="*/ 46 h 66"/>
                <a:gd name="T6" fmla="*/ 45 w 65"/>
                <a:gd name="T7" fmla="*/ 0 h 66"/>
                <a:gd name="T8" fmla="*/ 0 w 65"/>
                <a:gd name="T9" fmla="*/ 20 h 66"/>
              </a:gdLst>
              <a:ahLst/>
              <a:cxnLst>
                <a:cxn ang="0">
                  <a:pos x="T0" y="T1"/>
                </a:cxn>
                <a:cxn ang="0">
                  <a:pos x="T2" y="T3"/>
                </a:cxn>
                <a:cxn ang="0">
                  <a:pos x="T4" y="T5"/>
                </a:cxn>
                <a:cxn ang="0">
                  <a:pos x="T6" y="T7"/>
                </a:cxn>
                <a:cxn ang="0">
                  <a:pos x="T8" y="T9"/>
                </a:cxn>
              </a:cxnLst>
              <a:rect l="0" t="0" r="r" b="b"/>
              <a:pathLst>
                <a:path w="65" h="66">
                  <a:moveTo>
                    <a:pt x="0" y="20"/>
                  </a:moveTo>
                  <a:lnTo>
                    <a:pt x="20" y="66"/>
                  </a:lnTo>
                  <a:lnTo>
                    <a:pt x="65" y="46"/>
                  </a:lnTo>
                  <a:lnTo>
                    <a:pt x="45"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Checkered_Flag2">
              <a:extLst>
                <a:ext uri="{FF2B5EF4-FFF2-40B4-BE49-F238E27FC236}">
                  <a16:creationId xmlns:a16="http://schemas.microsoft.com/office/drawing/2014/main" id="{BAD34840-B4AA-4952-A60C-8367E72CD6EB}"/>
                </a:ext>
              </a:extLst>
            </p:cNvPr>
            <p:cNvSpPr>
              <a:spLocks/>
            </p:cNvSpPr>
            <p:nvPr>
              <p:custDataLst>
                <p:tags r:id="rId39"/>
              </p:custDataLst>
            </p:nvPr>
          </p:nvSpPr>
          <p:spPr bwMode="auto">
            <a:xfrm>
              <a:off x="63" y="189"/>
              <a:ext cx="31" cy="30"/>
            </a:xfrm>
            <a:custGeom>
              <a:avLst/>
              <a:gdLst>
                <a:gd name="T0" fmla="*/ 0 w 66"/>
                <a:gd name="T1" fmla="*/ 20 h 65"/>
                <a:gd name="T2" fmla="*/ 20 w 66"/>
                <a:gd name="T3" fmla="*/ 65 h 65"/>
                <a:gd name="T4" fmla="*/ 66 w 66"/>
                <a:gd name="T5" fmla="*/ 46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Checkered_Flag2">
              <a:extLst>
                <a:ext uri="{FF2B5EF4-FFF2-40B4-BE49-F238E27FC236}">
                  <a16:creationId xmlns:a16="http://schemas.microsoft.com/office/drawing/2014/main" id="{0A09DB47-4A90-4ADF-A915-F5BF29819694}"/>
                </a:ext>
              </a:extLst>
            </p:cNvPr>
            <p:cNvSpPr>
              <a:spLocks/>
            </p:cNvSpPr>
            <p:nvPr>
              <p:custDataLst>
                <p:tags r:id="rId40"/>
              </p:custDataLst>
            </p:nvPr>
          </p:nvSpPr>
          <p:spPr bwMode="auto">
            <a:xfrm>
              <a:off x="190" y="134"/>
              <a:ext cx="31" cy="30"/>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Checkered_Flag2">
              <a:extLst>
                <a:ext uri="{FF2B5EF4-FFF2-40B4-BE49-F238E27FC236}">
                  <a16:creationId xmlns:a16="http://schemas.microsoft.com/office/drawing/2014/main" id="{BBF59086-497F-4EF9-BCE2-6E359FA7F69F}"/>
                </a:ext>
              </a:extLst>
            </p:cNvPr>
            <p:cNvSpPr>
              <a:spLocks/>
            </p:cNvSpPr>
            <p:nvPr>
              <p:custDataLst>
                <p:tags r:id="rId41"/>
              </p:custDataLst>
            </p:nvPr>
          </p:nvSpPr>
          <p:spPr bwMode="auto">
            <a:xfrm>
              <a:off x="51" y="219"/>
              <a:ext cx="31" cy="31"/>
            </a:xfrm>
            <a:custGeom>
              <a:avLst/>
              <a:gdLst>
                <a:gd name="T0" fmla="*/ 0 w 66"/>
                <a:gd name="T1" fmla="*/ 20 h 66"/>
                <a:gd name="T2" fmla="*/ 20 w 66"/>
                <a:gd name="T3" fmla="*/ 66 h 66"/>
                <a:gd name="T4" fmla="*/ 66 w 66"/>
                <a:gd name="T5" fmla="*/ 46 h 66"/>
                <a:gd name="T6" fmla="*/ 46 w 66"/>
                <a:gd name="T7" fmla="*/ 0 h 66"/>
                <a:gd name="T8" fmla="*/ 0 w 66"/>
                <a:gd name="T9" fmla="*/ 20 h 66"/>
              </a:gdLst>
              <a:ahLst/>
              <a:cxnLst>
                <a:cxn ang="0">
                  <a:pos x="T0" y="T1"/>
                </a:cxn>
                <a:cxn ang="0">
                  <a:pos x="T2" y="T3"/>
                </a:cxn>
                <a:cxn ang="0">
                  <a:pos x="T4" y="T5"/>
                </a:cxn>
                <a:cxn ang="0">
                  <a:pos x="T6" y="T7"/>
                </a:cxn>
                <a:cxn ang="0">
                  <a:pos x="T8" y="T9"/>
                </a:cxn>
              </a:cxnLst>
              <a:rect l="0" t="0" r="r" b="b"/>
              <a:pathLst>
                <a:path w="66" h="66">
                  <a:moveTo>
                    <a:pt x="0" y="20"/>
                  </a:moveTo>
                  <a:lnTo>
                    <a:pt x="20" y="66"/>
                  </a:lnTo>
                  <a:lnTo>
                    <a:pt x="66" y="46"/>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Checkered_Flag2">
              <a:extLst>
                <a:ext uri="{FF2B5EF4-FFF2-40B4-BE49-F238E27FC236}">
                  <a16:creationId xmlns:a16="http://schemas.microsoft.com/office/drawing/2014/main" id="{A0F70765-E0CA-4BEA-927D-F0BEF0FCC7EE}"/>
                </a:ext>
              </a:extLst>
            </p:cNvPr>
            <p:cNvSpPr>
              <a:spLocks/>
            </p:cNvSpPr>
            <p:nvPr>
              <p:custDataLst>
                <p:tags r:id="rId42"/>
              </p:custDataLst>
            </p:nvPr>
          </p:nvSpPr>
          <p:spPr bwMode="auto">
            <a:xfrm>
              <a:off x="94" y="201"/>
              <a:ext cx="30"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Checkered_Flag2">
              <a:extLst>
                <a:ext uri="{FF2B5EF4-FFF2-40B4-BE49-F238E27FC236}">
                  <a16:creationId xmlns:a16="http://schemas.microsoft.com/office/drawing/2014/main" id="{13AC115A-50A8-42D7-8282-CD3847601FBB}"/>
                </a:ext>
              </a:extLst>
            </p:cNvPr>
            <p:cNvSpPr>
              <a:spLocks/>
            </p:cNvSpPr>
            <p:nvPr>
              <p:custDataLst>
                <p:tags r:id="rId43"/>
              </p:custDataLst>
            </p:nvPr>
          </p:nvSpPr>
          <p:spPr bwMode="auto">
            <a:xfrm>
              <a:off x="136" y="183"/>
              <a:ext cx="30"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Checkered_Flag2">
              <a:extLst>
                <a:ext uri="{FF2B5EF4-FFF2-40B4-BE49-F238E27FC236}">
                  <a16:creationId xmlns:a16="http://schemas.microsoft.com/office/drawing/2014/main" id="{30C63D7F-5655-4D7B-AC21-0A352DFB7EFF}"/>
                </a:ext>
              </a:extLst>
            </p:cNvPr>
            <p:cNvSpPr>
              <a:spLocks/>
            </p:cNvSpPr>
            <p:nvPr>
              <p:custDataLst>
                <p:tags r:id="rId44"/>
              </p:custDataLst>
            </p:nvPr>
          </p:nvSpPr>
          <p:spPr bwMode="auto">
            <a:xfrm>
              <a:off x="178" y="164"/>
              <a:ext cx="31" cy="30"/>
            </a:xfrm>
            <a:custGeom>
              <a:avLst/>
              <a:gdLst>
                <a:gd name="T0" fmla="*/ 0 w 66"/>
                <a:gd name="T1" fmla="*/ 20 h 65"/>
                <a:gd name="T2" fmla="*/ 20 w 66"/>
                <a:gd name="T3" fmla="*/ 65 h 65"/>
                <a:gd name="T4" fmla="*/ 66 w 66"/>
                <a:gd name="T5" fmla="*/ 45 h 65"/>
                <a:gd name="T6" fmla="*/ 46 w 66"/>
                <a:gd name="T7" fmla="*/ 0 h 65"/>
                <a:gd name="T8" fmla="*/ 0 w 66"/>
                <a:gd name="T9" fmla="*/ 20 h 65"/>
              </a:gdLst>
              <a:ahLst/>
              <a:cxnLst>
                <a:cxn ang="0">
                  <a:pos x="T0" y="T1"/>
                </a:cxn>
                <a:cxn ang="0">
                  <a:pos x="T2" y="T3"/>
                </a:cxn>
                <a:cxn ang="0">
                  <a:pos x="T4" y="T5"/>
                </a:cxn>
                <a:cxn ang="0">
                  <a:pos x="T6" y="T7"/>
                </a:cxn>
                <a:cxn ang="0">
                  <a:pos x="T8" y="T9"/>
                </a:cxn>
              </a:cxnLst>
              <a:rect l="0" t="0" r="r" b="b"/>
              <a:pathLst>
                <a:path w="66" h="65">
                  <a:moveTo>
                    <a:pt x="0" y="20"/>
                  </a:moveTo>
                  <a:lnTo>
                    <a:pt x="20" y="65"/>
                  </a:lnTo>
                  <a:lnTo>
                    <a:pt x="66" y="45"/>
                  </a:lnTo>
                  <a:lnTo>
                    <a:pt x="46" y="0"/>
                  </a:lnTo>
                  <a:lnTo>
                    <a:pt x="0" y="2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Checkered_Flag2">
              <a:extLst>
                <a:ext uri="{FF2B5EF4-FFF2-40B4-BE49-F238E27FC236}">
                  <a16:creationId xmlns:a16="http://schemas.microsoft.com/office/drawing/2014/main" id="{CF7546BF-1381-4600-9589-00A441CC1E84}"/>
                </a:ext>
              </a:extLst>
            </p:cNvPr>
            <p:cNvSpPr>
              <a:spLocks/>
            </p:cNvSpPr>
            <p:nvPr>
              <p:custDataLst>
                <p:tags r:id="rId45"/>
              </p:custDataLst>
            </p:nvPr>
          </p:nvSpPr>
          <p:spPr bwMode="auto">
            <a:xfrm>
              <a:off x="181" y="61"/>
              <a:ext cx="133" cy="281"/>
            </a:xfrm>
            <a:custGeom>
              <a:avLst/>
              <a:gdLst>
                <a:gd name="T0" fmla="*/ 0 w 287"/>
                <a:gd name="T1" fmla="*/ 12 h 608"/>
                <a:gd name="T2" fmla="*/ 27 w 287"/>
                <a:gd name="T3" fmla="*/ 0 h 608"/>
                <a:gd name="T4" fmla="*/ 287 w 287"/>
                <a:gd name="T5" fmla="*/ 596 h 608"/>
                <a:gd name="T6" fmla="*/ 259 w 287"/>
                <a:gd name="T7" fmla="*/ 608 h 608"/>
                <a:gd name="T8" fmla="*/ 0 w 287"/>
                <a:gd name="T9" fmla="*/ 12 h 608"/>
              </a:gdLst>
              <a:ahLst/>
              <a:cxnLst>
                <a:cxn ang="0">
                  <a:pos x="T0" y="T1"/>
                </a:cxn>
                <a:cxn ang="0">
                  <a:pos x="T2" y="T3"/>
                </a:cxn>
                <a:cxn ang="0">
                  <a:pos x="T4" y="T5"/>
                </a:cxn>
                <a:cxn ang="0">
                  <a:pos x="T6" y="T7"/>
                </a:cxn>
                <a:cxn ang="0">
                  <a:pos x="T8" y="T9"/>
                </a:cxn>
              </a:cxnLst>
              <a:rect l="0" t="0" r="r" b="b"/>
              <a:pathLst>
                <a:path w="287" h="608">
                  <a:moveTo>
                    <a:pt x="0" y="12"/>
                  </a:moveTo>
                  <a:lnTo>
                    <a:pt x="27" y="0"/>
                  </a:lnTo>
                  <a:lnTo>
                    <a:pt x="287" y="596"/>
                  </a:lnTo>
                  <a:lnTo>
                    <a:pt x="259" y="608"/>
                  </a:lnTo>
                  <a:lnTo>
                    <a:pt x="0" y="12"/>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Checkered_Flag2">
              <a:extLst>
                <a:ext uri="{FF2B5EF4-FFF2-40B4-BE49-F238E27FC236}">
                  <a16:creationId xmlns:a16="http://schemas.microsoft.com/office/drawing/2014/main" id="{1C84D220-4966-4596-83D4-6AED4CAC70CC}"/>
                </a:ext>
              </a:extLst>
            </p:cNvPr>
            <p:cNvSpPr>
              <a:spLocks/>
            </p:cNvSpPr>
            <p:nvPr>
              <p:custDataLst>
                <p:tags r:id="rId46"/>
              </p:custDataLst>
            </p:nvPr>
          </p:nvSpPr>
          <p:spPr bwMode="auto">
            <a:xfrm>
              <a:off x="166" y="61"/>
              <a:ext cx="133" cy="281"/>
            </a:xfrm>
            <a:custGeom>
              <a:avLst/>
              <a:gdLst>
                <a:gd name="T0" fmla="*/ 261 w 289"/>
                <a:gd name="T1" fmla="*/ 0 h 607"/>
                <a:gd name="T2" fmla="*/ 289 w 289"/>
                <a:gd name="T3" fmla="*/ 12 h 607"/>
                <a:gd name="T4" fmla="*/ 28 w 289"/>
                <a:gd name="T5" fmla="*/ 607 h 607"/>
                <a:gd name="T6" fmla="*/ 0 w 289"/>
                <a:gd name="T7" fmla="*/ 595 h 607"/>
                <a:gd name="T8" fmla="*/ 261 w 289"/>
                <a:gd name="T9" fmla="*/ 0 h 607"/>
              </a:gdLst>
              <a:ahLst/>
              <a:cxnLst>
                <a:cxn ang="0">
                  <a:pos x="T0" y="T1"/>
                </a:cxn>
                <a:cxn ang="0">
                  <a:pos x="T2" y="T3"/>
                </a:cxn>
                <a:cxn ang="0">
                  <a:pos x="T4" y="T5"/>
                </a:cxn>
                <a:cxn ang="0">
                  <a:pos x="T6" y="T7"/>
                </a:cxn>
                <a:cxn ang="0">
                  <a:pos x="T8" y="T9"/>
                </a:cxn>
              </a:cxnLst>
              <a:rect l="0" t="0" r="r" b="b"/>
              <a:pathLst>
                <a:path w="289" h="607">
                  <a:moveTo>
                    <a:pt x="261" y="0"/>
                  </a:moveTo>
                  <a:lnTo>
                    <a:pt x="289" y="12"/>
                  </a:lnTo>
                  <a:lnTo>
                    <a:pt x="28" y="607"/>
                  </a:lnTo>
                  <a:lnTo>
                    <a:pt x="0" y="595"/>
                  </a:lnTo>
                  <a:lnTo>
                    <a:pt x="261" y="0"/>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67649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a:latin typeface="Neue Haas Grotesk Text Pro" panose="020B0504020202020204" pitchFamily="34" charset="0"/>
              </a:rPr>
              <a:t>Solution Architecture</a:t>
            </a:r>
            <a:endParaRPr lang="en-US">
              <a:latin typeface="Neue Haas Grotesk Text Pro" panose="020B0504020202020204" pitchFamily="34" charset="0"/>
            </a:endParaRPr>
          </a:p>
        </p:txBody>
      </p:sp>
      <p:pic>
        <p:nvPicPr>
          <p:cNvPr id="1038" name="Picture 14" descr="Introduction to AWS Fargate - Instana">
            <a:extLst>
              <a:ext uri="{FF2B5EF4-FFF2-40B4-BE49-F238E27FC236}">
                <a16:creationId xmlns:a16="http://schemas.microsoft.com/office/drawing/2014/main" id="{869F96D6-013D-4FC6-AD07-61AECB7B0E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63728"/>
          <a:stretch/>
        </p:blipFill>
        <p:spPr bwMode="auto">
          <a:xfrm>
            <a:off x="4633112" y="5504002"/>
            <a:ext cx="2909008" cy="840767"/>
          </a:xfrm>
          <a:prstGeom prst="rect">
            <a:avLst/>
          </a:prstGeom>
          <a:noFill/>
          <a:extLst>
            <a:ext uri="{909E8E84-426E-40DD-AFC4-6F175D3DCCD1}">
              <a14:hiddenFill xmlns:a14="http://schemas.microsoft.com/office/drawing/2010/main">
                <a:solidFill>
                  <a:srgbClr val="FFFFFF"/>
                </a:solidFill>
              </a14:hiddenFill>
            </a:ext>
          </a:extLst>
        </p:spPr>
      </p:pic>
      <p:sp>
        <p:nvSpPr>
          <p:cNvPr id="69" name="Google Shape;413;p21">
            <a:extLst>
              <a:ext uri="{FF2B5EF4-FFF2-40B4-BE49-F238E27FC236}">
                <a16:creationId xmlns:a16="http://schemas.microsoft.com/office/drawing/2014/main" id="{A30E17AB-675D-4466-9E0D-F191D0D99A70}"/>
              </a:ext>
            </a:extLst>
          </p:cNvPr>
          <p:cNvSpPr/>
          <p:nvPr/>
        </p:nvSpPr>
        <p:spPr>
          <a:xfrm>
            <a:off x="1199050" y="3089129"/>
            <a:ext cx="4135127" cy="2158822"/>
          </a:xfrm>
          <a:prstGeom prst="roundRect">
            <a:avLst>
              <a:gd name="adj" fmla="val 16667"/>
            </a:avLst>
          </a:prstGeom>
          <a:solidFill>
            <a:srgbClr val="023D67"/>
          </a:solidFill>
          <a:ln>
            <a:noFill/>
          </a:ln>
        </p:spPr>
        <p:txBody>
          <a:bodyPr spcFirstLastPara="1" wrap="square" lIns="121900" tIns="121900" rIns="121900" bIns="121900" anchor="ctr" anchorCtr="0">
            <a:noAutofit/>
          </a:bodyPr>
          <a:lstStyle/>
          <a:p>
            <a:endParaRPr sz="2400"/>
          </a:p>
        </p:txBody>
      </p:sp>
      <p:grpSp>
        <p:nvGrpSpPr>
          <p:cNvPr id="70" name="Google Shape;414;p21">
            <a:extLst>
              <a:ext uri="{FF2B5EF4-FFF2-40B4-BE49-F238E27FC236}">
                <a16:creationId xmlns:a16="http://schemas.microsoft.com/office/drawing/2014/main" id="{BAC988E4-7BA2-49E5-A9E6-CCEB6F80A0E8}"/>
              </a:ext>
            </a:extLst>
          </p:cNvPr>
          <p:cNvGrpSpPr/>
          <p:nvPr/>
        </p:nvGrpSpPr>
        <p:grpSpPr>
          <a:xfrm>
            <a:off x="1996304" y="3422097"/>
            <a:ext cx="3337873" cy="1475790"/>
            <a:chOff x="3233501" y="1886975"/>
            <a:chExt cx="3061624" cy="401100"/>
          </a:xfrm>
        </p:grpSpPr>
        <p:sp>
          <p:nvSpPr>
            <p:cNvPr id="80" name="Google Shape;415;p21">
              <a:extLst>
                <a:ext uri="{FF2B5EF4-FFF2-40B4-BE49-F238E27FC236}">
                  <a16:creationId xmlns:a16="http://schemas.microsoft.com/office/drawing/2014/main" id="{961BA79F-B0CA-42BC-B021-7ED7D939FD9C}"/>
                </a:ext>
              </a:extLst>
            </p:cNvPr>
            <p:cNvSpPr/>
            <p:nvPr/>
          </p:nvSpPr>
          <p:spPr>
            <a:xfrm rot="10800000">
              <a:off x="3233501" y="1887044"/>
              <a:ext cx="1918625" cy="400831"/>
            </a:xfrm>
            <a:custGeom>
              <a:avLst/>
              <a:gdLst/>
              <a:ahLst/>
              <a:cxnLst/>
              <a:rect l="l" t="t" r="r" b="b"/>
              <a:pathLst>
                <a:path w="93763" h="25349" extrusionOk="0">
                  <a:moveTo>
                    <a:pt x="0" y="0"/>
                  </a:moveTo>
                  <a:lnTo>
                    <a:pt x="0" y="25348"/>
                  </a:lnTo>
                  <a:lnTo>
                    <a:pt x="82499" y="25348"/>
                  </a:lnTo>
                  <a:cubicBezTo>
                    <a:pt x="88726" y="25348"/>
                    <a:pt x="93762" y="20300"/>
                    <a:pt x="93762" y="14085"/>
                  </a:cubicBezTo>
                  <a:lnTo>
                    <a:pt x="93762" y="11275"/>
                  </a:lnTo>
                  <a:cubicBezTo>
                    <a:pt x="93762" y="5048"/>
                    <a:pt x="88726" y="0"/>
                    <a:pt x="82499"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81" name="Google Shape;416;p21">
              <a:extLst>
                <a:ext uri="{FF2B5EF4-FFF2-40B4-BE49-F238E27FC236}">
                  <a16:creationId xmlns:a16="http://schemas.microsoft.com/office/drawing/2014/main" id="{158A57C0-7E22-441C-BED7-0F878768148B}"/>
                </a:ext>
              </a:extLst>
            </p:cNvPr>
            <p:cNvSpPr/>
            <p:nvPr/>
          </p:nvSpPr>
          <p:spPr>
            <a:xfrm rot="10800000">
              <a:off x="5095125" y="1886975"/>
              <a:ext cx="1200000" cy="401100"/>
            </a:xfrm>
            <a:prstGeom prst="rect">
              <a:avLst/>
            </a:prstGeom>
            <a:solidFill>
              <a:schemeClr val="lt2"/>
            </a:solidFill>
            <a:ln>
              <a:noFill/>
            </a:ln>
          </p:spPr>
          <p:txBody>
            <a:bodyPr spcFirstLastPara="1" wrap="square" lIns="121900" tIns="121900" rIns="121900" bIns="121900" anchor="ctr" anchorCtr="0">
              <a:noAutofit/>
            </a:bodyPr>
            <a:lstStyle/>
            <a:p>
              <a:endParaRPr sz="2400"/>
            </a:p>
          </p:txBody>
        </p:sp>
      </p:grpSp>
      <p:grpSp>
        <p:nvGrpSpPr>
          <p:cNvPr id="71" name="Group 70">
            <a:extLst>
              <a:ext uri="{FF2B5EF4-FFF2-40B4-BE49-F238E27FC236}">
                <a16:creationId xmlns:a16="http://schemas.microsoft.com/office/drawing/2014/main" id="{5E3ABDAB-D485-4CA1-B76A-1926118275F3}"/>
              </a:ext>
            </a:extLst>
          </p:cNvPr>
          <p:cNvGrpSpPr/>
          <p:nvPr/>
        </p:nvGrpSpPr>
        <p:grpSpPr>
          <a:xfrm>
            <a:off x="849882" y="2795642"/>
            <a:ext cx="927923" cy="928429"/>
            <a:chOff x="3754548" y="3846893"/>
            <a:chExt cx="927923" cy="928429"/>
          </a:xfrm>
        </p:grpSpPr>
        <p:grpSp>
          <p:nvGrpSpPr>
            <p:cNvPr id="76" name="Google Shape;417;p21">
              <a:extLst>
                <a:ext uri="{FF2B5EF4-FFF2-40B4-BE49-F238E27FC236}">
                  <a16:creationId xmlns:a16="http://schemas.microsoft.com/office/drawing/2014/main" id="{65DF9B92-67CC-41E6-9BAF-E210C3C51F17}"/>
                </a:ext>
              </a:extLst>
            </p:cNvPr>
            <p:cNvGrpSpPr/>
            <p:nvPr/>
          </p:nvGrpSpPr>
          <p:grpSpPr>
            <a:xfrm>
              <a:off x="3754548" y="3846893"/>
              <a:ext cx="927923" cy="928429"/>
              <a:chOff x="2908522" y="2544993"/>
              <a:chExt cx="695942" cy="696322"/>
            </a:xfrm>
          </p:grpSpPr>
          <p:sp>
            <p:nvSpPr>
              <p:cNvPr id="78" name="Google Shape;418;p21">
                <a:extLst>
                  <a:ext uri="{FF2B5EF4-FFF2-40B4-BE49-F238E27FC236}">
                    <a16:creationId xmlns:a16="http://schemas.microsoft.com/office/drawing/2014/main" id="{DEEAEF93-D827-4627-9D9E-AF7FDC0E112A}"/>
                  </a:ext>
                </a:extLst>
              </p:cNvPr>
              <p:cNvSpPr/>
              <p:nvPr/>
            </p:nvSpPr>
            <p:spPr>
              <a:xfrm>
                <a:off x="3012566" y="2654405"/>
                <a:ext cx="487856" cy="487824"/>
              </a:xfrm>
              <a:custGeom>
                <a:avLst/>
                <a:gdLst/>
                <a:ahLst/>
                <a:cxnLst/>
                <a:rect l="l" t="t" r="r" b="b"/>
                <a:pathLst>
                  <a:path w="15408" h="15407" extrusionOk="0">
                    <a:moveTo>
                      <a:pt x="1" y="8049"/>
                    </a:moveTo>
                    <a:lnTo>
                      <a:pt x="1" y="7346"/>
                    </a:lnTo>
                    <a:cubicBezTo>
                      <a:pt x="1" y="3286"/>
                      <a:pt x="3299" y="0"/>
                      <a:pt x="7359" y="0"/>
                    </a:cubicBezTo>
                    <a:lnTo>
                      <a:pt x="8061" y="0"/>
                    </a:lnTo>
                    <a:cubicBezTo>
                      <a:pt x="12121" y="0"/>
                      <a:pt x="15407" y="3286"/>
                      <a:pt x="15407" y="7346"/>
                    </a:cubicBezTo>
                    <a:lnTo>
                      <a:pt x="15407" y="8049"/>
                    </a:lnTo>
                    <a:cubicBezTo>
                      <a:pt x="15407" y="12109"/>
                      <a:pt x="12121" y="15407"/>
                      <a:pt x="8061" y="15407"/>
                    </a:cubicBezTo>
                    <a:lnTo>
                      <a:pt x="7359" y="15407"/>
                    </a:lnTo>
                    <a:cubicBezTo>
                      <a:pt x="3299" y="15407"/>
                      <a:pt x="1" y="12109"/>
                      <a:pt x="1" y="8049"/>
                    </a:cubicBezTo>
                    <a:close/>
                  </a:path>
                </a:pathLst>
              </a:custGeom>
              <a:solidFill>
                <a:srgbClr val="ECECEC"/>
              </a:solidFill>
              <a:ln>
                <a:noFill/>
              </a:ln>
            </p:spPr>
            <p:txBody>
              <a:bodyPr spcFirstLastPara="1" wrap="square" lIns="121900" tIns="121900" rIns="121900" bIns="121900" anchor="ctr" anchorCtr="0">
                <a:noAutofit/>
              </a:bodyPr>
              <a:lstStyle/>
              <a:p>
                <a:endParaRPr sz="2400"/>
              </a:p>
            </p:txBody>
          </p:sp>
          <p:sp>
            <p:nvSpPr>
              <p:cNvPr id="79" name="Google Shape;419;p21">
                <a:extLst>
                  <a:ext uri="{FF2B5EF4-FFF2-40B4-BE49-F238E27FC236}">
                    <a16:creationId xmlns:a16="http://schemas.microsoft.com/office/drawing/2014/main" id="{55687C0D-CF67-4BC3-99F0-0EA03E26BCE0}"/>
                  </a:ext>
                </a:extLst>
              </p:cNvPr>
              <p:cNvSpPr/>
              <p:nvPr/>
            </p:nvSpPr>
            <p:spPr>
              <a:xfrm>
                <a:off x="2908522" y="2544993"/>
                <a:ext cx="695942" cy="696322"/>
              </a:xfrm>
              <a:custGeom>
                <a:avLst/>
                <a:gdLst/>
                <a:ahLst/>
                <a:cxnLst/>
                <a:rect l="l" t="t" r="r" b="b"/>
                <a:pathLst>
                  <a:path w="21980" h="21992" fill="none" extrusionOk="0">
                    <a:moveTo>
                      <a:pt x="1" y="11502"/>
                    </a:moveTo>
                    <a:lnTo>
                      <a:pt x="1" y="10502"/>
                    </a:lnTo>
                    <a:cubicBezTo>
                      <a:pt x="1" y="4715"/>
                      <a:pt x="4704" y="0"/>
                      <a:pt x="10490" y="0"/>
                    </a:cubicBezTo>
                    <a:lnTo>
                      <a:pt x="11490" y="0"/>
                    </a:lnTo>
                    <a:cubicBezTo>
                      <a:pt x="17277" y="0"/>
                      <a:pt x="21980" y="4715"/>
                      <a:pt x="21980" y="10502"/>
                    </a:cubicBezTo>
                    <a:lnTo>
                      <a:pt x="21980" y="11502"/>
                    </a:lnTo>
                    <a:cubicBezTo>
                      <a:pt x="21980" y="17288"/>
                      <a:pt x="17277" y="21991"/>
                      <a:pt x="11490" y="21991"/>
                    </a:cubicBezTo>
                    <a:lnTo>
                      <a:pt x="10490" y="21991"/>
                    </a:lnTo>
                    <a:cubicBezTo>
                      <a:pt x="4704" y="21991"/>
                      <a:pt x="1" y="17288"/>
                      <a:pt x="1" y="11502"/>
                    </a:cubicBezTo>
                    <a:close/>
                  </a:path>
                </a:pathLst>
              </a:custGeom>
              <a:noFill/>
              <a:ln w="7150" cap="flat" cmpd="sng">
                <a:solidFill>
                  <a:schemeClr val="dk1"/>
                </a:solidFill>
                <a:prstDash val="solid"/>
                <a:miter lim="11906"/>
                <a:headEnd type="none" w="sm" len="sm"/>
                <a:tailEnd type="none" w="sm" len="sm"/>
              </a:ln>
            </p:spPr>
            <p:txBody>
              <a:bodyPr spcFirstLastPara="1" wrap="square" lIns="121900" tIns="121900" rIns="121900" bIns="121900" anchor="ctr" anchorCtr="0">
                <a:noAutofit/>
              </a:bodyPr>
              <a:lstStyle/>
              <a:p>
                <a:endParaRPr sz="2400"/>
              </a:p>
            </p:txBody>
          </p:sp>
        </p:grpSp>
        <p:pic>
          <p:nvPicPr>
            <p:cNvPr id="77" name="Picture 2" descr="Docker Logos and Photos | Docker">
              <a:extLst>
                <a:ext uri="{FF2B5EF4-FFF2-40B4-BE49-F238E27FC236}">
                  <a16:creationId xmlns:a16="http://schemas.microsoft.com/office/drawing/2014/main" id="{CFE3B5F2-D84A-42A5-9AC7-70D235E7CC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75815" y="4086308"/>
              <a:ext cx="485387" cy="415305"/>
            </a:xfrm>
            <a:prstGeom prst="rect">
              <a:avLst/>
            </a:prstGeom>
            <a:noFill/>
            <a:extLst>
              <a:ext uri="{909E8E84-426E-40DD-AFC4-6F175D3DCCD1}">
                <a14:hiddenFill xmlns:a14="http://schemas.microsoft.com/office/drawing/2010/main">
                  <a:solidFill>
                    <a:srgbClr val="FFFFFF"/>
                  </a:solidFill>
                </a14:hiddenFill>
              </a:ext>
            </a:extLst>
          </p:spPr>
        </p:pic>
      </p:grpSp>
      <p:sp>
        <p:nvSpPr>
          <p:cNvPr id="74" name="Text Placeholder 54">
            <a:extLst>
              <a:ext uri="{FF2B5EF4-FFF2-40B4-BE49-F238E27FC236}">
                <a16:creationId xmlns:a16="http://schemas.microsoft.com/office/drawing/2014/main" id="{A433FA9B-BBCF-48FE-86E0-860555F9D6FA}"/>
              </a:ext>
            </a:extLst>
          </p:cNvPr>
          <p:cNvSpPr txBox="1">
            <a:spLocks/>
          </p:cNvSpPr>
          <p:nvPr/>
        </p:nvSpPr>
        <p:spPr>
          <a:xfrm>
            <a:off x="3839524" y="3662259"/>
            <a:ext cx="1502269" cy="3225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Responsive Interface</a:t>
            </a:r>
          </a:p>
          <a:p>
            <a:pPr lvl="1" algn="just"/>
            <a:endParaRPr lang="en-SG" sz="1500">
              <a:latin typeface="Neue Haas Grotesk Text Pro" panose="020B0504020202020204" pitchFamily="34" charset="0"/>
            </a:endParaRPr>
          </a:p>
          <a:p>
            <a:pPr algn="just"/>
            <a:endParaRPr lang="en-SG" sz="1500">
              <a:latin typeface="Neue Haas Grotesk Text Pro" panose="020B0504020202020204" pitchFamily="34" charset="0"/>
            </a:endParaRPr>
          </a:p>
        </p:txBody>
      </p:sp>
      <p:sp>
        <p:nvSpPr>
          <p:cNvPr id="75" name="Text Placeholder 54">
            <a:extLst>
              <a:ext uri="{FF2B5EF4-FFF2-40B4-BE49-F238E27FC236}">
                <a16:creationId xmlns:a16="http://schemas.microsoft.com/office/drawing/2014/main" id="{6B820466-14F0-4B9A-B46E-BD5FDAE001C8}"/>
              </a:ext>
            </a:extLst>
          </p:cNvPr>
          <p:cNvSpPr txBox="1">
            <a:spLocks/>
          </p:cNvSpPr>
          <p:nvPr/>
        </p:nvSpPr>
        <p:spPr>
          <a:xfrm>
            <a:off x="3839524" y="4289611"/>
            <a:ext cx="1622554" cy="3225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Web Server</a:t>
            </a:r>
          </a:p>
          <a:p>
            <a:pPr lvl="1" algn="just"/>
            <a:endParaRPr lang="en-SG" sz="1500">
              <a:latin typeface="Neue Haas Grotesk Text Pro" panose="020B0504020202020204" pitchFamily="34" charset="0"/>
            </a:endParaRPr>
          </a:p>
          <a:p>
            <a:pPr algn="just"/>
            <a:endParaRPr lang="en-SG" sz="1500">
              <a:latin typeface="Neue Haas Grotesk Text Pro" panose="020B0504020202020204" pitchFamily="34" charset="0"/>
            </a:endParaRPr>
          </a:p>
        </p:txBody>
      </p:sp>
      <p:pic>
        <p:nvPicPr>
          <p:cNvPr id="1044" name="Picture 20" descr="How express.js works - Understanding the internals of the express library  ⚙️ - Soham's blog">
            <a:extLst>
              <a:ext uri="{FF2B5EF4-FFF2-40B4-BE49-F238E27FC236}">
                <a16:creationId xmlns:a16="http://schemas.microsoft.com/office/drawing/2014/main" id="{F4339027-1F8C-4F6D-B08D-4DED0F1A4C0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3444" y="4242862"/>
            <a:ext cx="1182424" cy="49006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F8759562-E877-4FE0-B32A-936E06840B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7325" y="3487389"/>
            <a:ext cx="883667" cy="62409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mazon RDS | Cloud Relational Database | Amazon Web Services">
            <a:extLst>
              <a:ext uri="{FF2B5EF4-FFF2-40B4-BE49-F238E27FC236}">
                <a16:creationId xmlns:a16="http://schemas.microsoft.com/office/drawing/2014/main" id="{C46FFE67-D7FE-4303-9780-BD3D176F361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73625" y="752670"/>
            <a:ext cx="1087349" cy="1087349"/>
          </a:xfrm>
          <a:prstGeom prst="rect">
            <a:avLst/>
          </a:prstGeom>
          <a:noFill/>
          <a:extLst>
            <a:ext uri="{909E8E84-426E-40DD-AFC4-6F175D3DCCD1}">
              <a14:hiddenFill xmlns:a14="http://schemas.microsoft.com/office/drawing/2010/main">
                <a:solidFill>
                  <a:srgbClr val="FFFFFF"/>
                </a:solidFill>
              </a14:hiddenFill>
            </a:ext>
          </a:extLst>
        </p:spPr>
      </p:pic>
      <p:sp>
        <p:nvSpPr>
          <p:cNvPr id="55" name="Google Shape;413;p21">
            <a:extLst>
              <a:ext uri="{FF2B5EF4-FFF2-40B4-BE49-F238E27FC236}">
                <a16:creationId xmlns:a16="http://schemas.microsoft.com/office/drawing/2014/main" id="{F08EA21A-E18D-46B7-8514-779C00B93EB7}"/>
              </a:ext>
            </a:extLst>
          </p:cNvPr>
          <p:cNvSpPr/>
          <p:nvPr/>
        </p:nvSpPr>
        <p:spPr>
          <a:xfrm>
            <a:off x="6963365" y="3089129"/>
            <a:ext cx="4135127" cy="2158822"/>
          </a:xfrm>
          <a:prstGeom prst="roundRect">
            <a:avLst>
              <a:gd name="adj" fmla="val 16667"/>
            </a:avLst>
          </a:prstGeom>
          <a:solidFill>
            <a:srgbClr val="023D67"/>
          </a:solidFill>
          <a:ln>
            <a:noFill/>
          </a:ln>
        </p:spPr>
        <p:txBody>
          <a:bodyPr spcFirstLastPara="1" wrap="square" lIns="121900" tIns="121900" rIns="121900" bIns="121900" anchor="ctr" anchorCtr="0">
            <a:noAutofit/>
          </a:bodyPr>
          <a:lstStyle/>
          <a:p>
            <a:endParaRPr sz="2400"/>
          </a:p>
        </p:txBody>
      </p:sp>
      <p:grpSp>
        <p:nvGrpSpPr>
          <p:cNvPr id="56" name="Google Shape;414;p21">
            <a:extLst>
              <a:ext uri="{FF2B5EF4-FFF2-40B4-BE49-F238E27FC236}">
                <a16:creationId xmlns:a16="http://schemas.microsoft.com/office/drawing/2014/main" id="{2134906E-6675-418F-AE2F-DA5597322BDC}"/>
              </a:ext>
            </a:extLst>
          </p:cNvPr>
          <p:cNvGrpSpPr/>
          <p:nvPr/>
        </p:nvGrpSpPr>
        <p:grpSpPr>
          <a:xfrm>
            <a:off x="7760619" y="3422097"/>
            <a:ext cx="3337873" cy="1475790"/>
            <a:chOff x="3233501" y="1886975"/>
            <a:chExt cx="3061624" cy="401100"/>
          </a:xfrm>
        </p:grpSpPr>
        <p:sp>
          <p:nvSpPr>
            <p:cNvPr id="60" name="Google Shape;415;p21">
              <a:extLst>
                <a:ext uri="{FF2B5EF4-FFF2-40B4-BE49-F238E27FC236}">
                  <a16:creationId xmlns:a16="http://schemas.microsoft.com/office/drawing/2014/main" id="{0E76C503-02B3-4DDF-BEB1-A70DE8D5E57E}"/>
                </a:ext>
              </a:extLst>
            </p:cNvPr>
            <p:cNvSpPr/>
            <p:nvPr/>
          </p:nvSpPr>
          <p:spPr>
            <a:xfrm rot="10800000">
              <a:off x="3233501" y="1887044"/>
              <a:ext cx="1918625" cy="400831"/>
            </a:xfrm>
            <a:custGeom>
              <a:avLst/>
              <a:gdLst/>
              <a:ahLst/>
              <a:cxnLst/>
              <a:rect l="l" t="t" r="r" b="b"/>
              <a:pathLst>
                <a:path w="93763" h="25349" extrusionOk="0">
                  <a:moveTo>
                    <a:pt x="0" y="0"/>
                  </a:moveTo>
                  <a:lnTo>
                    <a:pt x="0" y="25348"/>
                  </a:lnTo>
                  <a:lnTo>
                    <a:pt x="82499" y="25348"/>
                  </a:lnTo>
                  <a:cubicBezTo>
                    <a:pt x="88726" y="25348"/>
                    <a:pt x="93762" y="20300"/>
                    <a:pt x="93762" y="14085"/>
                  </a:cubicBezTo>
                  <a:lnTo>
                    <a:pt x="93762" y="11275"/>
                  </a:lnTo>
                  <a:cubicBezTo>
                    <a:pt x="93762" y="5048"/>
                    <a:pt x="88726" y="0"/>
                    <a:pt x="82499" y="0"/>
                  </a:cubicBezTo>
                  <a:close/>
                </a:path>
              </a:pathLst>
            </a:custGeom>
            <a:solidFill>
              <a:schemeClr val="lt2"/>
            </a:solidFill>
            <a:ln>
              <a:noFill/>
            </a:ln>
          </p:spPr>
          <p:txBody>
            <a:bodyPr spcFirstLastPara="1" wrap="square" lIns="121900" tIns="121900" rIns="121900" bIns="121900" anchor="ctr" anchorCtr="0">
              <a:noAutofit/>
            </a:bodyPr>
            <a:lstStyle/>
            <a:p>
              <a:endParaRPr sz="2400"/>
            </a:p>
          </p:txBody>
        </p:sp>
        <p:sp>
          <p:nvSpPr>
            <p:cNvPr id="61" name="Google Shape;416;p21">
              <a:extLst>
                <a:ext uri="{FF2B5EF4-FFF2-40B4-BE49-F238E27FC236}">
                  <a16:creationId xmlns:a16="http://schemas.microsoft.com/office/drawing/2014/main" id="{19927878-AB1B-4A87-9E54-F2429DF9FB23}"/>
                </a:ext>
              </a:extLst>
            </p:cNvPr>
            <p:cNvSpPr/>
            <p:nvPr/>
          </p:nvSpPr>
          <p:spPr>
            <a:xfrm rot="10800000">
              <a:off x="5095125" y="1886975"/>
              <a:ext cx="1200000" cy="401100"/>
            </a:xfrm>
            <a:prstGeom prst="rect">
              <a:avLst/>
            </a:prstGeom>
            <a:solidFill>
              <a:schemeClr val="lt2"/>
            </a:solidFill>
            <a:ln>
              <a:noFill/>
            </a:ln>
          </p:spPr>
          <p:txBody>
            <a:bodyPr spcFirstLastPara="1" wrap="square" lIns="121900" tIns="121900" rIns="121900" bIns="121900" anchor="ctr" anchorCtr="0">
              <a:noAutofit/>
            </a:bodyPr>
            <a:lstStyle/>
            <a:p>
              <a:endParaRPr sz="2400"/>
            </a:p>
          </p:txBody>
        </p:sp>
      </p:grpSp>
      <p:grpSp>
        <p:nvGrpSpPr>
          <p:cNvPr id="34" name="Group 33">
            <a:extLst>
              <a:ext uri="{FF2B5EF4-FFF2-40B4-BE49-F238E27FC236}">
                <a16:creationId xmlns:a16="http://schemas.microsoft.com/office/drawing/2014/main" id="{49D9B218-E7DE-4EA4-9A48-6B90A6DB7DFF}"/>
              </a:ext>
            </a:extLst>
          </p:cNvPr>
          <p:cNvGrpSpPr/>
          <p:nvPr/>
        </p:nvGrpSpPr>
        <p:grpSpPr>
          <a:xfrm>
            <a:off x="6614197" y="2795642"/>
            <a:ext cx="927923" cy="928429"/>
            <a:chOff x="3754548" y="3846893"/>
            <a:chExt cx="927923" cy="928429"/>
          </a:xfrm>
        </p:grpSpPr>
        <p:grpSp>
          <p:nvGrpSpPr>
            <p:cNvPr id="57" name="Google Shape;417;p21">
              <a:extLst>
                <a:ext uri="{FF2B5EF4-FFF2-40B4-BE49-F238E27FC236}">
                  <a16:creationId xmlns:a16="http://schemas.microsoft.com/office/drawing/2014/main" id="{0A014444-12B6-4761-AAD0-0BC821F8E9A4}"/>
                </a:ext>
              </a:extLst>
            </p:cNvPr>
            <p:cNvGrpSpPr/>
            <p:nvPr/>
          </p:nvGrpSpPr>
          <p:grpSpPr>
            <a:xfrm>
              <a:off x="3754548" y="3846893"/>
              <a:ext cx="927923" cy="928429"/>
              <a:chOff x="2908522" y="2544993"/>
              <a:chExt cx="695942" cy="696322"/>
            </a:xfrm>
          </p:grpSpPr>
          <p:sp>
            <p:nvSpPr>
              <p:cNvPr id="58" name="Google Shape;418;p21">
                <a:extLst>
                  <a:ext uri="{FF2B5EF4-FFF2-40B4-BE49-F238E27FC236}">
                    <a16:creationId xmlns:a16="http://schemas.microsoft.com/office/drawing/2014/main" id="{7B2101FE-C11D-4E5B-BE63-396930B1036D}"/>
                  </a:ext>
                </a:extLst>
              </p:cNvPr>
              <p:cNvSpPr/>
              <p:nvPr/>
            </p:nvSpPr>
            <p:spPr>
              <a:xfrm>
                <a:off x="3012566" y="2654405"/>
                <a:ext cx="487856" cy="487824"/>
              </a:xfrm>
              <a:custGeom>
                <a:avLst/>
                <a:gdLst/>
                <a:ahLst/>
                <a:cxnLst/>
                <a:rect l="l" t="t" r="r" b="b"/>
                <a:pathLst>
                  <a:path w="15408" h="15407" extrusionOk="0">
                    <a:moveTo>
                      <a:pt x="1" y="8049"/>
                    </a:moveTo>
                    <a:lnTo>
                      <a:pt x="1" y="7346"/>
                    </a:lnTo>
                    <a:cubicBezTo>
                      <a:pt x="1" y="3286"/>
                      <a:pt x="3299" y="0"/>
                      <a:pt x="7359" y="0"/>
                    </a:cubicBezTo>
                    <a:lnTo>
                      <a:pt x="8061" y="0"/>
                    </a:lnTo>
                    <a:cubicBezTo>
                      <a:pt x="12121" y="0"/>
                      <a:pt x="15407" y="3286"/>
                      <a:pt x="15407" y="7346"/>
                    </a:cubicBezTo>
                    <a:lnTo>
                      <a:pt x="15407" y="8049"/>
                    </a:lnTo>
                    <a:cubicBezTo>
                      <a:pt x="15407" y="12109"/>
                      <a:pt x="12121" y="15407"/>
                      <a:pt x="8061" y="15407"/>
                    </a:cubicBezTo>
                    <a:lnTo>
                      <a:pt x="7359" y="15407"/>
                    </a:lnTo>
                    <a:cubicBezTo>
                      <a:pt x="3299" y="15407"/>
                      <a:pt x="1" y="12109"/>
                      <a:pt x="1" y="8049"/>
                    </a:cubicBezTo>
                    <a:close/>
                  </a:path>
                </a:pathLst>
              </a:custGeom>
              <a:solidFill>
                <a:srgbClr val="ECECEC"/>
              </a:solidFill>
              <a:ln>
                <a:noFill/>
              </a:ln>
            </p:spPr>
            <p:txBody>
              <a:bodyPr spcFirstLastPara="1" wrap="square" lIns="121900" tIns="121900" rIns="121900" bIns="121900" anchor="ctr" anchorCtr="0">
                <a:noAutofit/>
              </a:bodyPr>
              <a:lstStyle/>
              <a:p>
                <a:endParaRPr sz="2400"/>
              </a:p>
            </p:txBody>
          </p:sp>
          <p:sp>
            <p:nvSpPr>
              <p:cNvPr id="59" name="Google Shape;419;p21">
                <a:extLst>
                  <a:ext uri="{FF2B5EF4-FFF2-40B4-BE49-F238E27FC236}">
                    <a16:creationId xmlns:a16="http://schemas.microsoft.com/office/drawing/2014/main" id="{0B460D78-8F04-43BE-BB1F-45908D68B3A8}"/>
                  </a:ext>
                </a:extLst>
              </p:cNvPr>
              <p:cNvSpPr/>
              <p:nvPr/>
            </p:nvSpPr>
            <p:spPr>
              <a:xfrm>
                <a:off x="2908522" y="2544993"/>
                <a:ext cx="695942" cy="696322"/>
              </a:xfrm>
              <a:custGeom>
                <a:avLst/>
                <a:gdLst/>
                <a:ahLst/>
                <a:cxnLst/>
                <a:rect l="l" t="t" r="r" b="b"/>
                <a:pathLst>
                  <a:path w="21980" h="21992" fill="none" extrusionOk="0">
                    <a:moveTo>
                      <a:pt x="1" y="11502"/>
                    </a:moveTo>
                    <a:lnTo>
                      <a:pt x="1" y="10502"/>
                    </a:lnTo>
                    <a:cubicBezTo>
                      <a:pt x="1" y="4715"/>
                      <a:pt x="4704" y="0"/>
                      <a:pt x="10490" y="0"/>
                    </a:cubicBezTo>
                    <a:lnTo>
                      <a:pt x="11490" y="0"/>
                    </a:lnTo>
                    <a:cubicBezTo>
                      <a:pt x="17277" y="0"/>
                      <a:pt x="21980" y="4715"/>
                      <a:pt x="21980" y="10502"/>
                    </a:cubicBezTo>
                    <a:lnTo>
                      <a:pt x="21980" y="11502"/>
                    </a:lnTo>
                    <a:cubicBezTo>
                      <a:pt x="21980" y="17288"/>
                      <a:pt x="17277" y="21991"/>
                      <a:pt x="11490" y="21991"/>
                    </a:cubicBezTo>
                    <a:lnTo>
                      <a:pt x="10490" y="21991"/>
                    </a:lnTo>
                    <a:cubicBezTo>
                      <a:pt x="4704" y="21991"/>
                      <a:pt x="1" y="17288"/>
                      <a:pt x="1" y="11502"/>
                    </a:cubicBezTo>
                    <a:close/>
                  </a:path>
                </a:pathLst>
              </a:custGeom>
              <a:noFill/>
              <a:ln w="7150" cap="flat" cmpd="sng">
                <a:solidFill>
                  <a:schemeClr val="dk1"/>
                </a:solidFill>
                <a:prstDash val="solid"/>
                <a:miter lim="11906"/>
                <a:headEnd type="none" w="sm" len="sm"/>
                <a:tailEnd type="none" w="sm" len="sm"/>
              </a:ln>
            </p:spPr>
            <p:txBody>
              <a:bodyPr spcFirstLastPara="1" wrap="square" lIns="121900" tIns="121900" rIns="121900" bIns="121900" anchor="ctr" anchorCtr="0">
                <a:noAutofit/>
              </a:bodyPr>
              <a:lstStyle/>
              <a:p>
                <a:endParaRPr sz="2400"/>
              </a:p>
            </p:txBody>
          </p:sp>
        </p:grpSp>
        <p:pic>
          <p:nvPicPr>
            <p:cNvPr id="1026" name="Picture 2" descr="Docker Logos and Photos | Docker">
              <a:extLst>
                <a:ext uri="{FF2B5EF4-FFF2-40B4-BE49-F238E27FC236}">
                  <a16:creationId xmlns:a16="http://schemas.microsoft.com/office/drawing/2014/main" id="{1FC656AD-16FD-4791-B0A7-3E27986E01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75815" y="4086308"/>
              <a:ext cx="485387" cy="415305"/>
            </a:xfrm>
            <a:prstGeom prst="rect">
              <a:avLst/>
            </a:prstGeom>
            <a:noFill/>
            <a:extLst>
              <a:ext uri="{909E8E84-426E-40DD-AFC4-6F175D3DCCD1}">
                <a14:hiddenFill xmlns:a14="http://schemas.microsoft.com/office/drawing/2010/main">
                  <a:solidFill>
                    <a:srgbClr val="FFFFFF"/>
                  </a:solidFill>
                </a14:hiddenFill>
              </a:ext>
            </a:extLst>
          </p:spPr>
        </p:pic>
      </p:grpSp>
      <p:pic>
        <p:nvPicPr>
          <p:cNvPr id="1032" name="Picture 8" descr="Flask (web framework) - Wikipedia">
            <a:extLst>
              <a:ext uri="{FF2B5EF4-FFF2-40B4-BE49-F238E27FC236}">
                <a16:creationId xmlns:a16="http://schemas.microsoft.com/office/drawing/2014/main" id="{032AB654-4871-418C-8D48-5679C74496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17140" y="3591957"/>
            <a:ext cx="1182423" cy="4631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GINX | High Performance Load Balancer, Web Server, &amp; Reverse Proxy">
            <a:extLst>
              <a:ext uri="{FF2B5EF4-FFF2-40B4-BE49-F238E27FC236}">
                <a16:creationId xmlns:a16="http://schemas.microsoft.com/office/drawing/2014/main" id="{3D7D3B30-7C33-44E5-A396-A0DAC5A79E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60500" y="4202677"/>
            <a:ext cx="1356622" cy="455564"/>
          </a:xfrm>
          <a:prstGeom prst="rect">
            <a:avLst/>
          </a:prstGeom>
          <a:noFill/>
          <a:extLst>
            <a:ext uri="{909E8E84-426E-40DD-AFC4-6F175D3DCCD1}">
              <a14:hiddenFill xmlns:a14="http://schemas.microsoft.com/office/drawing/2010/main">
                <a:solidFill>
                  <a:srgbClr val="FFFFFF"/>
                </a:solidFill>
              </a14:hiddenFill>
            </a:ext>
          </a:extLst>
        </p:spPr>
      </p:pic>
      <p:sp>
        <p:nvSpPr>
          <p:cNvPr id="64" name="Text Placeholder 54">
            <a:extLst>
              <a:ext uri="{FF2B5EF4-FFF2-40B4-BE49-F238E27FC236}">
                <a16:creationId xmlns:a16="http://schemas.microsoft.com/office/drawing/2014/main" id="{E5C57854-8297-4EE4-B684-0C7C761F75A3}"/>
              </a:ext>
            </a:extLst>
          </p:cNvPr>
          <p:cNvSpPr txBox="1">
            <a:spLocks/>
          </p:cNvSpPr>
          <p:nvPr/>
        </p:nvSpPr>
        <p:spPr>
          <a:xfrm>
            <a:off x="9603839" y="3662259"/>
            <a:ext cx="1502269" cy="3225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Backend REST API</a:t>
            </a:r>
          </a:p>
          <a:p>
            <a:pPr lvl="1" algn="just"/>
            <a:endParaRPr lang="en-SG" sz="1500">
              <a:latin typeface="Neue Haas Grotesk Text Pro" panose="020B0504020202020204" pitchFamily="34" charset="0"/>
            </a:endParaRPr>
          </a:p>
          <a:p>
            <a:pPr algn="just"/>
            <a:endParaRPr lang="en-SG" sz="1500">
              <a:latin typeface="Neue Haas Grotesk Text Pro" panose="020B0504020202020204" pitchFamily="34" charset="0"/>
            </a:endParaRPr>
          </a:p>
        </p:txBody>
      </p:sp>
      <p:sp>
        <p:nvSpPr>
          <p:cNvPr id="65" name="Text Placeholder 54">
            <a:extLst>
              <a:ext uri="{FF2B5EF4-FFF2-40B4-BE49-F238E27FC236}">
                <a16:creationId xmlns:a16="http://schemas.microsoft.com/office/drawing/2014/main" id="{BE010314-AA9F-446B-A3D6-583353DB8A84}"/>
              </a:ext>
            </a:extLst>
          </p:cNvPr>
          <p:cNvSpPr txBox="1">
            <a:spLocks/>
          </p:cNvSpPr>
          <p:nvPr/>
        </p:nvSpPr>
        <p:spPr>
          <a:xfrm>
            <a:off x="9603839" y="4289611"/>
            <a:ext cx="1622554" cy="3225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SG" sz="1500">
                <a:latin typeface="Neue Haas Grotesk Text Pro" panose="020B0504020202020204" pitchFamily="34" charset="0"/>
              </a:rPr>
              <a:t>Web Server</a:t>
            </a:r>
          </a:p>
          <a:p>
            <a:pPr lvl="1" algn="just"/>
            <a:endParaRPr lang="en-SG" sz="1500">
              <a:latin typeface="Neue Haas Grotesk Text Pro" panose="020B0504020202020204" pitchFamily="34" charset="0"/>
            </a:endParaRPr>
          </a:p>
          <a:p>
            <a:pPr algn="just"/>
            <a:endParaRPr lang="en-SG" sz="1500">
              <a:latin typeface="Neue Haas Grotesk Text Pro" panose="020B0504020202020204" pitchFamily="34" charset="0"/>
            </a:endParaRPr>
          </a:p>
        </p:txBody>
      </p:sp>
      <p:cxnSp>
        <p:nvCxnSpPr>
          <p:cNvPr id="38" name="Straight Arrow Connector 37">
            <a:extLst>
              <a:ext uri="{FF2B5EF4-FFF2-40B4-BE49-F238E27FC236}">
                <a16:creationId xmlns:a16="http://schemas.microsoft.com/office/drawing/2014/main" id="{19F8BBC3-98AB-458A-9FDD-C4A3AE2364D9}"/>
              </a:ext>
            </a:extLst>
          </p:cNvPr>
          <p:cNvCxnSpPr>
            <a:cxnSpLocks/>
          </p:cNvCxnSpPr>
          <p:nvPr/>
        </p:nvCxnSpPr>
        <p:spPr>
          <a:xfrm flipH="1">
            <a:off x="10102160" y="1809514"/>
            <a:ext cx="378818" cy="1246880"/>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 Placeholder 54">
            <a:extLst>
              <a:ext uri="{FF2B5EF4-FFF2-40B4-BE49-F238E27FC236}">
                <a16:creationId xmlns:a16="http://schemas.microsoft.com/office/drawing/2014/main" id="{C8E921A7-DDD4-4776-9434-41E736F5E080}"/>
              </a:ext>
            </a:extLst>
          </p:cNvPr>
          <p:cNvSpPr txBox="1">
            <a:spLocks/>
          </p:cNvSpPr>
          <p:nvPr/>
        </p:nvSpPr>
        <p:spPr>
          <a:xfrm>
            <a:off x="10887085" y="940608"/>
            <a:ext cx="1087349"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b="1">
                <a:latin typeface="Neue Haas Grotesk Text Pro" panose="020B0504020202020204" pitchFamily="34" charset="0"/>
              </a:rPr>
              <a:t>Amazon RDS Database </a:t>
            </a:r>
          </a:p>
          <a:p>
            <a:pPr algn="just"/>
            <a:endParaRPr lang="en-SG" sz="1500" b="1">
              <a:latin typeface="Neue Haas Grotesk Text Pro" panose="020B0504020202020204" pitchFamily="34" charset="0"/>
            </a:endParaRPr>
          </a:p>
        </p:txBody>
      </p:sp>
      <p:cxnSp>
        <p:nvCxnSpPr>
          <p:cNvPr id="88" name="Straight Arrow Connector 87">
            <a:extLst>
              <a:ext uri="{FF2B5EF4-FFF2-40B4-BE49-F238E27FC236}">
                <a16:creationId xmlns:a16="http://schemas.microsoft.com/office/drawing/2014/main" id="{7997611A-9419-4E43-A540-CA99FFC865EF}"/>
              </a:ext>
            </a:extLst>
          </p:cNvPr>
          <p:cNvCxnSpPr>
            <a:cxnSpLocks/>
          </p:cNvCxnSpPr>
          <p:nvPr/>
        </p:nvCxnSpPr>
        <p:spPr>
          <a:xfrm flipH="1">
            <a:off x="5451343" y="4410638"/>
            <a:ext cx="1384121" cy="0"/>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Text Placeholder 54">
            <a:extLst>
              <a:ext uri="{FF2B5EF4-FFF2-40B4-BE49-F238E27FC236}">
                <a16:creationId xmlns:a16="http://schemas.microsoft.com/office/drawing/2014/main" id="{092261D5-DB77-4960-992A-4092EBE9AB03}"/>
              </a:ext>
            </a:extLst>
          </p:cNvPr>
          <p:cNvSpPr txBox="1">
            <a:spLocks/>
          </p:cNvSpPr>
          <p:nvPr/>
        </p:nvSpPr>
        <p:spPr>
          <a:xfrm>
            <a:off x="5776941" y="4071847"/>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HTTP</a:t>
            </a:r>
          </a:p>
          <a:p>
            <a:pPr algn="just"/>
            <a:endParaRPr lang="en-SG" sz="1500">
              <a:latin typeface="Neue Haas Grotesk Text Pro" panose="020B0504020202020204" pitchFamily="34" charset="0"/>
            </a:endParaRPr>
          </a:p>
        </p:txBody>
      </p:sp>
      <p:cxnSp>
        <p:nvCxnSpPr>
          <p:cNvPr id="96" name="Straight Arrow Connector 95">
            <a:extLst>
              <a:ext uri="{FF2B5EF4-FFF2-40B4-BE49-F238E27FC236}">
                <a16:creationId xmlns:a16="http://schemas.microsoft.com/office/drawing/2014/main" id="{FDFDF35C-F492-4990-A834-5C4B35DB40A2}"/>
              </a:ext>
            </a:extLst>
          </p:cNvPr>
          <p:cNvCxnSpPr>
            <a:cxnSpLocks/>
          </p:cNvCxnSpPr>
          <p:nvPr/>
        </p:nvCxnSpPr>
        <p:spPr>
          <a:xfrm flipH="1" flipV="1">
            <a:off x="1556536" y="1936353"/>
            <a:ext cx="691066" cy="1097968"/>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5" name="Graphic 84" descr="Computer">
            <a:extLst>
              <a:ext uri="{FF2B5EF4-FFF2-40B4-BE49-F238E27FC236}">
                <a16:creationId xmlns:a16="http://schemas.microsoft.com/office/drawing/2014/main" id="{BB8E4BC4-AB86-4754-8E71-43C9CDE84D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3243" y="670523"/>
            <a:ext cx="1312065" cy="1312065"/>
          </a:xfrm>
          <a:prstGeom prst="rect">
            <a:avLst/>
          </a:prstGeom>
        </p:spPr>
      </p:pic>
      <p:sp>
        <p:nvSpPr>
          <p:cNvPr id="101" name="Text Placeholder 54">
            <a:extLst>
              <a:ext uri="{FF2B5EF4-FFF2-40B4-BE49-F238E27FC236}">
                <a16:creationId xmlns:a16="http://schemas.microsoft.com/office/drawing/2014/main" id="{83CE8DCF-5DED-45E0-8FDC-F8DEF0E641B0}"/>
              </a:ext>
            </a:extLst>
          </p:cNvPr>
          <p:cNvSpPr txBox="1">
            <a:spLocks/>
          </p:cNvSpPr>
          <p:nvPr/>
        </p:nvSpPr>
        <p:spPr>
          <a:xfrm>
            <a:off x="1740290" y="1017978"/>
            <a:ext cx="1091428"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b="1">
                <a:latin typeface="Neue Haas Grotesk Text Pro" panose="020B0504020202020204" pitchFamily="34" charset="0"/>
              </a:rPr>
              <a:t>User Browser</a:t>
            </a:r>
          </a:p>
          <a:p>
            <a:pPr algn="just"/>
            <a:endParaRPr lang="en-SG" sz="1500" b="1">
              <a:latin typeface="Neue Haas Grotesk Text Pro" panose="020B0504020202020204" pitchFamily="34" charset="0"/>
            </a:endParaRPr>
          </a:p>
        </p:txBody>
      </p:sp>
      <p:sp>
        <p:nvSpPr>
          <p:cNvPr id="140" name="Text Placeholder 54">
            <a:extLst>
              <a:ext uri="{FF2B5EF4-FFF2-40B4-BE49-F238E27FC236}">
                <a16:creationId xmlns:a16="http://schemas.microsoft.com/office/drawing/2014/main" id="{CC1CFA79-D36A-4EA7-A95F-B4E94AD1DAF5}"/>
              </a:ext>
            </a:extLst>
          </p:cNvPr>
          <p:cNvSpPr txBox="1">
            <a:spLocks/>
          </p:cNvSpPr>
          <p:nvPr/>
        </p:nvSpPr>
        <p:spPr>
          <a:xfrm>
            <a:off x="5637138" y="4549232"/>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SG" sz="1500">
              <a:latin typeface="Neue Haas Grotesk Text Pro" panose="020B0504020202020204" pitchFamily="34" charset="0"/>
            </a:endParaRPr>
          </a:p>
        </p:txBody>
      </p:sp>
      <p:sp>
        <p:nvSpPr>
          <p:cNvPr id="141" name="Text Placeholder 54">
            <a:extLst>
              <a:ext uri="{FF2B5EF4-FFF2-40B4-BE49-F238E27FC236}">
                <a16:creationId xmlns:a16="http://schemas.microsoft.com/office/drawing/2014/main" id="{069CF3D0-EC8A-4DCF-A0E5-70E52DA4FEAD}"/>
              </a:ext>
            </a:extLst>
          </p:cNvPr>
          <p:cNvSpPr txBox="1">
            <a:spLocks/>
          </p:cNvSpPr>
          <p:nvPr/>
        </p:nvSpPr>
        <p:spPr>
          <a:xfrm>
            <a:off x="10267998" y="2596862"/>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HTTP</a:t>
            </a:r>
          </a:p>
          <a:p>
            <a:pPr algn="just"/>
            <a:endParaRPr lang="en-SG" sz="1500">
              <a:latin typeface="Neue Haas Grotesk Text Pro" panose="020B0504020202020204" pitchFamily="34" charset="0"/>
            </a:endParaRPr>
          </a:p>
        </p:txBody>
      </p:sp>
      <p:sp>
        <p:nvSpPr>
          <p:cNvPr id="142" name="Text Placeholder 54">
            <a:extLst>
              <a:ext uri="{FF2B5EF4-FFF2-40B4-BE49-F238E27FC236}">
                <a16:creationId xmlns:a16="http://schemas.microsoft.com/office/drawing/2014/main" id="{999718E7-3BAC-4321-9093-A41ACE0D8488}"/>
              </a:ext>
            </a:extLst>
          </p:cNvPr>
          <p:cNvSpPr txBox="1">
            <a:spLocks/>
          </p:cNvSpPr>
          <p:nvPr/>
        </p:nvSpPr>
        <p:spPr>
          <a:xfrm>
            <a:off x="2290121" y="2595509"/>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HTTP</a:t>
            </a:r>
          </a:p>
          <a:p>
            <a:pPr algn="just"/>
            <a:endParaRPr lang="en-SG" sz="1500">
              <a:latin typeface="Neue Haas Grotesk Text Pro" panose="020B0504020202020204" pitchFamily="34" charset="0"/>
            </a:endParaRPr>
          </a:p>
        </p:txBody>
      </p:sp>
      <p:sp>
        <p:nvSpPr>
          <p:cNvPr id="86" name="Rectangle: Rounded Corners 85">
            <a:extLst>
              <a:ext uri="{FF2B5EF4-FFF2-40B4-BE49-F238E27FC236}">
                <a16:creationId xmlns:a16="http://schemas.microsoft.com/office/drawing/2014/main" id="{AE346268-CD18-4CD9-98F0-F085AC7EF3A1}"/>
              </a:ext>
            </a:extLst>
          </p:cNvPr>
          <p:cNvSpPr/>
          <p:nvPr/>
        </p:nvSpPr>
        <p:spPr>
          <a:xfrm>
            <a:off x="580487" y="2568655"/>
            <a:ext cx="11040763" cy="3776114"/>
          </a:xfrm>
          <a:prstGeom prst="roundRect">
            <a:avLst>
              <a:gd name="adj" fmla="val 2879"/>
            </a:avLst>
          </a:prstGeom>
          <a:noFill/>
          <a:ln w="57150">
            <a:solidFill>
              <a:srgbClr val="023D6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48" name="Text Placeholder 54">
            <a:extLst>
              <a:ext uri="{FF2B5EF4-FFF2-40B4-BE49-F238E27FC236}">
                <a16:creationId xmlns:a16="http://schemas.microsoft.com/office/drawing/2014/main" id="{7DB8C481-FFCC-4D74-865B-596234ECC5B1}"/>
              </a:ext>
            </a:extLst>
          </p:cNvPr>
          <p:cNvSpPr txBox="1">
            <a:spLocks/>
          </p:cNvSpPr>
          <p:nvPr/>
        </p:nvSpPr>
        <p:spPr>
          <a:xfrm>
            <a:off x="5231421" y="6434378"/>
            <a:ext cx="2831536" cy="31676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b="1">
                <a:latin typeface="Neue Haas Grotesk Text Pro" panose="020B0504020202020204" pitchFamily="34" charset="0"/>
              </a:rPr>
              <a:t>Scalable Infrastructure</a:t>
            </a:r>
          </a:p>
          <a:p>
            <a:pPr algn="just"/>
            <a:endParaRPr lang="en-SG" sz="1500" b="1">
              <a:latin typeface="Neue Haas Grotesk Text Pro" panose="020B0504020202020204" pitchFamily="34" charset="0"/>
            </a:endParaRPr>
          </a:p>
        </p:txBody>
      </p:sp>
      <p:cxnSp>
        <p:nvCxnSpPr>
          <p:cNvPr id="152" name="Straight Arrow Connector 151">
            <a:extLst>
              <a:ext uri="{FF2B5EF4-FFF2-40B4-BE49-F238E27FC236}">
                <a16:creationId xmlns:a16="http://schemas.microsoft.com/office/drawing/2014/main" id="{9C1269D1-FC43-4768-B676-9235F68CB7FA}"/>
              </a:ext>
            </a:extLst>
          </p:cNvPr>
          <p:cNvCxnSpPr>
            <a:cxnSpLocks/>
          </p:cNvCxnSpPr>
          <p:nvPr/>
        </p:nvCxnSpPr>
        <p:spPr>
          <a:xfrm>
            <a:off x="7915479" y="2318257"/>
            <a:ext cx="0" cy="738137"/>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4" name="Text Placeholder 54">
            <a:extLst>
              <a:ext uri="{FF2B5EF4-FFF2-40B4-BE49-F238E27FC236}">
                <a16:creationId xmlns:a16="http://schemas.microsoft.com/office/drawing/2014/main" id="{79C1B854-6AC9-4DE7-8BAB-D00009FFC803}"/>
              </a:ext>
            </a:extLst>
          </p:cNvPr>
          <p:cNvSpPr txBox="1">
            <a:spLocks/>
          </p:cNvSpPr>
          <p:nvPr/>
        </p:nvSpPr>
        <p:spPr>
          <a:xfrm>
            <a:off x="8011917" y="2595289"/>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HTTP</a:t>
            </a:r>
          </a:p>
          <a:p>
            <a:pPr algn="just"/>
            <a:endParaRPr lang="en-SG" sz="1500">
              <a:latin typeface="Neue Haas Grotesk Text Pro" panose="020B0504020202020204" pitchFamily="34" charset="0"/>
            </a:endParaRPr>
          </a:p>
        </p:txBody>
      </p:sp>
      <p:grpSp>
        <p:nvGrpSpPr>
          <p:cNvPr id="6" name="Group 5">
            <a:extLst>
              <a:ext uri="{FF2B5EF4-FFF2-40B4-BE49-F238E27FC236}">
                <a16:creationId xmlns:a16="http://schemas.microsoft.com/office/drawing/2014/main" id="{4060DB23-D771-4116-986A-54CFFBFD0623}"/>
              </a:ext>
            </a:extLst>
          </p:cNvPr>
          <p:cNvGrpSpPr/>
          <p:nvPr/>
        </p:nvGrpSpPr>
        <p:grpSpPr>
          <a:xfrm>
            <a:off x="3147577" y="559947"/>
            <a:ext cx="5906582" cy="1758310"/>
            <a:chOff x="3147577" y="559947"/>
            <a:chExt cx="5906582" cy="1758310"/>
          </a:xfrm>
        </p:grpSpPr>
        <p:pic>
          <p:nvPicPr>
            <p:cNvPr id="1046" name="Picture 22" descr="Yahoo! Finance - Wikipedia">
              <a:extLst>
                <a:ext uri="{FF2B5EF4-FFF2-40B4-BE49-F238E27FC236}">
                  <a16:creationId xmlns:a16="http://schemas.microsoft.com/office/drawing/2014/main" id="{DD164B44-DEF0-4208-9FF9-C3AD166447E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60179" y="717787"/>
              <a:ext cx="1051033" cy="53339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a:extLst>
                <a:ext uri="{FF2B5EF4-FFF2-40B4-BE49-F238E27FC236}">
                  <a16:creationId xmlns:a16="http://schemas.microsoft.com/office/drawing/2014/main" id="{AA13675C-A611-43EF-8A53-7EEBEA30546A}"/>
                </a:ext>
              </a:extLst>
            </p:cNvPr>
            <p:cNvPicPr>
              <a:picLocks noChangeAspect="1"/>
            </p:cNvPicPr>
            <p:nvPr/>
          </p:nvPicPr>
          <p:blipFill>
            <a:blip r:embed="rId14"/>
            <a:stretch>
              <a:fillRect/>
            </a:stretch>
          </p:blipFill>
          <p:spPr>
            <a:xfrm>
              <a:off x="5657689" y="775026"/>
              <a:ext cx="1051033" cy="359361"/>
            </a:xfrm>
            <a:prstGeom prst="rect">
              <a:avLst/>
            </a:prstGeom>
          </p:spPr>
        </p:pic>
        <p:pic>
          <p:nvPicPr>
            <p:cNvPr id="1052" name="Picture 28" descr="Bloomberg.com">
              <a:extLst>
                <a:ext uri="{FF2B5EF4-FFF2-40B4-BE49-F238E27FC236}">
                  <a16:creationId xmlns:a16="http://schemas.microsoft.com/office/drawing/2014/main" id="{8CE146A6-C6A3-45F5-94DF-EFFEA580315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668781" y="1559963"/>
              <a:ext cx="1191912" cy="21836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8AEA2517-9451-471F-AD96-9BF2DBE6D4CE}"/>
                </a:ext>
              </a:extLst>
            </p:cNvPr>
            <p:cNvGrpSpPr/>
            <p:nvPr/>
          </p:nvGrpSpPr>
          <p:grpSpPr>
            <a:xfrm>
              <a:off x="3147577" y="559947"/>
              <a:ext cx="5906582" cy="1758310"/>
              <a:chOff x="3697257" y="559947"/>
              <a:chExt cx="5906582" cy="1758310"/>
            </a:xfrm>
          </p:grpSpPr>
          <p:sp>
            <p:nvSpPr>
              <p:cNvPr id="155" name="Rectangle: Rounded Corners 154">
                <a:extLst>
                  <a:ext uri="{FF2B5EF4-FFF2-40B4-BE49-F238E27FC236}">
                    <a16:creationId xmlns:a16="http://schemas.microsoft.com/office/drawing/2014/main" id="{6ADEFE6C-B48C-4C71-9A29-50E0EE087EA7}"/>
                  </a:ext>
                </a:extLst>
              </p:cNvPr>
              <p:cNvSpPr/>
              <p:nvPr/>
            </p:nvSpPr>
            <p:spPr>
              <a:xfrm>
                <a:off x="4025901" y="661972"/>
                <a:ext cx="5577938" cy="1656285"/>
              </a:xfrm>
              <a:prstGeom prst="roundRect">
                <a:avLst>
                  <a:gd name="adj" fmla="val 15103"/>
                </a:avLst>
              </a:prstGeom>
              <a:noFill/>
              <a:ln w="12700">
                <a:solidFill>
                  <a:srgbClr val="023D67"/>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65" name="Text Placeholder 54">
                <a:extLst>
                  <a:ext uri="{FF2B5EF4-FFF2-40B4-BE49-F238E27FC236}">
                    <a16:creationId xmlns:a16="http://schemas.microsoft.com/office/drawing/2014/main" id="{3EBC3DDA-3C45-44CB-96BA-B09C846B75DC}"/>
                  </a:ext>
                </a:extLst>
              </p:cNvPr>
              <p:cNvSpPr txBox="1">
                <a:spLocks/>
              </p:cNvSpPr>
              <p:nvPr/>
            </p:nvSpPr>
            <p:spPr>
              <a:xfrm rot="16200000">
                <a:off x="3041323" y="1215881"/>
                <a:ext cx="1620446" cy="3085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b="1">
                    <a:latin typeface="Neue Haas Grotesk Text Pro" panose="020B0504020202020204" pitchFamily="34" charset="0"/>
                  </a:rPr>
                  <a:t>External APIs</a:t>
                </a:r>
              </a:p>
            </p:txBody>
          </p:sp>
        </p:grpSp>
        <p:pic>
          <p:nvPicPr>
            <p:cNvPr id="1033" name="Picture 1032">
              <a:extLst>
                <a:ext uri="{FF2B5EF4-FFF2-40B4-BE49-F238E27FC236}">
                  <a16:creationId xmlns:a16="http://schemas.microsoft.com/office/drawing/2014/main" id="{09CA046A-8DDB-44AB-B482-9387EF16402A}"/>
                </a:ext>
              </a:extLst>
            </p:cNvPr>
            <p:cNvPicPr>
              <a:picLocks noChangeAspect="1"/>
            </p:cNvPicPr>
            <p:nvPr/>
          </p:nvPicPr>
          <p:blipFill>
            <a:blip r:embed="rId16"/>
            <a:stretch>
              <a:fillRect/>
            </a:stretch>
          </p:blipFill>
          <p:spPr>
            <a:xfrm>
              <a:off x="6354502" y="1461831"/>
              <a:ext cx="2562786" cy="297188"/>
            </a:xfrm>
            <a:prstGeom prst="rect">
              <a:avLst/>
            </a:prstGeom>
          </p:spPr>
        </p:pic>
        <p:sp>
          <p:nvSpPr>
            <p:cNvPr id="170" name="Text Placeholder 54">
              <a:extLst>
                <a:ext uri="{FF2B5EF4-FFF2-40B4-BE49-F238E27FC236}">
                  <a16:creationId xmlns:a16="http://schemas.microsoft.com/office/drawing/2014/main" id="{2DAB8CB2-6315-4603-9B7E-86EEEEA43FA2}"/>
                </a:ext>
              </a:extLst>
            </p:cNvPr>
            <p:cNvSpPr txBox="1">
              <a:spLocks/>
            </p:cNvSpPr>
            <p:nvPr/>
          </p:nvSpPr>
          <p:spPr>
            <a:xfrm>
              <a:off x="5608714" y="1124826"/>
              <a:ext cx="1471511"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i="1">
                  <a:latin typeface="Neue Haas Grotesk Text Pro" panose="020B0504020202020204" pitchFamily="34" charset="0"/>
                </a:rPr>
                <a:t>Stock News</a:t>
              </a:r>
            </a:p>
          </p:txBody>
        </p:sp>
        <p:sp>
          <p:nvSpPr>
            <p:cNvPr id="171" name="Text Placeholder 54">
              <a:extLst>
                <a:ext uri="{FF2B5EF4-FFF2-40B4-BE49-F238E27FC236}">
                  <a16:creationId xmlns:a16="http://schemas.microsoft.com/office/drawing/2014/main" id="{214CD46A-7D01-49E9-AF4D-83F7CC167A1F}"/>
                </a:ext>
              </a:extLst>
            </p:cNvPr>
            <p:cNvSpPr txBox="1">
              <a:spLocks/>
            </p:cNvSpPr>
            <p:nvPr/>
          </p:nvSpPr>
          <p:spPr>
            <a:xfrm>
              <a:off x="3660179" y="1164452"/>
              <a:ext cx="1471511"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i="1">
                  <a:latin typeface="Neue Haas Grotesk Text Pro" panose="020B0504020202020204" pitchFamily="34" charset="0"/>
                </a:rPr>
                <a:t>Stock Price</a:t>
              </a:r>
            </a:p>
          </p:txBody>
        </p:sp>
      </p:grpSp>
      <p:sp>
        <p:nvSpPr>
          <p:cNvPr id="172" name="Text Placeholder 54">
            <a:extLst>
              <a:ext uri="{FF2B5EF4-FFF2-40B4-BE49-F238E27FC236}">
                <a16:creationId xmlns:a16="http://schemas.microsoft.com/office/drawing/2014/main" id="{2376DF47-E669-48D5-9B64-515493234F34}"/>
              </a:ext>
            </a:extLst>
          </p:cNvPr>
          <p:cNvSpPr txBox="1">
            <a:spLocks/>
          </p:cNvSpPr>
          <p:nvPr/>
        </p:nvSpPr>
        <p:spPr>
          <a:xfrm>
            <a:off x="4636086" y="1802718"/>
            <a:ext cx="1471511"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i="1">
                <a:latin typeface="Neue Haas Grotesk Text Pro" panose="020B0504020202020204" pitchFamily="34" charset="0"/>
              </a:rPr>
              <a:t>Key Metrics</a:t>
            </a:r>
          </a:p>
        </p:txBody>
      </p:sp>
      <p:sp>
        <p:nvSpPr>
          <p:cNvPr id="174" name="Text Placeholder 54">
            <a:extLst>
              <a:ext uri="{FF2B5EF4-FFF2-40B4-BE49-F238E27FC236}">
                <a16:creationId xmlns:a16="http://schemas.microsoft.com/office/drawing/2014/main" id="{C79A8C06-32A9-4436-BE01-5A55084E0C4D}"/>
              </a:ext>
            </a:extLst>
          </p:cNvPr>
          <p:cNvSpPr txBox="1">
            <a:spLocks/>
          </p:cNvSpPr>
          <p:nvPr/>
        </p:nvSpPr>
        <p:spPr>
          <a:xfrm>
            <a:off x="6515422" y="1777843"/>
            <a:ext cx="2558803"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i="1">
                <a:latin typeface="Neue Haas Grotesk Text Pro" panose="020B0504020202020204" pitchFamily="34" charset="0"/>
              </a:rPr>
              <a:t>Social Media Sentiment</a:t>
            </a:r>
          </a:p>
        </p:txBody>
      </p:sp>
      <p:sp>
        <p:nvSpPr>
          <p:cNvPr id="175" name="Text Placeholder 54">
            <a:extLst>
              <a:ext uri="{FF2B5EF4-FFF2-40B4-BE49-F238E27FC236}">
                <a16:creationId xmlns:a16="http://schemas.microsoft.com/office/drawing/2014/main" id="{CB78127E-43D7-49E1-89E6-57A69D573412}"/>
              </a:ext>
            </a:extLst>
          </p:cNvPr>
          <p:cNvSpPr txBox="1">
            <a:spLocks/>
          </p:cNvSpPr>
          <p:nvPr/>
        </p:nvSpPr>
        <p:spPr>
          <a:xfrm>
            <a:off x="2580769" y="5280872"/>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Container</a:t>
            </a:r>
          </a:p>
          <a:p>
            <a:pPr algn="just"/>
            <a:endParaRPr lang="en-SG" sz="1500">
              <a:latin typeface="Neue Haas Grotesk Text Pro" panose="020B0504020202020204" pitchFamily="34" charset="0"/>
            </a:endParaRPr>
          </a:p>
        </p:txBody>
      </p:sp>
      <p:sp>
        <p:nvSpPr>
          <p:cNvPr id="176" name="Text Placeholder 54">
            <a:extLst>
              <a:ext uri="{FF2B5EF4-FFF2-40B4-BE49-F238E27FC236}">
                <a16:creationId xmlns:a16="http://schemas.microsoft.com/office/drawing/2014/main" id="{A2AB8D4D-2D9E-424D-B2F6-5CABAC591AD4}"/>
              </a:ext>
            </a:extLst>
          </p:cNvPr>
          <p:cNvSpPr txBox="1">
            <a:spLocks/>
          </p:cNvSpPr>
          <p:nvPr/>
        </p:nvSpPr>
        <p:spPr>
          <a:xfrm>
            <a:off x="8734527" y="5279747"/>
            <a:ext cx="1620446"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a:latin typeface="Neue Haas Grotesk Text Pro" panose="020B0504020202020204" pitchFamily="34" charset="0"/>
              </a:rPr>
              <a:t>Container</a:t>
            </a:r>
          </a:p>
          <a:p>
            <a:pPr algn="just"/>
            <a:endParaRPr lang="en-SG" sz="1500">
              <a:latin typeface="Neue Haas Grotesk Text Pro" panose="020B0504020202020204" pitchFamily="34" charset="0"/>
            </a:endParaRPr>
          </a:p>
        </p:txBody>
      </p:sp>
    </p:spTree>
    <p:custDataLst>
      <p:tags r:id="rId1"/>
    </p:custDataLst>
    <p:extLst>
      <p:ext uri="{BB962C8B-B14F-4D97-AF65-F5344CB8AC3E}">
        <p14:creationId xmlns:p14="http://schemas.microsoft.com/office/powerpoint/2010/main" val="2078004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a:latin typeface="Neue Haas Grotesk Text Pro" panose="020B0504020202020204" pitchFamily="34" charset="0"/>
              </a:rPr>
              <a:t>APIs</a:t>
            </a:r>
            <a:endParaRPr lang="en-US">
              <a:latin typeface="Neue Haas Grotesk Text Pro" panose="020B0504020202020204" pitchFamily="34" charset="0"/>
            </a:endParaRPr>
          </a:p>
        </p:txBody>
      </p:sp>
      <p:grpSp>
        <p:nvGrpSpPr>
          <p:cNvPr id="113" name="Group 112">
            <a:extLst>
              <a:ext uri="{FF2B5EF4-FFF2-40B4-BE49-F238E27FC236}">
                <a16:creationId xmlns:a16="http://schemas.microsoft.com/office/drawing/2014/main" id="{BAED8BD9-CBC4-4F3A-B045-B4B630095370}"/>
              </a:ext>
            </a:extLst>
          </p:cNvPr>
          <p:cNvGrpSpPr/>
          <p:nvPr/>
        </p:nvGrpSpPr>
        <p:grpSpPr>
          <a:xfrm>
            <a:off x="794979" y="1035361"/>
            <a:ext cx="2113664" cy="679010"/>
            <a:chOff x="4510545" y="3296383"/>
            <a:chExt cx="1785611" cy="679010"/>
          </a:xfrm>
          <a:solidFill>
            <a:schemeClr val="tx2"/>
          </a:solidFill>
        </p:grpSpPr>
        <p:sp>
          <p:nvSpPr>
            <p:cNvPr id="114" name="Rectangle: Rounded Corners 113">
              <a:extLst>
                <a:ext uri="{FF2B5EF4-FFF2-40B4-BE49-F238E27FC236}">
                  <a16:creationId xmlns:a16="http://schemas.microsoft.com/office/drawing/2014/main" id="{A83FC08F-C868-4E03-ACD1-A4F9C836768A}"/>
                </a:ext>
              </a:extLst>
            </p:cNvPr>
            <p:cNvSpPr/>
            <p:nvPr/>
          </p:nvSpPr>
          <p:spPr>
            <a:xfrm>
              <a:off x="4510545" y="3296383"/>
              <a:ext cx="1785611" cy="67901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15" name="Rectangle 114">
              <a:extLst>
                <a:ext uri="{FF2B5EF4-FFF2-40B4-BE49-F238E27FC236}">
                  <a16:creationId xmlns:a16="http://schemas.microsoft.com/office/drawing/2014/main" id="{73FD9066-521F-4583-8466-DB71D3D898F6}"/>
                </a:ext>
              </a:extLst>
            </p:cNvPr>
            <p:cNvSpPr/>
            <p:nvPr/>
          </p:nvSpPr>
          <p:spPr>
            <a:xfrm>
              <a:off x="4623186" y="3405821"/>
              <a:ext cx="1560331" cy="4419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spcBef>
                  <a:spcPts val="0"/>
                </a:spcBef>
                <a:spcAft>
                  <a:spcPts val="0"/>
                </a:spcAft>
                <a:buClrTx/>
                <a:buSzTx/>
                <a:tabLst/>
                <a:defRPr/>
              </a:pPr>
              <a:r>
                <a:rPr lang="en-US" sz="1200" kern="0">
                  <a:solidFill>
                    <a:schemeClr val="bg1"/>
                  </a:solidFill>
                  <a:latin typeface="Neue Haas Grotesk Text Pro" panose="020B0504020202020204" pitchFamily="34" charset="0"/>
                </a:rPr>
                <a:t>Bloomberg Market &amp; Financial News API</a:t>
              </a:r>
            </a:p>
          </p:txBody>
        </p:sp>
      </p:grpSp>
      <p:grpSp>
        <p:nvGrpSpPr>
          <p:cNvPr id="116" name="Group 115">
            <a:extLst>
              <a:ext uri="{FF2B5EF4-FFF2-40B4-BE49-F238E27FC236}">
                <a16:creationId xmlns:a16="http://schemas.microsoft.com/office/drawing/2014/main" id="{E3C10B48-7089-413B-BC0D-6B6E08E29264}"/>
              </a:ext>
            </a:extLst>
          </p:cNvPr>
          <p:cNvGrpSpPr/>
          <p:nvPr/>
        </p:nvGrpSpPr>
        <p:grpSpPr>
          <a:xfrm>
            <a:off x="3091903" y="1035361"/>
            <a:ext cx="1785611" cy="679010"/>
            <a:chOff x="4510544" y="4161762"/>
            <a:chExt cx="1785611" cy="679010"/>
          </a:xfrm>
          <a:solidFill>
            <a:schemeClr val="tx2"/>
          </a:solidFill>
        </p:grpSpPr>
        <p:sp>
          <p:nvSpPr>
            <p:cNvPr id="117" name="Rectangle: Rounded Corners 116">
              <a:extLst>
                <a:ext uri="{FF2B5EF4-FFF2-40B4-BE49-F238E27FC236}">
                  <a16:creationId xmlns:a16="http://schemas.microsoft.com/office/drawing/2014/main" id="{A2CD6336-27D2-4BCA-9C2E-B2017B0BF28E}"/>
                </a:ext>
              </a:extLst>
            </p:cNvPr>
            <p:cNvSpPr/>
            <p:nvPr/>
          </p:nvSpPr>
          <p:spPr>
            <a:xfrm>
              <a:off x="4510544" y="4161762"/>
              <a:ext cx="1785611" cy="67901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18" name="Rectangle 117">
              <a:extLst>
                <a:ext uri="{FF2B5EF4-FFF2-40B4-BE49-F238E27FC236}">
                  <a16:creationId xmlns:a16="http://schemas.microsoft.com/office/drawing/2014/main" id="{07AACE0A-CEE7-486B-A625-035DAFAAFF9D}"/>
                </a:ext>
              </a:extLst>
            </p:cNvPr>
            <p:cNvSpPr/>
            <p:nvPr/>
          </p:nvSpPr>
          <p:spPr>
            <a:xfrm>
              <a:off x="4623183" y="4280316"/>
              <a:ext cx="1560331" cy="4419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spcBef>
                  <a:spcPts val="0"/>
                </a:spcBef>
                <a:spcAft>
                  <a:spcPts val="0"/>
                </a:spcAft>
                <a:buClrTx/>
                <a:buSzTx/>
                <a:tabLst/>
                <a:defRPr/>
              </a:pPr>
              <a:r>
                <a:rPr lang="en-US" sz="1200" kern="0">
                  <a:solidFill>
                    <a:schemeClr val="bg1"/>
                  </a:solidFill>
                  <a:latin typeface="Neue Haas Grotesk Text Pro" panose="020B0504020202020204" pitchFamily="34" charset="0"/>
                </a:rPr>
                <a:t>Yahoo Finance API</a:t>
              </a:r>
            </a:p>
          </p:txBody>
        </p:sp>
      </p:grpSp>
      <p:pic>
        <p:nvPicPr>
          <p:cNvPr id="119" name="Picture 118">
            <a:extLst>
              <a:ext uri="{FF2B5EF4-FFF2-40B4-BE49-F238E27FC236}">
                <a16:creationId xmlns:a16="http://schemas.microsoft.com/office/drawing/2014/main" id="{1777D5D2-02DE-4E66-BE67-DE095DDBE6CA}"/>
              </a:ext>
            </a:extLst>
          </p:cNvPr>
          <p:cNvPicPr>
            <a:picLocks noChangeAspect="1"/>
          </p:cNvPicPr>
          <p:nvPr/>
        </p:nvPicPr>
        <p:blipFill rotWithShape="1">
          <a:blip r:embed="rId4">
            <a:clrChange>
              <a:clrFrom>
                <a:srgbClr val="F8FAFB"/>
              </a:clrFrom>
              <a:clrTo>
                <a:srgbClr val="F8FAFB">
                  <a:alpha val="0"/>
                </a:srgbClr>
              </a:clrTo>
            </a:clrChange>
          </a:blip>
          <a:srcRect t="10835" b="5495"/>
          <a:stretch/>
        </p:blipFill>
        <p:spPr>
          <a:xfrm>
            <a:off x="2834601" y="2106468"/>
            <a:ext cx="275404" cy="269027"/>
          </a:xfrm>
          <a:prstGeom prst="rect">
            <a:avLst/>
          </a:prstGeom>
        </p:spPr>
      </p:pic>
      <p:pic>
        <p:nvPicPr>
          <p:cNvPr id="120" name="Picture 2" descr="Has the time finally come for PostgreSQL? | ZDNet">
            <a:extLst>
              <a:ext uri="{FF2B5EF4-FFF2-40B4-BE49-F238E27FC236}">
                <a16:creationId xmlns:a16="http://schemas.microsoft.com/office/drawing/2014/main" id="{8F4F5AF1-FF73-4CE3-8C6E-AD958B7A25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3774" y="3125775"/>
            <a:ext cx="1155165" cy="867124"/>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887B2FA7-5029-4289-BAE0-25DC555FE480}"/>
              </a:ext>
            </a:extLst>
          </p:cNvPr>
          <p:cNvSpPr/>
          <p:nvPr/>
        </p:nvSpPr>
        <p:spPr>
          <a:xfrm>
            <a:off x="2510665" y="2379548"/>
            <a:ext cx="923276" cy="506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kern="0">
                <a:solidFill>
                  <a:prstClr val="black"/>
                </a:solidFill>
                <a:latin typeface="Neue Haas Grotesk Text Pro" panose="020B0504020202020204" pitchFamily="34" charset="0"/>
              </a:rPr>
              <a:t>Database updated daily</a:t>
            </a:r>
          </a:p>
        </p:txBody>
      </p:sp>
      <p:grpSp>
        <p:nvGrpSpPr>
          <p:cNvPr id="10" name="Group 9">
            <a:extLst>
              <a:ext uri="{FF2B5EF4-FFF2-40B4-BE49-F238E27FC236}">
                <a16:creationId xmlns:a16="http://schemas.microsoft.com/office/drawing/2014/main" id="{01DA80C3-BDAF-419C-8A78-6F90DF5062A4}"/>
              </a:ext>
            </a:extLst>
          </p:cNvPr>
          <p:cNvGrpSpPr/>
          <p:nvPr/>
        </p:nvGrpSpPr>
        <p:grpSpPr>
          <a:xfrm>
            <a:off x="1404950" y="4133035"/>
            <a:ext cx="3160662" cy="2506215"/>
            <a:chOff x="957539" y="4133035"/>
            <a:chExt cx="3160662" cy="2506215"/>
          </a:xfrm>
        </p:grpSpPr>
        <p:grpSp>
          <p:nvGrpSpPr>
            <p:cNvPr id="108" name="Group 107">
              <a:extLst>
                <a:ext uri="{FF2B5EF4-FFF2-40B4-BE49-F238E27FC236}">
                  <a16:creationId xmlns:a16="http://schemas.microsoft.com/office/drawing/2014/main" id="{2CA1EC73-1D92-4870-AD0E-C1A4EBD84C52}"/>
                </a:ext>
              </a:extLst>
            </p:cNvPr>
            <p:cNvGrpSpPr/>
            <p:nvPr/>
          </p:nvGrpSpPr>
          <p:grpSpPr>
            <a:xfrm>
              <a:off x="957539" y="4133035"/>
              <a:ext cx="3160662" cy="1508760"/>
              <a:chOff x="5623560" y="4079264"/>
              <a:chExt cx="3184975" cy="1508760"/>
            </a:xfrm>
            <a:solidFill>
              <a:schemeClr val="tx2"/>
            </a:solidFill>
          </p:grpSpPr>
          <p:sp>
            <p:nvSpPr>
              <p:cNvPr id="109" name="Rectangle: Rounded Corners 108">
                <a:extLst>
                  <a:ext uri="{FF2B5EF4-FFF2-40B4-BE49-F238E27FC236}">
                    <a16:creationId xmlns:a16="http://schemas.microsoft.com/office/drawing/2014/main" id="{D3FDA242-6DA7-4A27-8F66-FB96EBDF6D02}"/>
                  </a:ext>
                </a:extLst>
              </p:cNvPr>
              <p:cNvSpPr/>
              <p:nvPr/>
            </p:nvSpPr>
            <p:spPr>
              <a:xfrm>
                <a:off x="5623560" y="4079264"/>
                <a:ext cx="3184975" cy="150876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600">
                  <a:latin typeface="Neue Haas Grotesk Text Pro" panose="020B0504020202020204" pitchFamily="34" charset="0"/>
                </a:endParaRPr>
              </a:p>
            </p:txBody>
          </p:sp>
          <p:sp>
            <p:nvSpPr>
              <p:cNvPr id="110" name="Rectangle 109">
                <a:extLst>
                  <a:ext uri="{FF2B5EF4-FFF2-40B4-BE49-F238E27FC236}">
                    <a16:creationId xmlns:a16="http://schemas.microsoft.com/office/drawing/2014/main" id="{5A1225DA-D9C7-45AB-9F82-0EE49440893D}"/>
                  </a:ext>
                </a:extLst>
              </p:cNvPr>
              <p:cNvSpPr/>
              <p:nvPr/>
            </p:nvSpPr>
            <p:spPr>
              <a:xfrm>
                <a:off x="6489192" y="4197096"/>
                <a:ext cx="2254873" cy="1165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Gross Profit to Total Asset</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Beta</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Sales Growth</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Debt to Market Cap</a:t>
                </a:r>
              </a:p>
            </p:txBody>
          </p:sp>
          <p:sp>
            <p:nvSpPr>
              <p:cNvPr id="111" name="Rectangle 110">
                <a:extLst>
                  <a:ext uri="{FF2B5EF4-FFF2-40B4-BE49-F238E27FC236}">
                    <a16:creationId xmlns:a16="http://schemas.microsoft.com/office/drawing/2014/main" id="{F934841E-B0C2-4767-A554-F5D8C1A67D4F}"/>
                  </a:ext>
                </a:extLst>
              </p:cNvPr>
              <p:cNvSpPr/>
              <p:nvPr/>
            </p:nvSpPr>
            <p:spPr>
              <a:xfrm>
                <a:off x="5855208" y="4197096"/>
                <a:ext cx="344424" cy="1165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1</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2</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3</a:t>
                </a:r>
              </a:p>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4</a:t>
                </a:r>
              </a:p>
            </p:txBody>
          </p:sp>
          <p:cxnSp>
            <p:nvCxnSpPr>
              <p:cNvPr id="112" name="Straight Connector 111">
                <a:extLst>
                  <a:ext uri="{FF2B5EF4-FFF2-40B4-BE49-F238E27FC236}">
                    <a16:creationId xmlns:a16="http://schemas.microsoft.com/office/drawing/2014/main" id="{064AB4A2-4CE4-44DA-A2BD-934B211CFDBC}"/>
                  </a:ext>
                </a:extLst>
              </p:cNvPr>
              <p:cNvCxnSpPr>
                <a:cxnSpLocks/>
              </p:cNvCxnSpPr>
              <p:nvPr/>
            </p:nvCxnSpPr>
            <p:spPr>
              <a:xfrm>
                <a:off x="6281928" y="4242816"/>
                <a:ext cx="0" cy="1119659"/>
              </a:xfrm>
              <a:prstGeom prst="line">
                <a:avLst/>
              </a:prstGeom>
              <a:grpFill/>
              <a:ln w="571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24" name="Rectangle 123">
              <a:extLst>
                <a:ext uri="{FF2B5EF4-FFF2-40B4-BE49-F238E27FC236}">
                  <a16:creationId xmlns:a16="http://schemas.microsoft.com/office/drawing/2014/main" id="{460EC4A0-A6B7-4016-BCB0-30F83BAE7CCF}"/>
                </a:ext>
              </a:extLst>
            </p:cNvPr>
            <p:cNvSpPr/>
            <p:nvPr/>
          </p:nvSpPr>
          <p:spPr>
            <a:xfrm>
              <a:off x="957539" y="5759627"/>
              <a:ext cx="1647661" cy="879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b="1" kern="0">
                  <a:solidFill>
                    <a:prstClr val="black"/>
                  </a:solidFill>
                  <a:latin typeface="Neue Haas Grotesk Text Pro" panose="020B0504020202020204" pitchFamily="34" charset="0"/>
                </a:rPr>
                <a:t>Scoring of 1 – 25 given based on ranking in each attribute</a:t>
              </a:r>
            </a:p>
          </p:txBody>
        </p:sp>
        <p:grpSp>
          <p:nvGrpSpPr>
            <p:cNvPr id="125" name="Group 124">
              <a:extLst>
                <a:ext uri="{FF2B5EF4-FFF2-40B4-BE49-F238E27FC236}">
                  <a16:creationId xmlns:a16="http://schemas.microsoft.com/office/drawing/2014/main" id="{3A4543F0-65C8-4EDF-B249-B47CB78B095A}"/>
                </a:ext>
              </a:extLst>
            </p:cNvPr>
            <p:cNvGrpSpPr/>
            <p:nvPr/>
          </p:nvGrpSpPr>
          <p:grpSpPr>
            <a:xfrm>
              <a:off x="2566668" y="5836411"/>
              <a:ext cx="1551533" cy="679010"/>
              <a:chOff x="4510544" y="4161762"/>
              <a:chExt cx="1785611" cy="679010"/>
            </a:xfrm>
            <a:solidFill>
              <a:schemeClr val="tx2"/>
            </a:solidFill>
          </p:grpSpPr>
          <p:sp>
            <p:nvSpPr>
              <p:cNvPr id="126" name="Rectangle: Rounded Corners 125">
                <a:extLst>
                  <a:ext uri="{FF2B5EF4-FFF2-40B4-BE49-F238E27FC236}">
                    <a16:creationId xmlns:a16="http://schemas.microsoft.com/office/drawing/2014/main" id="{DF2A4BD5-4EAF-4F47-995B-4B11FE023466}"/>
                  </a:ext>
                </a:extLst>
              </p:cNvPr>
              <p:cNvSpPr/>
              <p:nvPr/>
            </p:nvSpPr>
            <p:spPr>
              <a:xfrm>
                <a:off x="4510544" y="4161762"/>
                <a:ext cx="1785611" cy="67901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27" name="Rectangle 126">
                <a:extLst>
                  <a:ext uri="{FF2B5EF4-FFF2-40B4-BE49-F238E27FC236}">
                    <a16:creationId xmlns:a16="http://schemas.microsoft.com/office/drawing/2014/main" id="{F1D5E645-F9B3-4218-AD99-289975183C7B}"/>
                  </a:ext>
                </a:extLst>
              </p:cNvPr>
              <p:cNvSpPr/>
              <p:nvPr/>
            </p:nvSpPr>
            <p:spPr>
              <a:xfrm>
                <a:off x="4623183" y="4280316"/>
                <a:ext cx="1560331" cy="4419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spcBef>
                    <a:spcPts val="0"/>
                  </a:spcBef>
                  <a:spcAft>
                    <a:spcPts val="0"/>
                  </a:spcAft>
                  <a:buClrTx/>
                  <a:buSzTx/>
                  <a:tabLst/>
                  <a:defRPr/>
                </a:pPr>
                <a:r>
                  <a:rPr lang="en-US" sz="1200" b="1" kern="0">
                    <a:solidFill>
                      <a:schemeClr val="bg1"/>
                    </a:solidFill>
                    <a:latin typeface="Neue Haas Grotesk Text Pro" panose="020B0504020202020204" pitchFamily="34" charset="0"/>
                  </a:rPr>
                  <a:t>Final Score</a:t>
                </a:r>
                <a:r>
                  <a:rPr lang="en-US" sz="1200" kern="0">
                    <a:solidFill>
                      <a:schemeClr val="bg1"/>
                    </a:solidFill>
                    <a:latin typeface="Neue Haas Grotesk Text Pro" panose="020B0504020202020204" pitchFamily="34" charset="0"/>
                  </a:rPr>
                  <a:t>: Sum to max 100</a:t>
                </a:r>
              </a:p>
            </p:txBody>
          </p:sp>
        </p:grpSp>
      </p:grpSp>
      <p:pic>
        <p:nvPicPr>
          <p:cNvPr id="128" name="Graphic 127" descr="Computer">
            <a:extLst>
              <a:ext uri="{FF2B5EF4-FFF2-40B4-BE49-F238E27FC236}">
                <a16:creationId xmlns:a16="http://schemas.microsoft.com/office/drawing/2014/main" id="{88F9297D-5F65-4AD5-9A14-BF0A6AFA6D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52167" y="3135074"/>
            <a:ext cx="1312065" cy="1312065"/>
          </a:xfrm>
          <a:prstGeom prst="rect">
            <a:avLst/>
          </a:prstGeom>
        </p:spPr>
      </p:pic>
      <p:sp>
        <p:nvSpPr>
          <p:cNvPr id="129" name="Text Placeholder 54">
            <a:extLst>
              <a:ext uri="{FF2B5EF4-FFF2-40B4-BE49-F238E27FC236}">
                <a16:creationId xmlns:a16="http://schemas.microsoft.com/office/drawing/2014/main" id="{24AB8627-42CE-4B70-8BF1-05A5ED8F922C}"/>
              </a:ext>
            </a:extLst>
          </p:cNvPr>
          <p:cNvSpPr txBox="1">
            <a:spLocks/>
          </p:cNvSpPr>
          <p:nvPr/>
        </p:nvSpPr>
        <p:spPr>
          <a:xfrm>
            <a:off x="10164232" y="3482530"/>
            <a:ext cx="1091428" cy="6171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SG" sz="1500" b="1">
                <a:latin typeface="Neue Haas Grotesk Text Pro" panose="020B0504020202020204" pitchFamily="34" charset="0"/>
              </a:rPr>
              <a:t>User Browser</a:t>
            </a:r>
          </a:p>
        </p:txBody>
      </p:sp>
      <p:grpSp>
        <p:nvGrpSpPr>
          <p:cNvPr id="130" name="Group 129">
            <a:extLst>
              <a:ext uri="{FF2B5EF4-FFF2-40B4-BE49-F238E27FC236}">
                <a16:creationId xmlns:a16="http://schemas.microsoft.com/office/drawing/2014/main" id="{D1359C3B-23C5-48FA-B158-29049152A7BB}"/>
              </a:ext>
            </a:extLst>
          </p:cNvPr>
          <p:cNvGrpSpPr/>
          <p:nvPr/>
        </p:nvGrpSpPr>
        <p:grpSpPr>
          <a:xfrm>
            <a:off x="5719341" y="1035361"/>
            <a:ext cx="1785611" cy="679010"/>
            <a:chOff x="4510544" y="4161762"/>
            <a:chExt cx="1785611" cy="679010"/>
          </a:xfrm>
          <a:solidFill>
            <a:schemeClr val="accent2"/>
          </a:solidFill>
        </p:grpSpPr>
        <p:sp>
          <p:nvSpPr>
            <p:cNvPr id="131" name="Rectangle: Rounded Corners 130">
              <a:extLst>
                <a:ext uri="{FF2B5EF4-FFF2-40B4-BE49-F238E27FC236}">
                  <a16:creationId xmlns:a16="http://schemas.microsoft.com/office/drawing/2014/main" id="{5B94A154-717F-477D-BC35-31E55B486477}"/>
                </a:ext>
              </a:extLst>
            </p:cNvPr>
            <p:cNvSpPr/>
            <p:nvPr/>
          </p:nvSpPr>
          <p:spPr>
            <a:xfrm>
              <a:off x="4510544" y="4161762"/>
              <a:ext cx="1785611" cy="67901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32" name="Rectangle 131">
              <a:extLst>
                <a:ext uri="{FF2B5EF4-FFF2-40B4-BE49-F238E27FC236}">
                  <a16:creationId xmlns:a16="http://schemas.microsoft.com/office/drawing/2014/main" id="{EA78EA31-9039-4270-8DDF-A8049180ED77}"/>
                </a:ext>
              </a:extLst>
            </p:cNvPr>
            <p:cNvSpPr/>
            <p:nvPr/>
          </p:nvSpPr>
          <p:spPr>
            <a:xfrm>
              <a:off x="4623183" y="4280316"/>
              <a:ext cx="1560331" cy="4419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spcBef>
                  <a:spcPts val="0"/>
                </a:spcBef>
                <a:spcAft>
                  <a:spcPts val="0"/>
                </a:spcAft>
                <a:buClrTx/>
                <a:buSzTx/>
                <a:tabLst/>
                <a:defRPr/>
              </a:pPr>
              <a:r>
                <a:rPr lang="en-US" sz="1200" kern="0">
                  <a:solidFill>
                    <a:schemeClr val="bg1"/>
                  </a:solidFill>
                  <a:latin typeface="Neue Haas Grotesk Text Pro" panose="020B0504020202020204" pitchFamily="34" charset="0"/>
                </a:rPr>
                <a:t>News API</a:t>
              </a:r>
            </a:p>
          </p:txBody>
        </p:sp>
      </p:grpSp>
      <p:sp>
        <p:nvSpPr>
          <p:cNvPr id="134" name="Rectangle 133">
            <a:extLst>
              <a:ext uri="{FF2B5EF4-FFF2-40B4-BE49-F238E27FC236}">
                <a16:creationId xmlns:a16="http://schemas.microsoft.com/office/drawing/2014/main" id="{71D9713B-5ED8-4881-99BD-6E5EF637222C}"/>
              </a:ext>
            </a:extLst>
          </p:cNvPr>
          <p:cNvSpPr/>
          <p:nvPr/>
        </p:nvSpPr>
        <p:spPr>
          <a:xfrm>
            <a:off x="6668303" y="2383601"/>
            <a:ext cx="923276" cy="506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kern="0">
                <a:solidFill>
                  <a:prstClr val="black"/>
                </a:solidFill>
                <a:latin typeface="Neue Haas Grotesk Text Pro" panose="020B0504020202020204" pitchFamily="34" charset="0"/>
              </a:rPr>
              <a:t>User refreshes</a:t>
            </a:r>
          </a:p>
        </p:txBody>
      </p:sp>
      <p:grpSp>
        <p:nvGrpSpPr>
          <p:cNvPr id="135" name="Group 134">
            <a:extLst>
              <a:ext uri="{FF2B5EF4-FFF2-40B4-BE49-F238E27FC236}">
                <a16:creationId xmlns:a16="http://schemas.microsoft.com/office/drawing/2014/main" id="{4A0D198E-E561-41B3-BB6C-DB310D9C8481}"/>
              </a:ext>
            </a:extLst>
          </p:cNvPr>
          <p:cNvGrpSpPr/>
          <p:nvPr/>
        </p:nvGrpSpPr>
        <p:grpSpPr>
          <a:xfrm>
            <a:off x="5719341" y="5836411"/>
            <a:ext cx="1785611" cy="679010"/>
            <a:chOff x="4510544" y="4161762"/>
            <a:chExt cx="1785611" cy="679010"/>
          </a:xfrm>
        </p:grpSpPr>
        <p:sp>
          <p:nvSpPr>
            <p:cNvPr id="136" name="Rectangle: Rounded Corners 135">
              <a:extLst>
                <a:ext uri="{FF2B5EF4-FFF2-40B4-BE49-F238E27FC236}">
                  <a16:creationId xmlns:a16="http://schemas.microsoft.com/office/drawing/2014/main" id="{D3B6FB0B-DA6F-4403-8849-67035E8112A8}"/>
                </a:ext>
              </a:extLst>
            </p:cNvPr>
            <p:cNvSpPr/>
            <p:nvPr/>
          </p:nvSpPr>
          <p:spPr>
            <a:xfrm>
              <a:off x="4510544" y="4161762"/>
              <a:ext cx="1785611" cy="679010"/>
            </a:xfrm>
            <a:prstGeom prst="roundRect">
              <a:avLst>
                <a:gd name="adj" fmla="val 10667"/>
              </a:avLst>
            </a:prstGeom>
            <a:solidFill>
              <a:srgbClr val="03749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37" name="Rectangle 136">
              <a:extLst>
                <a:ext uri="{FF2B5EF4-FFF2-40B4-BE49-F238E27FC236}">
                  <a16:creationId xmlns:a16="http://schemas.microsoft.com/office/drawing/2014/main" id="{979AC324-5D06-4445-A52A-69530E8DAB02}"/>
                </a:ext>
              </a:extLst>
            </p:cNvPr>
            <p:cNvSpPr/>
            <p:nvPr/>
          </p:nvSpPr>
          <p:spPr>
            <a:xfrm>
              <a:off x="4623183" y="4280316"/>
              <a:ext cx="1560331" cy="44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spcBef>
                  <a:spcPts val="0"/>
                </a:spcBef>
                <a:spcAft>
                  <a:spcPts val="0"/>
                </a:spcAft>
                <a:buClrTx/>
                <a:buSzTx/>
                <a:tabLst/>
                <a:defRPr/>
              </a:pPr>
              <a:r>
                <a:rPr lang="en-US" sz="1200" kern="0">
                  <a:solidFill>
                    <a:schemeClr val="bg1"/>
                  </a:solidFill>
                  <a:latin typeface="Neue Haas Grotesk Text Pro" panose="020B0504020202020204" pitchFamily="34" charset="0"/>
                </a:rPr>
                <a:t>Sentiment API</a:t>
              </a:r>
            </a:p>
          </p:txBody>
        </p:sp>
      </p:grpSp>
      <p:pic>
        <p:nvPicPr>
          <p:cNvPr id="144" name="Picture 143">
            <a:extLst>
              <a:ext uri="{FF2B5EF4-FFF2-40B4-BE49-F238E27FC236}">
                <a16:creationId xmlns:a16="http://schemas.microsoft.com/office/drawing/2014/main" id="{5D6223D8-433A-4935-8804-3EAFE2A16562}"/>
              </a:ext>
            </a:extLst>
          </p:cNvPr>
          <p:cNvPicPr>
            <a:picLocks noChangeAspect="1"/>
          </p:cNvPicPr>
          <p:nvPr/>
        </p:nvPicPr>
        <p:blipFill rotWithShape="1">
          <a:blip r:embed="rId4">
            <a:clrChange>
              <a:clrFrom>
                <a:srgbClr val="F8FAFB"/>
              </a:clrFrom>
              <a:clrTo>
                <a:srgbClr val="F8FAFB">
                  <a:alpha val="0"/>
                </a:srgbClr>
              </a:clrTo>
            </a:clrChange>
          </a:blip>
          <a:srcRect t="10835" b="5495"/>
          <a:stretch/>
        </p:blipFill>
        <p:spPr>
          <a:xfrm>
            <a:off x="6975903" y="2110521"/>
            <a:ext cx="275404" cy="269027"/>
          </a:xfrm>
          <a:prstGeom prst="rect">
            <a:avLst/>
          </a:prstGeom>
        </p:spPr>
      </p:pic>
      <p:grpSp>
        <p:nvGrpSpPr>
          <p:cNvPr id="147" name="Group 146">
            <a:extLst>
              <a:ext uri="{FF2B5EF4-FFF2-40B4-BE49-F238E27FC236}">
                <a16:creationId xmlns:a16="http://schemas.microsoft.com/office/drawing/2014/main" id="{2BD00E6C-01E1-4674-B823-D25F6D442894}"/>
              </a:ext>
            </a:extLst>
          </p:cNvPr>
          <p:cNvGrpSpPr/>
          <p:nvPr/>
        </p:nvGrpSpPr>
        <p:grpSpPr>
          <a:xfrm>
            <a:off x="8323127" y="4745487"/>
            <a:ext cx="3160662" cy="1769934"/>
            <a:chOff x="5641444" y="4159555"/>
            <a:chExt cx="3184975" cy="1281803"/>
          </a:xfrm>
        </p:grpSpPr>
        <p:sp>
          <p:nvSpPr>
            <p:cNvPr id="149" name="Rectangle: Rounded Corners 148">
              <a:extLst>
                <a:ext uri="{FF2B5EF4-FFF2-40B4-BE49-F238E27FC236}">
                  <a16:creationId xmlns:a16="http://schemas.microsoft.com/office/drawing/2014/main" id="{7862722A-4BC3-4BED-9007-843D815FDBDA}"/>
                </a:ext>
              </a:extLst>
            </p:cNvPr>
            <p:cNvSpPr/>
            <p:nvPr/>
          </p:nvSpPr>
          <p:spPr>
            <a:xfrm>
              <a:off x="5641444" y="4159555"/>
              <a:ext cx="3184975" cy="1281803"/>
            </a:xfrm>
            <a:prstGeom prst="roundRect">
              <a:avLst>
                <a:gd name="adj" fmla="val 10667"/>
              </a:avLst>
            </a:prstGeom>
            <a:solidFill>
              <a:srgbClr val="03749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600">
                <a:latin typeface="Neue Haas Grotesk Text Pro" panose="020B0504020202020204" pitchFamily="34" charset="0"/>
              </a:endParaRPr>
            </a:p>
          </p:txBody>
        </p:sp>
        <p:sp>
          <p:nvSpPr>
            <p:cNvPr id="150" name="Rectangle 149">
              <a:extLst>
                <a:ext uri="{FF2B5EF4-FFF2-40B4-BE49-F238E27FC236}">
                  <a16:creationId xmlns:a16="http://schemas.microsoft.com/office/drawing/2014/main" id="{3D360FEC-48E2-4F9A-ACDD-4CFC0DD8A1F3}"/>
                </a:ext>
              </a:extLst>
            </p:cNvPr>
            <p:cNvSpPr/>
            <p:nvPr/>
          </p:nvSpPr>
          <p:spPr>
            <a:xfrm>
              <a:off x="6489192" y="4178325"/>
              <a:ext cx="2254873" cy="1244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A machine learning API that scrapes social media posts mentioning the stocks and scores their sentiment based on content, popularity and relevance</a:t>
              </a:r>
            </a:p>
          </p:txBody>
        </p:sp>
        <p:sp>
          <p:nvSpPr>
            <p:cNvPr id="151" name="Rectangle 150">
              <a:extLst>
                <a:ext uri="{FF2B5EF4-FFF2-40B4-BE49-F238E27FC236}">
                  <a16:creationId xmlns:a16="http://schemas.microsoft.com/office/drawing/2014/main" id="{92651E0E-D467-49C6-905F-48CB566D2542}"/>
                </a:ext>
              </a:extLst>
            </p:cNvPr>
            <p:cNvSpPr/>
            <p:nvPr/>
          </p:nvSpPr>
          <p:spPr>
            <a:xfrm>
              <a:off x="5855208" y="4197096"/>
              <a:ext cx="344424" cy="11653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50000"/>
                </a:lnSpc>
                <a:spcBef>
                  <a:spcPts val="0"/>
                </a:spcBef>
                <a:spcAft>
                  <a:spcPts val="0"/>
                </a:spcAft>
                <a:buClrTx/>
                <a:buSzTx/>
                <a:tabLst/>
                <a:defRPr/>
              </a:pPr>
              <a:endParaRPr lang="en-US" sz="1200" b="1" kern="0">
                <a:solidFill>
                  <a:schemeClr val="bg1"/>
                </a:solidFill>
                <a:latin typeface="Neue Haas Grotesk Text Pro" panose="020B0504020202020204" pitchFamily="34" charset="0"/>
              </a:endParaRPr>
            </a:p>
          </p:txBody>
        </p:sp>
        <p:cxnSp>
          <p:nvCxnSpPr>
            <p:cNvPr id="153" name="Straight Connector 152">
              <a:extLst>
                <a:ext uri="{FF2B5EF4-FFF2-40B4-BE49-F238E27FC236}">
                  <a16:creationId xmlns:a16="http://schemas.microsoft.com/office/drawing/2014/main" id="{380300CA-7810-4EFD-B1F4-885EECC8807E}"/>
                </a:ext>
              </a:extLst>
            </p:cNvPr>
            <p:cNvCxnSpPr>
              <a:cxnSpLocks/>
            </p:cNvCxnSpPr>
            <p:nvPr/>
          </p:nvCxnSpPr>
          <p:spPr>
            <a:xfrm>
              <a:off x="6281928" y="4240627"/>
              <a:ext cx="0" cy="1119659"/>
            </a:xfrm>
            <a:prstGeom prst="line">
              <a:avLst/>
            </a:prstGeom>
            <a:ln w="57150">
              <a:solidFill>
                <a:srgbClr val="5CD4EF"/>
              </a:solidFill>
            </a:ln>
          </p:spPr>
          <p:style>
            <a:lnRef idx="1">
              <a:schemeClr val="accent1"/>
            </a:lnRef>
            <a:fillRef idx="0">
              <a:schemeClr val="accent1"/>
            </a:fillRef>
            <a:effectRef idx="0">
              <a:schemeClr val="accent1"/>
            </a:effectRef>
            <a:fontRef idx="minor">
              <a:schemeClr val="tx1"/>
            </a:fontRef>
          </p:style>
        </p:cxnSp>
      </p:grpSp>
      <p:grpSp>
        <p:nvGrpSpPr>
          <p:cNvPr id="158" name="Group 157">
            <a:extLst>
              <a:ext uri="{FF2B5EF4-FFF2-40B4-BE49-F238E27FC236}">
                <a16:creationId xmlns:a16="http://schemas.microsoft.com/office/drawing/2014/main" id="{F654DBA2-6C93-474F-816F-D7F21E07D327}"/>
              </a:ext>
            </a:extLst>
          </p:cNvPr>
          <p:cNvGrpSpPr/>
          <p:nvPr/>
        </p:nvGrpSpPr>
        <p:grpSpPr>
          <a:xfrm>
            <a:off x="8323127" y="1035362"/>
            <a:ext cx="3160662" cy="679009"/>
            <a:chOff x="5641444" y="4159555"/>
            <a:chExt cx="3184975" cy="1508760"/>
          </a:xfrm>
          <a:solidFill>
            <a:schemeClr val="accent2"/>
          </a:solidFill>
        </p:grpSpPr>
        <p:sp>
          <p:nvSpPr>
            <p:cNvPr id="159" name="Rectangle: Rounded Corners 158">
              <a:extLst>
                <a:ext uri="{FF2B5EF4-FFF2-40B4-BE49-F238E27FC236}">
                  <a16:creationId xmlns:a16="http://schemas.microsoft.com/office/drawing/2014/main" id="{DA299A30-DD51-4466-B016-05BD73720392}"/>
                </a:ext>
              </a:extLst>
            </p:cNvPr>
            <p:cNvSpPr/>
            <p:nvPr/>
          </p:nvSpPr>
          <p:spPr>
            <a:xfrm>
              <a:off x="5641444" y="4159555"/>
              <a:ext cx="3184975" cy="1508760"/>
            </a:xfrm>
            <a:prstGeom prst="roundRect">
              <a:avLst>
                <a:gd name="adj" fmla="val 10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600">
                <a:latin typeface="Neue Haas Grotesk Text Pro" panose="020B0504020202020204" pitchFamily="34" charset="0"/>
              </a:endParaRPr>
            </a:p>
          </p:txBody>
        </p:sp>
        <p:sp>
          <p:nvSpPr>
            <p:cNvPr id="160" name="Rectangle 159">
              <a:extLst>
                <a:ext uri="{FF2B5EF4-FFF2-40B4-BE49-F238E27FC236}">
                  <a16:creationId xmlns:a16="http://schemas.microsoft.com/office/drawing/2014/main" id="{C8D57676-4903-4511-A426-AAF8B3F45162}"/>
                </a:ext>
              </a:extLst>
            </p:cNvPr>
            <p:cNvSpPr/>
            <p:nvPr/>
          </p:nvSpPr>
          <p:spPr>
            <a:xfrm>
              <a:off x="6489192" y="4197096"/>
              <a:ext cx="2254873" cy="11653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50000"/>
                </a:lnSpc>
                <a:spcBef>
                  <a:spcPts val="0"/>
                </a:spcBef>
                <a:spcAft>
                  <a:spcPts val="0"/>
                </a:spcAft>
                <a:buClrTx/>
                <a:buSzTx/>
                <a:tabLst/>
                <a:defRPr/>
              </a:pPr>
              <a:r>
                <a:rPr lang="en-US" sz="1200" b="1" kern="0">
                  <a:solidFill>
                    <a:schemeClr val="bg1"/>
                  </a:solidFill>
                  <a:latin typeface="Neue Haas Grotesk Text Pro" panose="020B0504020202020204" pitchFamily="34" charset="0"/>
                </a:rPr>
                <a:t>A news search API that we use to get stock news</a:t>
              </a:r>
            </a:p>
          </p:txBody>
        </p:sp>
        <p:cxnSp>
          <p:nvCxnSpPr>
            <p:cNvPr id="162" name="Straight Connector 161">
              <a:extLst>
                <a:ext uri="{FF2B5EF4-FFF2-40B4-BE49-F238E27FC236}">
                  <a16:creationId xmlns:a16="http://schemas.microsoft.com/office/drawing/2014/main" id="{E25E65BD-ACD1-4CEF-A7F8-9C26BC86D220}"/>
                </a:ext>
              </a:extLst>
            </p:cNvPr>
            <p:cNvCxnSpPr>
              <a:cxnSpLocks/>
            </p:cNvCxnSpPr>
            <p:nvPr/>
          </p:nvCxnSpPr>
          <p:spPr>
            <a:xfrm>
              <a:off x="6281928" y="4354105"/>
              <a:ext cx="0" cy="1119658"/>
            </a:xfrm>
            <a:prstGeom prst="line">
              <a:avLst/>
            </a:prstGeom>
            <a:grpFill/>
            <a:ln w="57150">
              <a:solidFill>
                <a:schemeClr val="accent4"/>
              </a:solidFill>
            </a:ln>
          </p:spPr>
          <p:style>
            <a:lnRef idx="1">
              <a:schemeClr val="accent1"/>
            </a:lnRef>
            <a:fillRef idx="0">
              <a:schemeClr val="accent1"/>
            </a:fillRef>
            <a:effectRef idx="0">
              <a:schemeClr val="accent1"/>
            </a:effectRef>
            <a:fontRef idx="minor">
              <a:schemeClr val="tx1"/>
            </a:fontRef>
          </p:style>
        </p:cxnSp>
      </p:grpSp>
      <p:pic>
        <p:nvPicPr>
          <p:cNvPr id="163" name="Graphic 162" descr="Server">
            <a:extLst>
              <a:ext uri="{FF2B5EF4-FFF2-40B4-BE49-F238E27FC236}">
                <a16:creationId xmlns:a16="http://schemas.microsoft.com/office/drawing/2014/main" id="{588C9536-4CAC-45CE-9BF0-6A882CA3EA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89450" y="3318191"/>
            <a:ext cx="914400" cy="914400"/>
          </a:xfrm>
          <a:prstGeom prst="rect">
            <a:avLst/>
          </a:prstGeom>
        </p:spPr>
      </p:pic>
      <p:pic>
        <p:nvPicPr>
          <p:cNvPr id="164" name="Picture 14" descr="Introduction to AWS Fargate - Instana">
            <a:extLst>
              <a:ext uri="{FF2B5EF4-FFF2-40B4-BE49-F238E27FC236}">
                <a16:creationId xmlns:a16="http://schemas.microsoft.com/office/drawing/2014/main" id="{F0B9B861-07AB-40C9-BE0C-7302C165EA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63728"/>
          <a:stretch/>
        </p:blipFill>
        <p:spPr bwMode="auto">
          <a:xfrm>
            <a:off x="6032043" y="3130258"/>
            <a:ext cx="1160203" cy="335324"/>
          </a:xfrm>
          <a:prstGeom prst="rect">
            <a:avLst/>
          </a:prstGeom>
          <a:noFill/>
          <a:extLst>
            <a:ext uri="{909E8E84-426E-40DD-AFC4-6F175D3DCCD1}">
              <a14:hiddenFill xmlns:a14="http://schemas.microsoft.com/office/drawing/2010/main">
                <a:solidFill>
                  <a:srgbClr val="FFFFFF"/>
                </a:solidFill>
              </a14:hiddenFill>
            </a:ext>
          </a:extLst>
        </p:spPr>
      </p:pic>
      <p:sp>
        <p:nvSpPr>
          <p:cNvPr id="166" name="Arrow: Right 165">
            <a:extLst>
              <a:ext uri="{FF2B5EF4-FFF2-40B4-BE49-F238E27FC236}">
                <a16:creationId xmlns:a16="http://schemas.microsoft.com/office/drawing/2014/main" id="{F8502DC9-D60D-4163-B967-7512D0420522}"/>
              </a:ext>
            </a:extLst>
          </p:cNvPr>
          <p:cNvSpPr/>
          <p:nvPr/>
        </p:nvSpPr>
        <p:spPr>
          <a:xfrm rot="10800000" flipH="1">
            <a:off x="7514383" y="3701108"/>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167" name="Rectangle 166">
            <a:extLst>
              <a:ext uri="{FF2B5EF4-FFF2-40B4-BE49-F238E27FC236}">
                <a16:creationId xmlns:a16="http://schemas.microsoft.com/office/drawing/2014/main" id="{D20CBDA4-3BB1-4998-8776-1DA6DD015A0F}"/>
              </a:ext>
            </a:extLst>
          </p:cNvPr>
          <p:cNvSpPr/>
          <p:nvPr/>
        </p:nvSpPr>
        <p:spPr>
          <a:xfrm>
            <a:off x="4841835" y="3194817"/>
            <a:ext cx="923276" cy="506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kern="0">
                <a:solidFill>
                  <a:prstClr val="black"/>
                </a:solidFill>
                <a:latin typeface="Neue Haas Grotesk Text Pro" panose="020B0504020202020204" pitchFamily="34" charset="0"/>
              </a:rPr>
              <a:t>User refreshes</a:t>
            </a:r>
          </a:p>
        </p:txBody>
      </p:sp>
      <p:pic>
        <p:nvPicPr>
          <p:cNvPr id="168" name="Picture 167">
            <a:extLst>
              <a:ext uri="{FF2B5EF4-FFF2-40B4-BE49-F238E27FC236}">
                <a16:creationId xmlns:a16="http://schemas.microsoft.com/office/drawing/2014/main" id="{222B0DB9-CE50-4814-8555-5898F064DB07}"/>
              </a:ext>
            </a:extLst>
          </p:cNvPr>
          <p:cNvPicPr>
            <a:picLocks noChangeAspect="1"/>
          </p:cNvPicPr>
          <p:nvPr/>
        </p:nvPicPr>
        <p:blipFill rotWithShape="1">
          <a:blip r:embed="rId4">
            <a:clrChange>
              <a:clrFrom>
                <a:srgbClr val="F8FAFB"/>
              </a:clrFrom>
              <a:clrTo>
                <a:srgbClr val="F8FAFB">
                  <a:alpha val="0"/>
                </a:srgbClr>
              </a:clrTo>
            </a:clrChange>
          </a:blip>
          <a:srcRect t="10835" b="5495"/>
          <a:stretch/>
        </p:blipFill>
        <p:spPr>
          <a:xfrm>
            <a:off x="5189272" y="2967780"/>
            <a:ext cx="275404" cy="269027"/>
          </a:xfrm>
          <a:prstGeom prst="rect">
            <a:avLst/>
          </a:prstGeom>
        </p:spPr>
      </p:pic>
      <p:sp>
        <p:nvSpPr>
          <p:cNvPr id="56" name="Arrow: Right 55">
            <a:extLst>
              <a:ext uri="{FF2B5EF4-FFF2-40B4-BE49-F238E27FC236}">
                <a16:creationId xmlns:a16="http://schemas.microsoft.com/office/drawing/2014/main" id="{E09B1B3D-91A4-4263-A58F-25C6F9AD844F}"/>
              </a:ext>
            </a:extLst>
          </p:cNvPr>
          <p:cNvSpPr/>
          <p:nvPr/>
        </p:nvSpPr>
        <p:spPr>
          <a:xfrm rot="16200000" flipH="1">
            <a:off x="6117632" y="2426281"/>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57" name="Arrow: Right 56">
            <a:extLst>
              <a:ext uri="{FF2B5EF4-FFF2-40B4-BE49-F238E27FC236}">
                <a16:creationId xmlns:a16="http://schemas.microsoft.com/office/drawing/2014/main" id="{E6E7A41A-E8C4-4F17-837A-B8AE50A3DE47}"/>
              </a:ext>
            </a:extLst>
          </p:cNvPr>
          <p:cNvSpPr/>
          <p:nvPr/>
        </p:nvSpPr>
        <p:spPr>
          <a:xfrm rot="5400000" flipH="1">
            <a:off x="6206660" y="4944501"/>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60" name="Arrow: Right 59">
            <a:extLst>
              <a:ext uri="{FF2B5EF4-FFF2-40B4-BE49-F238E27FC236}">
                <a16:creationId xmlns:a16="http://schemas.microsoft.com/office/drawing/2014/main" id="{4C385C7A-D49A-4B50-8EA4-676C7E5149DF}"/>
              </a:ext>
            </a:extLst>
          </p:cNvPr>
          <p:cNvSpPr/>
          <p:nvPr/>
        </p:nvSpPr>
        <p:spPr>
          <a:xfrm rot="10800000" flipH="1">
            <a:off x="4857493" y="3701107"/>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61" name="Arrow: Right 60">
            <a:extLst>
              <a:ext uri="{FF2B5EF4-FFF2-40B4-BE49-F238E27FC236}">
                <a16:creationId xmlns:a16="http://schemas.microsoft.com/office/drawing/2014/main" id="{E02403DD-D2B2-4E45-90D5-63123F470B26}"/>
              </a:ext>
            </a:extLst>
          </p:cNvPr>
          <p:cNvSpPr/>
          <p:nvPr/>
        </p:nvSpPr>
        <p:spPr>
          <a:xfrm rot="18000000" flipH="1">
            <a:off x="3235746" y="2485275"/>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sp>
        <p:nvSpPr>
          <p:cNvPr id="62" name="Arrow: Right 61">
            <a:extLst>
              <a:ext uri="{FF2B5EF4-FFF2-40B4-BE49-F238E27FC236}">
                <a16:creationId xmlns:a16="http://schemas.microsoft.com/office/drawing/2014/main" id="{81A46E1D-E934-473E-86D9-C49CD77693EF}"/>
              </a:ext>
            </a:extLst>
          </p:cNvPr>
          <p:cNvSpPr/>
          <p:nvPr/>
        </p:nvSpPr>
        <p:spPr>
          <a:xfrm rot="14400000" flipH="1">
            <a:off x="1616750" y="2485276"/>
            <a:ext cx="900000" cy="18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latin typeface="Neue Haas Grotesk Text Pro" panose="020B0504020202020204" pitchFamily="34" charset="0"/>
            </a:endParaRPr>
          </a:p>
        </p:txBody>
      </p:sp>
      <p:pic>
        <p:nvPicPr>
          <p:cNvPr id="6" name="Picture 28" descr="Bloomberg.com">
            <a:extLst>
              <a:ext uri="{FF2B5EF4-FFF2-40B4-BE49-F238E27FC236}">
                <a16:creationId xmlns:a16="http://schemas.microsoft.com/office/drawing/2014/main" id="{8F26CAEA-81A3-43CB-91F5-A8469F45C8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01111" y="732327"/>
            <a:ext cx="1191912" cy="21836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2" descr="Yahoo! Finance - Wikipedia">
            <a:extLst>
              <a:ext uri="{FF2B5EF4-FFF2-40B4-BE49-F238E27FC236}">
                <a16:creationId xmlns:a16="http://schemas.microsoft.com/office/drawing/2014/main" id="{677EEB9D-465A-4081-8FFB-4B1985EA2CB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97619" y="574810"/>
            <a:ext cx="1051033" cy="53339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880BABD-E4A3-4E97-8EC9-6C25B9EF2565}"/>
              </a:ext>
            </a:extLst>
          </p:cNvPr>
          <p:cNvPicPr>
            <a:picLocks noChangeAspect="1"/>
          </p:cNvPicPr>
          <p:nvPr/>
        </p:nvPicPr>
        <p:blipFill>
          <a:blip r:embed="rId13"/>
          <a:stretch>
            <a:fillRect/>
          </a:stretch>
        </p:blipFill>
        <p:spPr>
          <a:xfrm>
            <a:off x="6086630" y="661829"/>
            <a:ext cx="1051033" cy="359361"/>
          </a:xfrm>
          <a:prstGeom prst="rect">
            <a:avLst/>
          </a:prstGeom>
        </p:spPr>
      </p:pic>
      <p:pic>
        <p:nvPicPr>
          <p:cNvPr id="12" name="Picture 11">
            <a:extLst>
              <a:ext uri="{FF2B5EF4-FFF2-40B4-BE49-F238E27FC236}">
                <a16:creationId xmlns:a16="http://schemas.microsoft.com/office/drawing/2014/main" id="{0B2A6D9C-42BE-4E14-94C5-0C7E32AAA8CA}"/>
              </a:ext>
            </a:extLst>
          </p:cNvPr>
          <p:cNvPicPr>
            <a:picLocks noChangeAspect="1"/>
          </p:cNvPicPr>
          <p:nvPr/>
        </p:nvPicPr>
        <p:blipFill>
          <a:blip r:embed="rId14"/>
          <a:stretch>
            <a:fillRect/>
          </a:stretch>
        </p:blipFill>
        <p:spPr>
          <a:xfrm>
            <a:off x="5676801" y="5570872"/>
            <a:ext cx="1870686" cy="216930"/>
          </a:xfrm>
          <a:prstGeom prst="rect">
            <a:avLst/>
          </a:prstGeom>
        </p:spPr>
      </p:pic>
      <p:sp>
        <p:nvSpPr>
          <p:cNvPr id="78" name="Rectangle 77">
            <a:extLst>
              <a:ext uri="{FF2B5EF4-FFF2-40B4-BE49-F238E27FC236}">
                <a16:creationId xmlns:a16="http://schemas.microsoft.com/office/drawing/2014/main" id="{5F64B762-8E50-440A-8E2E-CD237199F630}"/>
              </a:ext>
            </a:extLst>
          </p:cNvPr>
          <p:cNvSpPr/>
          <p:nvPr/>
        </p:nvSpPr>
        <p:spPr>
          <a:xfrm>
            <a:off x="6668303" y="5010217"/>
            <a:ext cx="923276" cy="506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kern="0">
                <a:solidFill>
                  <a:prstClr val="black"/>
                </a:solidFill>
                <a:latin typeface="Neue Haas Grotesk Text Pro" panose="020B0504020202020204" pitchFamily="34" charset="0"/>
              </a:rPr>
              <a:t>User refreshes</a:t>
            </a:r>
          </a:p>
        </p:txBody>
      </p:sp>
      <p:pic>
        <p:nvPicPr>
          <p:cNvPr id="79" name="Picture 78">
            <a:extLst>
              <a:ext uri="{FF2B5EF4-FFF2-40B4-BE49-F238E27FC236}">
                <a16:creationId xmlns:a16="http://schemas.microsoft.com/office/drawing/2014/main" id="{2D459FB5-782C-4277-80E8-068C24E5599E}"/>
              </a:ext>
            </a:extLst>
          </p:cNvPr>
          <p:cNvPicPr>
            <a:picLocks noChangeAspect="1"/>
          </p:cNvPicPr>
          <p:nvPr/>
        </p:nvPicPr>
        <p:blipFill rotWithShape="1">
          <a:blip r:embed="rId4">
            <a:clrChange>
              <a:clrFrom>
                <a:srgbClr val="F8FAFB"/>
              </a:clrFrom>
              <a:clrTo>
                <a:srgbClr val="F8FAFB">
                  <a:alpha val="0"/>
                </a:srgbClr>
              </a:clrTo>
            </a:clrChange>
          </a:blip>
          <a:srcRect t="10835" b="5495"/>
          <a:stretch/>
        </p:blipFill>
        <p:spPr>
          <a:xfrm>
            <a:off x="6975903" y="4737137"/>
            <a:ext cx="275404" cy="269027"/>
          </a:xfrm>
          <a:prstGeom prst="rect">
            <a:avLst/>
          </a:prstGeom>
        </p:spPr>
      </p:pic>
      <p:sp>
        <p:nvSpPr>
          <p:cNvPr id="80" name="Rectangle 79">
            <a:extLst>
              <a:ext uri="{FF2B5EF4-FFF2-40B4-BE49-F238E27FC236}">
                <a16:creationId xmlns:a16="http://schemas.microsoft.com/office/drawing/2014/main" id="{FF203679-0FF7-4DEF-A623-DBBF751A86A6}"/>
              </a:ext>
            </a:extLst>
          </p:cNvPr>
          <p:cNvSpPr/>
          <p:nvPr/>
        </p:nvSpPr>
        <p:spPr>
          <a:xfrm>
            <a:off x="7492473" y="3194817"/>
            <a:ext cx="923276" cy="506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0"/>
              </a:spcAft>
              <a:buClrTx/>
              <a:buSzTx/>
              <a:tabLst/>
              <a:defRPr/>
            </a:pPr>
            <a:r>
              <a:rPr lang="en-US" sz="1100" kern="0">
                <a:solidFill>
                  <a:prstClr val="black"/>
                </a:solidFill>
                <a:latin typeface="Neue Haas Grotesk Text Pro" panose="020B0504020202020204" pitchFamily="34" charset="0"/>
              </a:rPr>
              <a:t>User refreshes</a:t>
            </a:r>
          </a:p>
        </p:txBody>
      </p:sp>
      <p:pic>
        <p:nvPicPr>
          <p:cNvPr id="81" name="Picture 80">
            <a:extLst>
              <a:ext uri="{FF2B5EF4-FFF2-40B4-BE49-F238E27FC236}">
                <a16:creationId xmlns:a16="http://schemas.microsoft.com/office/drawing/2014/main" id="{40B0917F-1497-4279-B914-A97235CB80E8}"/>
              </a:ext>
            </a:extLst>
          </p:cNvPr>
          <p:cNvPicPr>
            <a:picLocks noChangeAspect="1"/>
          </p:cNvPicPr>
          <p:nvPr/>
        </p:nvPicPr>
        <p:blipFill rotWithShape="1">
          <a:blip r:embed="rId4">
            <a:clrChange>
              <a:clrFrom>
                <a:srgbClr val="F8FAFB"/>
              </a:clrFrom>
              <a:clrTo>
                <a:srgbClr val="F8FAFB">
                  <a:alpha val="0"/>
                </a:srgbClr>
              </a:clrTo>
            </a:clrChange>
          </a:blip>
          <a:srcRect t="10835" b="5495"/>
          <a:stretch/>
        </p:blipFill>
        <p:spPr>
          <a:xfrm>
            <a:off x="7839910" y="2967780"/>
            <a:ext cx="275404" cy="269027"/>
          </a:xfrm>
          <a:prstGeom prst="rect">
            <a:avLst/>
          </a:prstGeom>
        </p:spPr>
      </p:pic>
    </p:spTree>
    <p:custDataLst>
      <p:tags r:id="rId1"/>
    </p:custDataLst>
    <p:extLst>
      <p:ext uri="{BB962C8B-B14F-4D97-AF65-F5344CB8AC3E}">
        <p14:creationId xmlns:p14="http://schemas.microsoft.com/office/powerpoint/2010/main" val="3330791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A5EFBE0-BC2C-407A-8FEB-9EB5BE00E03B}"/>
              </a:ext>
            </a:extLst>
          </p:cNvPr>
          <p:cNvSpPr>
            <a:spLocks noGrp="1"/>
          </p:cNvSpPr>
          <p:nvPr>
            <p:ph type="sldNum" sz="quarter" idx="12"/>
          </p:nvPr>
        </p:nvSpPr>
        <p:spPr/>
        <p:txBody>
          <a:bodyPr/>
          <a:lstStyle/>
          <a:p>
            <a:fld id="{F5D0115F-629B-413B-A4C8-7182E324E1C4}" type="slidenum">
              <a:rPr lang="en-SG" smtClean="0">
                <a:latin typeface="Neue Haas Grotesk Text Pro" panose="020B0504020202020204" pitchFamily="34" charset="0"/>
              </a:rPr>
              <a:pPr/>
              <a:t>8</a:t>
            </a:fld>
            <a:endParaRPr lang="en-SG">
              <a:latin typeface="Neue Haas Grotesk Text Pro" panose="020B0504020202020204" pitchFamily="34" charset="0"/>
            </a:endParaRPr>
          </a:p>
        </p:txBody>
      </p:sp>
      <p:sp>
        <p:nvSpPr>
          <p:cNvPr id="7" name="TextBox 6">
            <a:extLst>
              <a:ext uri="{FF2B5EF4-FFF2-40B4-BE49-F238E27FC236}">
                <a16:creationId xmlns:a16="http://schemas.microsoft.com/office/drawing/2014/main" id="{A6010481-7295-45E3-9301-24D5742D679C}"/>
              </a:ext>
            </a:extLst>
          </p:cNvPr>
          <p:cNvSpPr txBox="1"/>
          <p:nvPr/>
        </p:nvSpPr>
        <p:spPr>
          <a:xfrm>
            <a:off x="2551253" y="2613392"/>
            <a:ext cx="7089494" cy="861774"/>
          </a:xfrm>
          <a:prstGeom prst="rect">
            <a:avLst/>
          </a:prstGeom>
          <a:noFill/>
        </p:spPr>
        <p:txBody>
          <a:bodyPr wrap="square">
            <a:spAutoFit/>
          </a:bodyPr>
          <a:lstStyle/>
          <a:p>
            <a:pPr algn="ctr"/>
            <a:r>
              <a:rPr lang="en-SG" sz="5000" b="1">
                <a:latin typeface="Neue Haas Grotesk Text Pro" panose="020B0504020202020204" pitchFamily="34" charset="0"/>
              </a:rPr>
              <a:t>Thank You</a:t>
            </a:r>
            <a:endParaRPr lang="en-SG" sz="5000" b="1" dirty="0"/>
          </a:p>
        </p:txBody>
      </p:sp>
    </p:spTree>
    <p:extLst>
      <p:ext uri="{BB962C8B-B14F-4D97-AF65-F5344CB8AC3E}">
        <p14:creationId xmlns:p14="http://schemas.microsoft.com/office/powerpoint/2010/main" val="2723921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2.xml><?xml version="1.0" encoding="utf-8"?>
<p:tagLst xmlns:a="http://schemas.openxmlformats.org/drawingml/2006/main" xmlns:r="http://schemas.openxmlformats.org/officeDocument/2006/relationships" xmlns:p="http://schemas.openxmlformats.org/presentationml/2006/main">
  <p:tag name="POWER_USER_ID_TEMPLATES" val="Split_slide_1"/>
</p:tagLst>
</file>

<file path=ppt/tags/tag153.xml><?xml version="1.0" encoding="utf-8"?>
<p:tagLst xmlns:a="http://schemas.openxmlformats.org/drawingml/2006/main" xmlns:r="http://schemas.openxmlformats.org/officeDocument/2006/relationships" xmlns:p="http://schemas.openxmlformats.org/presentationml/2006/main">
  <p:tag name="POWER_USER_ID_TEMPLATES" val="Split_slide_1"/>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3"/>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3"/>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stock chart*graph*statistics*data*figures*numbers*analytics*analysis*dashboard"/>
</p:tagLst>
</file>

<file path=ppt/tags/tag61.xml><?xml version="1.0" encoding="utf-8"?>
<p:tagLst xmlns:a="http://schemas.openxmlformats.org/drawingml/2006/main" xmlns:r="http://schemas.openxmlformats.org/officeDocument/2006/relationships" xmlns:p="http://schemas.openxmlformats.org/presentationml/2006/main">
  <p:tag name="POWER_USER_ID_TEMPLATES" val="Icons_in_hexagon"/>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tock chart*graph*statistics*data*figures*numbers*analytics*analysis*dashboard"/>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heme/theme1.xml><?xml version="1.0" encoding="utf-8"?>
<a:theme xmlns:a="http://schemas.openxmlformats.org/drawingml/2006/main" name="Office Theme">
  <a:themeElements>
    <a:clrScheme name="Custom 42">
      <a:dk1>
        <a:sysClr val="windowText" lastClr="000000"/>
      </a:dk1>
      <a:lt1>
        <a:sysClr val="window" lastClr="FFFFFF"/>
      </a:lt1>
      <a:dk2>
        <a:srgbClr val="44546A"/>
      </a:dk2>
      <a:lt2>
        <a:srgbClr val="E7E6E6"/>
      </a:lt2>
      <a:accent1>
        <a:srgbClr val="7399C6"/>
      </a:accent1>
      <a:accent2>
        <a:srgbClr val="FF9900"/>
      </a:accent2>
      <a:accent3>
        <a:srgbClr val="A5A5A5"/>
      </a:accent3>
      <a:accent4>
        <a:srgbClr val="5CD4EF"/>
      </a:accent4>
      <a:accent5>
        <a:srgbClr val="F97304"/>
      </a:accent5>
      <a:accent6>
        <a:srgbClr val="D44206"/>
      </a:accent6>
      <a:hlink>
        <a:srgbClr val="0563C1"/>
      </a:hlink>
      <a:folHlink>
        <a:srgbClr val="000066"/>
      </a:folHlink>
    </a:clrScheme>
    <a:fontScheme name="Custom 15">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7_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TotalTime>
  <Words>2232</Words>
  <Application>Microsoft Office PowerPoint</Application>
  <PresentationFormat>Widescreen</PresentationFormat>
  <Paragraphs>312</Paragraphs>
  <Slides>9</Slides>
  <Notes>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Arial</vt:lpstr>
      <vt:lpstr>Arial</vt:lpstr>
      <vt:lpstr>Calibri</vt:lpstr>
      <vt:lpstr>Cambria</vt:lpstr>
      <vt:lpstr>Neue Haas Grotesk Text Pro</vt:lpstr>
      <vt:lpstr>Office Theme</vt:lpstr>
      <vt:lpstr>PowerPoint Presentation</vt:lpstr>
      <vt:lpstr>Overview of Proposed Solution</vt:lpstr>
      <vt:lpstr>Detailed Analysis of Solution</vt:lpstr>
      <vt:lpstr>Detailed Analysis of Solution (cont.)</vt:lpstr>
      <vt:lpstr>Defining the Business Case: How Are We Different From Existing Solutions?</vt:lpstr>
      <vt:lpstr>Defining the Business Case: User Stickiness &amp; Monetisation</vt:lpstr>
      <vt:lpstr>Solution Architecture</vt:lpstr>
      <vt:lpstr>AP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ny pang</dc:creator>
  <cp:lastModifiedBy>WA Thone</cp:lastModifiedBy>
  <cp:revision>5</cp:revision>
  <cp:lastPrinted>2020-08-08T06:47:53Z</cp:lastPrinted>
  <dcterms:created xsi:type="dcterms:W3CDTF">2020-07-15T14:34:48Z</dcterms:created>
  <dcterms:modified xsi:type="dcterms:W3CDTF">2020-09-07T10:3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4B16E3FF724E46BBA3C4E9F466C927</vt:lpwstr>
  </property>
</Properties>
</file>